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12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3.xml" ContentType="application/vnd.openxmlformats-officedocument.theme+xml"/>
  <Override PartName="/ppt/tags/tag13.xml" ContentType="application/vnd.openxmlformats-officedocument.presentationml.tags+xml"/>
  <Override PartName="/ppt/theme/theme4.xml" ContentType="application/vnd.openxmlformats-officedocument.theme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76" r:id="rId4"/>
    <p:sldMasterId id="2147483690" r:id="rId5"/>
    <p:sldMasterId id="2147483697" r:id="rId6"/>
  </p:sldMasterIdLst>
  <p:notesMasterIdLst>
    <p:notesMasterId r:id="rId18"/>
  </p:notesMasterIdLst>
  <p:sldIdLst>
    <p:sldId id="2147375892" r:id="rId7"/>
    <p:sldId id="2147375912" r:id="rId8"/>
    <p:sldId id="2147375903" r:id="rId9"/>
    <p:sldId id="1828" r:id="rId10"/>
    <p:sldId id="2147375900" r:id="rId11"/>
    <p:sldId id="2147375901" r:id="rId12"/>
    <p:sldId id="2147375902" r:id="rId13"/>
    <p:sldId id="2147375904" r:id="rId14"/>
    <p:sldId id="2147375908" r:id="rId15"/>
    <p:sldId id="2147375905" r:id="rId16"/>
    <p:sldId id="2147375909" r:id="rId17"/>
  </p:sldIdLst>
  <p:sldSz cx="12192000" cy="6858000"/>
  <p:notesSz cx="6858000" cy="9144000"/>
  <p:custDataLst>
    <p:tags r:id="rId19"/>
  </p:custDataLst>
  <p:defaultTextStyle>
    <a:defPPr>
      <a:defRPr lang="hu-H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1" id="{64ACFE1F-71FC-E841-A5AF-D24D4DDEF674}">
          <p14:sldIdLst>
            <p14:sldId id="2147375892"/>
            <p14:sldId id="2147375912"/>
            <p14:sldId id="2147375903"/>
            <p14:sldId id="1828"/>
            <p14:sldId id="2147375900"/>
            <p14:sldId id="2147375901"/>
            <p14:sldId id="2147375902"/>
            <p14:sldId id="2147375904"/>
            <p14:sldId id="2147375908"/>
            <p14:sldId id="2147375905"/>
            <p14:sldId id="2147375909"/>
          </p14:sldIdLst>
        </p14:section>
        <p14:section name="Annex" id="{6060F927-E528-E547-85CB-5226F2D4F576}">
          <p14:sldIdLst/>
        </p14:section>
        <p14:section name="Chapter Slides" id="{F25C8EC6-C36E-9442-96EE-14B6E97436F0}">
          <p14:sldIdLst/>
        </p14:section>
        <p14:section name="Layouts" id="{C065DEFC-A59F-D841-8A37-1B2A03AAED61}">
          <p14:sldIdLst/>
        </p14:section>
        <p14:section name="Resources" id="{BF97F892-5C28-5A46-B15B-B44C6C2BDA9D}">
          <p14:sldIdLst/>
        </p14:section>
        <p14:section name="Exemplary content" id="{B24945F6-325B-CC48-8340-7E96D9C36593}">
          <p14:sldIdLst/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9143F65-AA63-E2A7-21B9-7F03F85FB9E8}" name="Luca van Skyhawk" initials="LvS" userId="S::luca.van.skyhawk@hypatos.ai::ca582406-7256-4a16-b275-aa59cba0438e" providerId="AD"/>
  <p188:author id="{CBA2658B-331C-D476-7795-8F8B878581AE}" name="Leticia Silva" initials="LS" userId="S::leticia.silva@hypatos.ai::ae98470f-b13e-4231-82f5-fda0897d4c9b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3F3F3"/>
    <a:srgbClr val="F8FAFF"/>
    <a:srgbClr val="FF0000"/>
    <a:srgbClr val="7197FF"/>
    <a:srgbClr val="C30B3E"/>
    <a:srgbClr val="AAC1FF"/>
    <a:srgbClr val="43C7A1"/>
    <a:srgbClr val="007770"/>
    <a:srgbClr val="AEE7D7"/>
    <a:srgbClr val="F0C7D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A677E6C-C96F-4C8F-91AF-68D134B8CD2E}" v="2519" dt="2025-03-24T18:07:48.83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Közepesen sötét stílus 2 – 1. jelölőszín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2208"/>
    <p:restoredTop sz="94658"/>
  </p:normalViewPr>
  <p:slideViewPr>
    <p:cSldViewPr snapToGrid="0" showGuides="1">
      <p:cViewPr varScale="1">
        <p:scale>
          <a:sx n="93" d="100"/>
          <a:sy n="93" d="100"/>
        </p:scale>
        <p:origin x="240" y="7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notesMaster" Target="notesMasters/notesMaster1.xml"/><Relationship Id="rId26" Type="http://schemas.microsoft.com/office/2018/10/relationships/authors" Target="authors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tableStyles" Target="tableStyles.xml"/><Relationship Id="rId10" Type="http://schemas.openxmlformats.org/officeDocument/2006/relationships/slide" Target="slides/slide4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ynn Fiedler" userId="bba223ed-859a-46ea-8cd7-ed9799ce30e6" providerId="ADAL" clId="{EA677E6C-C96F-4C8F-91AF-68D134B8CD2E}"/>
    <pc:docChg chg="custSel modSld modMainMaster">
      <pc:chgData name="Lynn Fiedler" userId="bba223ed-859a-46ea-8cd7-ed9799ce30e6" providerId="ADAL" clId="{EA677E6C-C96F-4C8F-91AF-68D134B8CD2E}" dt="2025-03-24T18:07:48.830" v="4102"/>
      <pc:docMkLst>
        <pc:docMk/>
      </pc:docMkLst>
      <pc:sldChg chg="addSp delSp modSp mod">
        <pc:chgData name="Lynn Fiedler" userId="bba223ed-859a-46ea-8cd7-ed9799ce30e6" providerId="ADAL" clId="{EA677E6C-C96F-4C8F-91AF-68D134B8CD2E}" dt="2025-03-24T18:07:48.830" v="4102"/>
        <pc:sldMkLst>
          <pc:docMk/>
          <pc:sldMk cId="2560334150" sldId="2147375908"/>
        </pc:sldMkLst>
        <pc:spChg chg="del">
          <ac:chgData name="Lynn Fiedler" userId="bba223ed-859a-46ea-8cd7-ed9799ce30e6" providerId="ADAL" clId="{EA677E6C-C96F-4C8F-91AF-68D134B8CD2E}" dt="2025-03-24T18:06:53.505" v="0" actId="478"/>
          <ac:spMkLst>
            <pc:docMk/>
            <pc:sldMk cId="2560334150" sldId="2147375908"/>
            <ac:spMk id="2" creationId="{9EE2C82C-8935-8F3A-CCB3-0F6393DDDFC1}"/>
          </ac:spMkLst>
        </pc:spChg>
        <pc:spChg chg="mod">
          <ac:chgData name="Lynn Fiedler" userId="bba223ed-859a-46ea-8cd7-ed9799ce30e6" providerId="ADAL" clId="{EA677E6C-C96F-4C8F-91AF-68D134B8CD2E}" dt="2025-03-24T18:07:35.376" v="3867"/>
          <ac:spMkLst>
            <pc:docMk/>
            <pc:sldMk cId="2560334150" sldId="2147375908"/>
            <ac:spMk id="3" creationId="{BDE85F49-ACAC-FCCA-228B-CE6A2861A505}"/>
          </ac:spMkLst>
        </pc:spChg>
        <pc:spChg chg="mod">
          <ac:chgData name="Lynn Fiedler" userId="bba223ed-859a-46ea-8cd7-ed9799ce30e6" providerId="ADAL" clId="{EA677E6C-C96F-4C8F-91AF-68D134B8CD2E}" dt="2025-03-24T18:07:35.379" v="3872"/>
          <ac:spMkLst>
            <pc:docMk/>
            <pc:sldMk cId="2560334150" sldId="2147375908"/>
            <ac:spMk id="9" creationId="{C7D43091-DD37-2C12-FD80-F8F9139D6CC6}"/>
          </ac:spMkLst>
        </pc:spChg>
        <pc:spChg chg="mod">
          <ac:chgData name="Lynn Fiedler" userId="bba223ed-859a-46ea-8cd7-ed9799ce30e6" providerId="ADAL" clId="{EA677E6C-C96F-4C8F-91AF-68D134B8CD2E}" dt="2025-03-24T18:07:35.383" v="3877"/>
          <ac:spMkLst>
            <pc:docMk/>
            <pc:sldMk cId="2560334150" sldId="2147375908"/>
            <ac:spMk id="10" creationId="{45FDA8CB-1C69-D23D-171D-EFE348B5E730}"/>
          </ac:spMkLst>
        </pc:spChg>
        <pc:spChg chg="mod">
          <ac:chgData name="Lynn Fiedler" userId="bba223ed-859a-46ea-8cd7-ed9799ce30e6" providerId="ADAL" clId="{EA677E6C-C96F-4C8F-91AF-68D134B8CD2E}" dt="2025-03-24T18:07:35.386" v="3882"/>
          <ac:spMkLst>
            <pc:docMk/>
            <pc:sldMk cId="2560334150" sldId="2147375908"/>
            <ac:spMk id="11" creationId="{3422C324-1221-CEE8-1122-6364F804AE12}"/>
          </ac:spMkLst>
        </pc:spChg>
        <pc:spChg chg="mod">
          <ac:chgData name="Lynn Fiedler" userId="bba223ed-859a-46ea-8cd7-ed9799ce30e6" providerId="ADAL" clId="{EA677E6C-C96F-4C8F-91AF-68D134B8CD2E}" dt="2025-03-24T18:07:35.389" v="3887"/>
          <ac:spMkLst>
            <pc:docMk/>
            <pc:sldMk cId="2560334150" sldId="2147375908"/>
            <ac:spMk id="12" creationId="{38D084E9-D6D0-44AB-7BC9-270C30428E8D}"/>
          </ac:spMkLst>
        </pc:spChg>
        <pc:spChg chg="mod">
          <ac:chgData name="Lynn Fiedler" userId="bba223ed-859a-46ea-8cd7-ed9799ce30e6" providerId="ADAL" clId="{EA677E6C-C96F-4C8F-91AF-68D134B8CD2E}" dt="2025-03-24T18:07:35.392" v="3892"/>
          <ac:spMkLst>
            <pc:docMk/>
            <pc:sldMk cId="2560334150" sldId="2147375908"/>
            <ac:spMk id="13" creationId="{6C01AAEC-F81A-8688-9996-2B201A8DBC6D}"/>
          </ac:spMkLst>
        </pc:spChg>
        <pc:spChg chg="add mod">
          <ac:chgData name="Lynn Fiedler" userId="bba223ed-859a-46ea-8cd7-ed9799ce30e6" providerId="ADAL" clId="{EA677E6C-C96F-4C8F-91AF-68D134B8CD2E}" dt="2025-03-24T18:07:35.397" v="3897"/>
          <ac:spMkLst>
            <pc:docMk/>
            <pc:sldMk cId="2560334150" sldId="2147375908"/>
            <ac:spMk id="14" creationId="{5F62D03D-1839-D8AA-B125-9FA2ADF4A14D}"/>
          </ac:spMkLst>
        </pc:spChg>
        <pc:spChg chg="mod">
          <ac:chgData name="Lynn Fiedler" userId="bba223ed-859a-46ea-8cd7-ed9799ce30e6" providerId="ADAL" clId="{EA677E6C-C96F-4C8F-91AF-68D134B8CD2E}" dt="2025-03-24T18:07:35.400" v="3902"/>
          <ac:spMkLst>
            <pc:docMk/>
            <pc:sldMk cId="2560334150" sldId="2147375908"/>
            <ac:spMk id="15" creationId="{53A69D66-7975-5EC8-37B6-50B8F08498E2}"/>
          </ac:spMkLst>
        </pc:spChg>
        <pc:spChg chg="mod">
          <ac:chgData name="Lynn Fiedler" userId="bba223ed-859a-46ea-8cd7-ed9799ce30e6" providerId="ADAL" clId="{EA677E6C-C96F-4C8F-91AF-68D134B8CD2E}" dt="2025-03-24T18:07:35.404" v="3907"/>
          <ac:spMkLst>
            <pc:docMk/>
            <pc:sldMk cId="2560334150" sldId="2147375908"/>
            <ac:spMk id="16" creationId="{7E029B6A-5203-62D3-A74A-2369A7FAB645}"/>
          </ac:spMkLst>
        </pc:spChg>
        <pc:spChg chg="mod">
          <ac:chgData name="Lynn Fiedler" userId="bba223ed-859a-46ea-8cd7-ed9799ce30e6" providerId="ADAL" clId="{EA677E6C-C96F-4C8F-91AF-68D134B8CD2E}" dt="2025-03-24T18:07:35.407" v="3912"/>
          <ac:spMkLst>
            <pc:docMk/>
            <pc:sldMk cId="2560334150" sldId="2147375908"/>
            <ac:spMk id="17" creationId="{88524C45-CCC3-3F58-4D8B-801A22DC7707}"/>
          </ac:spMkLst>
        </pc:spChg>
        <pc:spChg chg="mod">
          <ac:chgData name="Lynn Fiedler" userId="bba223ed-859a-46ea-8cd7-ed9799ce30e6" providerId="ADAL" clId="{EA677E6C-C96F-4C8F-91AF-68D134B8CD2E}" dt="2025-03-24T18:07:35.412" v="3917"/>
          <ac:spMkLst>
            <pc:docMk/>
            <pc:sldMk cId="2560334150" sldId="2147375908"/>
            <ac:spMk id="18" creationId="{4805351C-FF16-4C10-88EB-142870F74E79}"/>
          </ac:spMkLst>
        </pc:spChg>
        <pc:spChg chg="mod">
          <ac:chgData name="Lynn Fiedler" userId="bba223ed-859a-46ea-8cd7-ed9799ce30e6" providerId="ADAL" clId="{EA677E6C-C96F-4C8F-91AF-68D134B8CD2E}" dt="2025-03-24T18:07:35.418" v="3922"/>
          <ac:spMkLst>
            <pc:docMk/>
            <pc:sldMk cId="2560334150" sldId="2147375908"/>
            <ac:spMk id="19" creationId="{CC8FC03D-74BB-3CAC-F475-693D17CFA80C}"/>
          </ac:spMkLst>
        </pc:spChg>
        <pc:spChg chg="mod">
          <ac:chgData name="Lynn Fiedler" userId="bba223ed-859a-46ea-8cd7-ed9799ce30e6" providerId="ADAL" clId="{EA677E6C-C96F-4C8F-91AF-68D134B8CD2E}" dt="2025-03-24T18:07:35.423" v="3927"/>
          <ac:spMkLst>
            <pc:docMk/>
            <pc:sldMk cId="2560334150" sldId="2147375908"/>
            <ac:spMk id="20" creationId="{405AA7D1-5208-34C7-D3CB-A04B5ADD635A}"/>
          </ac:spMkLst>
        </pc:spChg>
        <pc:spChg chg="mod">
          <ac:chgData name="Lynn Fiedler" userId="bba223ed-859a-46ea-8cd7-ed9799ce30e6" providerId="ADAL" clId="{EA677E6C-C96F-4C8F-91AF-68D134B8CD2E}" dt="2025-03-24T18:07:35.427" v="3932"/>
          <ac:spMkLst>
            <pc:docMk/>
            <pc:sldMk cId="2560334150" sldId="2147375908"/>
            <ac:spMk id="21" creationId="{68E8F908-F9CA-81C7-652C-3E276891BC07}"/>
          </ac:spMkLst>
        </pc:spChg>
        <pc:spChg chg="mod">
          <ac:chgData name="Lynn Fiedler" userId="bba223ed-859a-46ea-8cd7-ed9799ce30e6" providerId="ADAL" clId="{EA677E6C-C96F-4C8F-91AF-68D134B8CD2E}" dt="2025-03-24T18:07:35.431" v="3937"/>
          <ac:spMkLst>
            <pc:docMk/>
            <pc:sldMk cId="2560334150" sldId="2147375908"/>
            <ac:spMk id="22" creationId="{D6F64D84-4F7D-C0F3-2623-94C55B9A03CB}"/>
          </ac:spMkLst>
        </pc:spChg>
        <pc:spChg chg="mod">
          <ac:chgData name="Lynn Fiedler" userId="bba223ed-859a-46ea-8cd7-ed9799ce30e6" providerId="ADAL" clId="{EA677E6C-C96F-4C8F-91AF-68D134B8CD2E}" dt="2025-03-24T18:07:35.434" v="3942"/>
          <ac:spMkLst>
            <pc:docMk/>
            <pc:sldMk cId="2560334150" sldId="2147375908"/>
            <ac:spMk id="23" creationId="{1084066F-E43F-B083-A172-410AB69CFA3E}"/>
          </ac:spMkLst>
        </pc:spChg>
        <pc:spChg chg="mod">
          <ac:chgData name="Lynn Fiedler" userId="bba223ed-859a-46ea-8cd7-ed9799ce30e6" providerId="ADAL" clId="{EA677E6C-C96F-4C8F-91AF-68D134B8CD2E}" dt="2025-03-24T18:07:35.437" v="3947"/>
          <ac:spMkLst>
            <pc:docMk/>
            <pc:sldMk cId="2560334150" sldId="2147375908"/>
            <ac:spMk id="24" creationId="{9197AAC6-E4C3-AB96-FF12-8A3910353BBF}"/>
          </ac:spMkLst>
        </pc:spChg>
        <pc:spChg chg="mod">
          <ac:chgData name="Lynn Fiedler" userId="bba223ed-859a-46ea-8cd7-ed9799ce30e6" providerId="ADAL" clId="{EA677E6C-C96F-4C8F-91AF-68D134B8CD2E}" dt="2025-03-24T18:07:35.440" v="3952"/>
          <ac:spMkLst>
            <pc:docMk/>
            <pc:sldMk cId="2560334150" sldId="2147375908"/>
            <ac:spMk id="25" creationId="{F97FBC05-B667-4B30-B2D9-1D2950442C85}"/>
          </ac:spMkLst>
        </pc:spChg>
        <pc:spChg chg="mod">
          <ac:chgData name="Lynn Fiedler" userId="bba223ed-859a-46ea-8cd7-ed9799ce30e6" providerId="ADAL" clId="{EA677E6C-C96F-4C8F-91AF-68D134B8CD2E}" dt="2025-03-24T18:07:35.443" v="3957"/>
          <ac:spMkLst>
            <pc:docMk/>
            <pc:sldMk cId="2560334150" sldId="2147375908"/>
            <ac:spMk id="26" creationId="{DDD22A2E-F139-E941-498D-5CB34A47CDF9}"/>
          </ac:spMkLst>
        </pc:spChg>
        <pc:spChg chg="mod">
          <ac:chgData name="Lynn Fiedler" userId="bba223ed-859a-46ea-8cd7-ed9799ce30e6" providerId="ADAL" clId="{EA677E6C-C96F-4C8F-91AF-68D134B8CD2E}" dt="2025-03-24T18:07:35.446" v="3962"/>
          <ac:spMkLst>
            <pc:docMk/>
            <pc:sldMk cId="2560334150" sldId="2147375908"/>
            <ac:spMk id="27" creationId="{EDB7F9EC-5342-1164-59AC-34ADDA2021EB}"/>
          </ac:spMkLst>
        </pc:spChg>
        <pc:spChg chg="mod">
          <ac:chgData name="Lynn Fiedler" userId="bba223ed-859a-46ea-8cd7-ed9799ce30e6" providerId="ADAL" clId="{EA677E6C-C96F-4C8F-91AF-68D134B8CD2E}" dt="2025-03-24T18:07:35.449" v="3967"/>
          <ac:spMkLst>
            <pc:docMk/>
            <pc:sldMk cId="2560334150" sldId="2147375908"/>
            <ac:spMk id="28" creationId="{B197CE0B-3B8C-23E7-A8F5-D4A7D87CC2B5}"/>
          </ac:spMkLst>
        </pc:spChg>
        <pc:spChg chg="add mod">
          <ac:chgData name="Lynn Fiedler" userId="bba223ed-859a-46ea-8cd7-ed9799ce30e6" providerId="ADAL" clId="{EA677E6C-C96F-4C8F-91AF-68D134B8CD2E}" dt="2025-03-24T18:07:35.452" v="3972"/>
          <ac:spMkLst>
            <pc:docMk/>
            <pc:sldMk cId="2560334150" sldId="2147375908"/>
            <ac:spMk id="29" creationId="{3B0D6651-0EC4-D6D6-CAA1-CFB8306D59DA}"/>
          </ac:spMkLst>
        </pc:spChg>
        <pc:spChg chg="mod">
          <ac:chgData name="Lynn Fiedler" userId="bba223ed-859a-46ea-8cd7-ed9799ce30e6" providerId="ADAL" clId="{EA677E6C-C96F-4C8F-91AF-68D134B8CD2E}" dt="2025-03-24T18:07:35.455" v="3977"/>
          <ac:spMkLst>
            <pc:docMk/>
            <pc:sldMk cId="2560334150" sldId="2147375908"/>
            <ac:spMk id="30" creationId="{499FA122-0151-0505-D0BE-0365D74D584B}"/>
          </ac:spMkLst>
        </pc:spChg>
        <pc:spChg chg="mod">
          <ac:chgData name="Lynn Fiedler" userId="bba223ed-859a-46ea-8cd7-ed9799ce30e6" providerId="ADAL" clId="{EA677E6C-C96F-4C8F-91AF-68D134B8CD2E}" dt="2025-03-24T18:07:35.458" v="3982"/>
          <ac:spMkLst>
            <pc:docMk/>
            <pc:sldMk cId="2560334150" sldId="2147375908"/>
            <ac:spMk id="31" creationId="{DC85F8B7-B246-561F-E706-0EFE9739248F}"/>
          </ac:spMkLst>
        </pc:spChg>
        <pc:spChg chg="mod">
          <ac:chgData name="Lynn Fiedler" userId="bba223ed-859a-46ea-8cd7-ed9799ce30e6" providerId="ADAL" clId="{EA677E6C-C96F-4C8F-91AF-68D134B8CD2E}" dt="2025-03-24T18:07:35.462" v="3987"/>
          <ac:spMkLst>
            <pc:docMk/>
            <pc:sldMk cId="2560334150" sldId="2147375908"/>
            <ac:spMk id="32" creationId="{EF2CDFDC-9F11-4171-1EC6-AD358C370F99}"/>
          </ac:spMkLst>
        </pc:spChg>
        <pc:spChg chg="mod">
          <ac:chgData name="Lynn Fiedler" userId="bba223ed-859a-46ea-8cd7-ed9799ce30e6" providerId="ADAL" clId="{EA677E6C-C96F-4C8F-91AF-68D134B8CD2E}" dt="2025-03-24T18:07:35.233" v="3577"/>
          <ac:spMkLst>
            <pc:docMk/>
            <pc:sldMk cId="2560334150" sldId="2147375908"/>
            <ac:spMk id="69" creationId="{8852FACA-9CA4-CC97-E253-54EA64A6D29C}"/>
          </ac:spMkLst>
        </pc:spChg>
        <pc:spChg chg="mod">
          <ac:chgData name="Lynn Fiedler" userId="bba223ed-859a-46ea-8cd7-ed9799ce30e6" providerId="ADAL" clId="{EA677E6C-C96F-4C8F-91AF-68D134B8CD2E}" dt="2025-03-24T18:07:35.365" v="3843"/>
          <ac:spMkLst>
            <pc:docMk/>
            <pc:sldMk cId="2560334150" sldId="2147375908"/>
            <ac:spMk id="70" creationId="{7BFCFB41-7FE9-A406-C390-7BA6C6AB6ABB}"/>
          </ac:spMkLst>
        </pc:spChg>
        <pc:spChg chg="mod">
          <ac:chgData name="Lynn Fiedler" userId="bba223ed-859a-46ea-8cd7-ed9799ce30e6" providerId="ADAL" clId="{EA677E6C-C96F-4C8F-91AF-68D134B8CD2E}" dt="2025-03-24T18:07:35.363" v="3839"/>
          <ac:spMkLst>
            <pc:docMk/>
            <pc:sldMk cId="2560334150" sldId="2147375908"/>
            <ac:spMk id="71" creationId="{D0EF3F93-211C-4C5C-0D5D-97BDB32C4844}"/>
          </ac:spMkLst>
        </pc:spChg>
        <pc:spChg chg="mod">
          <ac:chgData name="Lynn Fiedler" userId="bba223ed-859a-46ea-8cd7-ed9799ce30e6" providerId="ADAL" clId="{EA677E6C-C96F-4C8F-91AF-68D134B8CD2E}" dt="2025-03-24T18:07:35.330" v="3777"/>
          <ac:spMkLst>
            <pc:docMk/>
            <pc:sldMk cId="2560334150" sldId="2147375908"/>
            <ac:spMk id="72" creationId="{EE187859-B59D-7735-34C1-1A93EB5E3819}"/>
          </ac:spMkLst>
        </pc:spChg>
        <pc:spChg chg="mod">
          <ac:chgData name="Lynn Fiedler" userId="bba223ed-859a-46ea-8cd7-ed9799ce30e6" providerId="ADAL" clId="{EA677E6C-C96F-4C8F-91AF-68D134B8CD2E}" dt="2025-03-24T18:07:35.319" v="3753"/>
          <ac:spMkLst>
            <pc:docMk/>
            <pc:sldMk cId="2560334150" sldId="2147375908"/>
            <ac:spMk id="73" creationId="{23528C63-CC32-AAD5-E0F8-64C73F591D01}"/>
          </ac:spMkLst>
        </pc:spChg>
        <pc:spChg chg="mod">
          <ac:chgData name="Lynn Fiedler" userId="bba223ed-859a-46ea-8cd7-ed9799ce30e6" providerId="ADAL" clId="{EA677E6C-C96F-4C8F-91AF-68D134B8CD2E}" dt="2025-03-24T18:07:35.350" v="3811"/>
          <ac:spMkLst>
            <pc:docMk/>
            <pc:sldMk cId="2560334150" sldId="2147375908"/>
            <ac:spMk id="74" creationId="{CDE44AF8-8236-9992-26E6-ABC41B86B1D7}"/>
          </ac:spMkLst>
        </pc:spChg>
        <pc:spChg chg="mod">
          <ac:chgData name="Lynn Fiedler" userId="bba223ed-859a-46ea-8cd7-ed9799ce30e6" providerId="ADAL" clId="{EA677E6C-C96F-4C8F-91AF-68D134B8CD2E}" dt="2025-03-24T18:07:35.238" v="3587"/>
          <ac:spMkLst>
            <pc:docMk/>
            <pc:sldMk cId="2560334150" sldId="2147375908"/>
            <ac:spMk id="75" creationId="{9054E045-830C-FA07-096D-20D10A4B2CA9}"/>
          </ac:spMkLst>
        </pc:spChg>
        <pc:spChg chg="mod">
          <ac:chgData name="Lynn Fiedler" userId="bba223ed-859a-46ea-8cd7-ed9799ce30e6" providerId="ADAL" clId="{EA677E6C-C96F-4C8F-91AF-68D134B8CD2E}" dt="2025-03-24T18:07:35.255" v="3621"/>
          <ac:spMkLst>
            <pc:docMk/>
            <pc:sldMk cId="2560334150" sldId="2147375908"/>
            <ac:spMk id="76" creationId="{9820C69F-DB28-1968-D27E-D938DF9547D2}"/>
          </ac:spMkLst>
        </pc:spChg>
        <pc:spChg chg="mod">
          <ac:chgData name="Lynn Fiedler" userId="bba223ed-859a-46ea-8cd7-ed9799ce30e6" providerId="ADAL" clId="{EA677E6C-C96F-4C8F-91AF-68D134B8CD2E}" dt="2025-03-24T18:07:35.344" v="3801"/>
          <ac:spMkLst>
            <pc:docMk/>
            <pc:sldMk cId="2560334150" sldId="2147375908"/>
            <ac:spMk id="77" creationId="{442401CE-3D48-D126-6177-32F0733C8719}"/>
          </ac:spMkLst>
        </pc:spChg>
        <pc:spChg chg="mod">
          <ac:chgData name="Lynn Fiedler" userId="bba223ed-859a-46ea-8cd7-ed9799ce30e6" providerId="ADAL" clId="{EA677E6C-C96F-4C8F-91AF-68D134B8CD2E}" dt="2025-03-24T18:07:35.315" v="3743"/>
          <ac:spMkLst>
            <pc:docMk/>
            <pc:sldMk cId="2560334150" sldId="2147375908"/>
            <ac:spMk id="78" creationId="{FD9D4F69-0311-88F3-ED7E-8339E80D3C26}"/>
          </ac:spMkLst>
        </pc:spChg>
        <pc:spChg chg="mod">
          <ac:chgData name="Lynn Fiedler" userId="bba223ed-859a-46ea-8cd7-ed9799ce30e6" providerId="ADAL" clId="{EA677E6C-C96F-4C8F-91AF-68D134B8CD2E}" dt="2025-03-24T18:07:35.243" v="3597"/>
          <ac:spMkLst>
            <pc:docMk/>
            <pc:sldMk cId="2560334150" sldId="2147375908"/>
            <ac:spMk id="79" creationId="{621E22A0-EFC3-AC5A-864A-FDB5C2A30103}"/>
          </ac:spMkLst>
        </pc:spChg>
        <pc:spChg chg="mod">
          <ac:chgData name="Lynn Fiedler" userId="bba223ed-859a-46ea-8cd7-ed9799ce30e6" providerId="ADAL" clId="{EA677E6C-C96F-4C8F-91AF-68D134B8CD2E}" dt="2025-03-24T18:07:35.337" v="3791"/>
          <ac:spMkLst>
            <pc:docMk/>
            <pc:sldMk cId="2560334150" sldId="2147375908"/>
            <ac:spMk id="80" creationId="{C9347DD8-0348-AF8E-AB49-75345182B80A}"/>
          </ac:spMkLst>
        </pc:spChg>
        <pc:spChg chg="add mod">
          <ac:chgData name="Lynn Fiedler" userId="bba223ed-859a-46ea-8cd7-ed9799ce30e6" providerId="ADAL" clId="{EA677E6C-C96F-4C8F-91AF-68D134B8CD2E}" dt="2025-03-24T18:07:35.259" v="3631"/>
          <ac:spMkLst>
            <pc:docMk/>
            <pc:sldMk cId="2560334150" sldId="2147375908"/>
            <ac:spMk id="81" creationId="{83704E95-054A-CD91-A606-5792BD7FB9D4}"/>
          </ac:spMkLst>
        </pc:spChg>
        <pc:spChg chg="mod">
          <ac:chgData name="Lynn Fiedler" userId="bba223ed-859a-46ea-8cd7-ed9799ce30e6" providerId="ADAL" clId="{EA677E6C-C96F-4C8F-91AF-68D134B8CD2E}" dt="2025-03-24T18:07:35.324" v="3763"/>
          <ac:spMkLst>
            <pc:docMk/>
            <pc:sldMk cId="2560334150" sldId="2147375908"/>
            <ac:spMk id="82" creationId="{2CADBD3E-5CE0-5BDB-3220-5B1B3BF6EE6C}"/>
          </ac:spMkLst>
        </pc:spChg>
        <pc:spChg chg="mod">
          <ac:chgData name="Lynn Fiedler" userId="bba223ed-859a-46ea-8cd7-ed9799ce30e6" providerId="ADAL" clId="{EA677E6C-C96F-4C8F-91AF-68D134B8CD2E}" dt="2025-03-24T18:07:35.248" v="3607"/>
          <ac:spMkLst>
            <pc:docMk/>
            <pc:sldMk cId="2560334150" sldId="2147375908"/>
            <ac:spMk id="83" creationId="{DAFF4043-8633-1F9E-4677-1ED58EE3884F}"/>
          </ac:spMkLst>
        </pc:spChg>
        <pc:spChg chg="add mod">
          <ac:chgData name="Lynn Fiedler" userId="bba223ed-859a-46ea-8cd7-ed9799ce30e6" providerId="ADAL" clId="{EA677E6C-C96F-4C8F-91AF-68D134B8CD2E}" dt="2025-03-24T18:07:35.304" v="3719"/>
          <ac:spMkLst>
            <pc:docMk/>
            <pc:sldMk cId="2560334150" sldId="2147375908"/>
            <ac:spMk id="84" creationId="{8C337379-B993-1238-B6BF-CBB928E2EED4}"/>
          </ac:spMkLst>
        </pc:spChg>
        <pc:spChg chg="mod">
          <ac:chgData name="Lynn Fiedler" userId="bba223ed-859a-46ea-8cd7-ed9799ce30e6" providerId="ADAL" clId="{EA677E6C-C96F-4C8F-91AF-68D134B8CD2E}" dt="2025-03-24T18:07:35.357" v="3825"/>
          <ac:spMkLst>
            <pc:docMk/>
            <pc:sldMk cId="2560334150" sldId="2147375908"/>
            <ac:spMk id="85" creationId="{D0708E23-DF5E-742E-C7DA-1900FB8712D1}"/>
          </ac:spMkLst>
        </pc:spChg>
        <pc:spChg chg="mod">
          <ac:chgData name="Lynn Fiedler" userId="bba223ed-859a-46ea-8cd7-ed9799ce30e6" providerId="ADAL" clId="{EA677E6C-C96F-4C8F-91AF-68D134B8CD2E}" dt="2025-03-24T18:07:35.361" v="3835"/>
          <ac:spMkLst>
            <pc:docMk/>
            <pc:sldMk cId="2560334150" sldId="2147375908"/>
            <ac:spMk id="86" creationId="{5B08D158-BFEF-FF21-23D1-F7426FDD545E}"/>
          </ac:spMkLst>
        </pc:spChg>
        <pc:spChg chg="mod">
          <ac:chgData name="Lynn Fiedler" userId="bba223ed-859a-46ea-8cd7-ed9799ce30e6" providerId="ADAL" clId="{EA677E6C-C96F-4C8F-91AF-68D134B8CD2E}" dt="2025-03-24T18:07:35.299" v="3709"/>
          <ac:spMkLst>
            <pc:docMk/>
            <pc:sldMk cId="2560334150" sldId="2147375908"/>
            <ac:spMk id="87" creationId="{D3B808CC-6349-F741-69B1-A0FE244B2EBE}"/>
          </ac:spMkLst>
        </pc:spChg>
        <pc:spChg chg="mod">
          <ac:chgData name="Lynn Fiedler" userId="bba223ed-859a-46ea-8cd7-ed9799ce30e6" providerId="ADAL" clId="{EA677E6C-C96F-4C8F-91AF-68D134B8CD2E}" dt="2025-03-24T18:07:35.294" v="3699"/>
          <ac:spMkLst>
            <pc:docMk/>
            <pc:sldMk cId="2560334150" sldId="2147375908"/>
            <ac:spMk id="88" creationId="{3A6F870F-F79D-AE99-5507-7F557238A1F6}"/>
          </ac:spMkLst>
        </pc:spChg>
        <pc:spChg chg="mod">
          <ac:chgData name="Lynn Fiedler" userId="bba223ed-859a-46ea-8cd7-ed9799ce30e6" providerId="ADAL" clId="{EA677E6C-C96F-4C8F-91AF-68D134B8CD2E}" dt="2025-03-24T18:07:35.370" v="3853"/>
          <ac:spMkLst>
            <pc:docMk/>
            <pc:sldMk cId="2560334150" sldId="2147375908"/>
            <ac:spMk id="89" creationId="{D7BA7F7A-5EAD-1842-D8CD-CCCD15784F7D}"/>
          </ac:spMkLst>
        </pc:spChg>
        <pc:spChg chg="mod">
          <ac:chgData name="Lynn Fiedler" userId="bba223ed-859a-46ea-8cd7-ed9799ce30e6" providerId="ADAL" clId="{EA677E6C-C96F-4C8F-91AF-68D134B8CD2E}" dt="2025-03-24T18:07:35.288" v="3689"/>
          <ac:spMkLst>
            <pc:docMk/>
            <pc:sldMk cId="2560334150" sldId="2147375908"/>
            <ac:spMk id="90" creationId="{5F7B10DE-934B-FC02-6DA9-9E106331FC4C}"/>
          </ac:spMkLst>
        </pc:spChg>
        <pc:spChg chg="mod">
          <ac:chgData name="Lynn Fiedler" userId="bba223ed-859a-46ea-8cd7-ed9799ce30e6" providerId="ADAL" clId="{EA677E6C-C96F-4C8F-91AF-68D134B8CD2E}" dt="2025-03-24T18:07:35.308" v="3729"/>
          <ac:spMkLst>
            <pc:docMk/>
            <pc:sldMk cId="2560334150" sldId="2147375908"/>
            <ac:spMk id="91" creationId="{F82FE756-9CA4-D1B4-224A-BE5CDF5C3925}"/>
          </ac:spMkLst>
        </pc:spChg>
        <pc:spChg chg="mod">
          <ac:chgData name="Lynn Fiedler" userId="bba223ed-859a-46ea-8cd7-ed9799ce30e6" providerId="ADAL" clId="{EA677E6C-C96F-4C8F-91AF-68D134B8CD2E}" dt="2025-03-24T18:07:35.282" v="3675"/>
          <ac:spMkLst>
            <pc:docMk/>
            <pc:sldMk cId="2560334150" sldId="2147375908"/>
            <ac:spMk id="92" creationId="{66C65DB5-A099-C0D8-DDB5-A425808C6404}"/>
          </ac:spMkLst>
        </pc:spChg>
        <pc:spChg chg="mod">
          <ac:chgData name="Lynn Fiedler" userId="bba223ed-859a-46ea-8cd7-ed9799ce30e6" providerId="ADAL" clId="{EA677E6C-C96F-4C8F-91AF-68D134B8CD2E}" dt="2025-03-24T18:07:35.276" v="3665"/>
          <ac:spMkLst>
            <pc:docMk/>
            <pc:sldMk cId="2560334150" sldId="2147375908"/>
            <ac:spMk id="93" creationId="{CCFD6D90-D15E-2169-9933-24E96D3126D4}"/>
          </ac:spMkLst>
        </pc:spChg>
        <pc:spChg chg="mod">
          <ac:chgData name="Lynn Fiedler" userId="bba223ed-859a-46ea-8cd7-ed9799ce30e6" providerId="ADAL" clId="{EA677E6C-C96F-4C8F-91AF-68D134B8CD2E}" dt="2025-03-24T18:07:35.271" v="3655"/>
          <ac:spMkLst>
            <pc:docMk/>
            <pc:sldMk cId="2560334150" sldId="2147375908"/>
            <ac:spMk id="94" creationId="{FF97C5EC-F78D-7F30-08FD-FAA57E8555D6}"/>
          </ac:spMkLst>
        </pc:spChg>
        <pc:spChg chg="mod">
          <ac:chgData name="Lynn Fiedler" userId="bba223ed-859a-46ea-8cd7-ed9799ce30e6" providerId="ADAL" clId="{EA677E6C-C96F-4C8F-91AF-68D134B8CD2E}" dt="2025-03-24T18:07:35.266" v="3645"/>
          <ac:spMkLst>
            <pc:docMk/>
            <pc:sldMk cId="2560334150" sldId="2147375908"/>
            <ac:spMk id="95" creationId="{BAB91A09-1477-708D-E908-2DA62531FE76}"/>
          </ac:spMkLst>
        </pc:spChg>
        <pc:spChg chg="mod">
          <ac:chgData name="Lynn Fiedler" userId="bba223ed-859a-46ea-8cd7-ed9799ce30e6" providerId="ADAL" clId="{EA677E6C-C96F-4C8F-91AF-68D134B8CD2E}" dt="2025-03-24T18:07:35.257" v="3625"/>
          <ac:spMkLst>
            <pc:docMk/>
            <pc:sldMk cId="2560334150" sldId="2147375908"/>
            <ac:spMk id="96" creationId="{71527923-485D-F597-0F02-C6B70BF0353E}"/>
          </ac:spMkLst>
        </pc:spChg>
        <pc:spChg chg="mod">
          <ac:chgData name="Lynn Fiedler" userId="bba223ed-859a-46ea-8cd7-ed9799ce30e6" providerId="ADAL" clId="{EA677E6C-C96F-4C8F-91AF-68D134B8CD2E}" dt="2025-03-24T18:07:35.258" v="3627"/>
          <ac:spMkLst>
            <pc:docMk/>
            <pc:sldMk cId="2560334150" sldId="2147375908"/>
            <ac:spMk id="97" creationId="{722EC9CA-98D4-0D9A-4B26-BFB997EFB082}"/>
          </ac:spMkLst>
        </pc:spChg>
        <pc:spChg chg="mod">
          <ac:chgData name="Lynn Fiedler" userId="bba223ed-859a-46ea-8cd7-ed9799ce30e6" providerId="ADAL" clId="{EA677E6C-C96F-4C8F-91AF-68D134B8CD2E}" dt="2025-03-24T18:07:35.262" v="3637"/>
          <ac:spMkLst>
            <pc:docMk/>
            <pc:sldMk cId="2560334150" sldId="2147375908"/>
            <ac:spMk id="98" creationId="{2BC5DA5C-962A-BFD8-BE7A-C6E650BE2B7E}"/>
          </ac:spMkLst>
        </pc:spChg>
        <pc:spChg chg="mod">
          <ac:chgData name="Lynn Fiedler" userId="bba223ed-859a-46ea-8cd7-ed9799ce30e6" providerId="ADAL" clId="{EA677E6C-C96F-4C8F-91AF-68D134B8CD2E}" dt="2025-03-24T18:07:35.311" v="3735"/>
          <ac:spMkLst>
            <pc:docMk/>
            <pc:sldMk cId="2560334150" sldId="2147375908"/>
            <ac:spMk id="99" creationId="{5E177211-D8D3-6134-C6EA-251C64016AE1}"/>
          </ac:spMkLst>
        </pc:spChg>
        <pc:spChg chg="mod">
          <ac:chgData name="Lynn Fiedler" userId="bba223ed-859a-46ea-8cd7-ed9799ce30e6" providerId="ADAL" clId="{EA677E6C-C96F-4C8F-91AF-68D134B8CD2E}" dt="2025-03-24T18:07:35.312" v="3737"/>
          <ac:spMkLst>
            <pc:docMk/>
            <pc:sldMk cId="2560334150" sldId="2147375908"/>
            <ac:spMk id="100" creationId="{E2AE9A8C-0D0A-06F5-DF3E-3172E03A0FF5}"/>
          </ac:spMkLst>
        </pc:spChg>
        <pc:spChg chg="mod">
          <ac:chgData name="Lynn Fiedler" userId="bba223ed-859a-46ea-8cd7-ed9799ce30e6" providerId="ADAL" clId="{EA677E6C-C96F-4C8F-91AF-68D134B8CD2E}" dt="2025-03-24T18:07:35.313" v="3739"/>
          <ac:spMkLst>
            <pc:docMk/>
            <pc:sldMk cId="2560334150" sldId="2147375908"/>
            <ac:spMk id="101" creationId="{C3C0ACCB-1A28-2549-2856-FEA00D09A413}"/>
          </ac:spMkLst>
        </pc:spChg>
        <pc:spChg chg="mod">
          <ac:chgData name="Lynn Fiedler" userId="bba223ed-859a-46ea-8cd7-ed9799ce30e6" providerId="ADAL" clId="{EA677E6C-C96F-4C8F-91AF-68D134B8CD2E}" dt="2025-03-24T18:07:35.307" v="3725"/>
          <ac:spMkLst>
            <pc:docMk/>
            <pc:sldMk cId="2560334150" sldId="2147375908"/>
            <ac:spMk id="102" creationId="{B22F0016-CAA6-6186-0700-04D2EE32A43E}"/>
          </ac:spMkLst>
        </pc:spChg>
        <pc:spChg chg="mod">
          <ac:chgData name="Lynn Fiedler" userId="bba223ed-859a-46ea-8cd7-ed9799ce30e6" providerId="ADAL" clId="{EA677E6C-C96F-4C8F-91AF-68D134B8CD2E}" dt="2025-03-24T18:07:35.316" v="3745"/>
          <ac:spMkLst>
            <pc:docMk/>
            <pc:sldMk cId="2560334150" sldId="2147375908"/>
            <ac:spMk id="103" creationId="{ECD0390B-0A6B-53DD-7F28-C562AA318772}"/>
          </ac:spMkLst>
        </pc:spChg>
        <pc:spChg chg="mod">
          <ac:chgData name="Lynn Fiedler" userId="bba223ed-859a-46ea-8cd7-ed9799ce30e6" providerId="ADAL" clId="{EA677E6C-C96F-4C8F-91AF-68D134B8CD2E}" dt="2025-03-24T18:07:35.317" v="3747"/>
          <ac:spMkLst>
            <pc:docMk/>
            <pc:sldMk cId="2560334150" sldId="2147375908"/>
            <ac:spMk id="104" creationId="{7699CD20-CAC9-C888-DEF1-3F865873CCBA}"/>
          </ac:spMkLst>
        </pc:spChg>
        <pc:spChg chg="mod">
          <ac:chgData name="Lynn Fiedler" userId="bba223ed-859a-46ea-8cd7-ed9799ce30e6" providerId="ADAL" clId="{EA677E6C-C96F-4C8F-91AF-68D134B8CD2E}" dt="2025-03-24T18:07:35.317" v="3749"/>
          <ac:spMkLst>
            <pc:docMk/>
            <pc:sldMk cId="2560334150" sldId="2147375908"/>
            <ac:spMk id="105" creationId="{9869025A-5A8F-D0E0-6BAB-3975AC55BE68}"/>
          </ac:spMkLst>
        </pc:spChg>
        <pc:spChg chg="mod">
          <ac:chgData name="Lynn Fiedler" userId="bba223ed-859a-46ea-8cd7-ed9799ce30e6" providerId="ADAL" clId="{EA677E6C-C96F-4C8F-91AF-68D134B8CD2E}" dt="2025-03-24T18:07:35.320" v="3755"/>
          <ac:spMkLst>
            <pc:docMk/>
            <pc:sldMk cId="2560334150" sldId="2147375908"/>
            <ac:spMk id="106" creationId="{ECD1211F-BB88-8E47-D3CC-23254E5B6E25}"/>
          </ac:spMkLst>
        </pc:spChg>
        <pc:spChg chg="mod">
          <ac:chgData name="Lynn Fiedler" userId="bba223ed-859a-46ea-8cd7-ed9799ce30e6" providerId="ADAL" clId="{EA677E6C-C96F-4C8F-91AF-68D134B8CD2E}" dt="2025-03-24T18:07:35.321" v="3757"/>
          <ac:spMkLst>
            <pc:docMk/>
            <pc:sldMk cId="2560334150" sldId="2147375908"/>
            <ac:spMk id="107" creationId="{ADEFE1E7-107A-A5FE-ABE1-7EFA17766BCD}"/>
          </ac:spMkLst>
        </pc:spChg>
        <pc:spChg chg="mod">
          <ac:chgData name="Lynn Fiedler" userId="bba223ed-859a-46ea-8cd7-ed9799ce30e6" providerId="ADAL" clId="{EA677E6C-C96F-4C8F-91AF-68D134B8CD2E}" dt="2025-03-24T18:07:35.322" v="3759"/>
          <ac:spMkLst>
            <pc:docMk/>
            <pc:sldMk cId="2560334150" sldId="2147375908"/>
            <ac:spMk id="108" creationId="{642D226D-85A1-FC24-8188-97DD1F2B4885}"/>
          </ac:spMkLst>
        </pc:spChg>
        <pc:spChg chg="mod">
          <ac:chgData name="Lynn Fiedler" userId="bba223ed-859a-46ea-8cd7-ed9799ce30e6" providerId="ADAL" clId="{EA677E6C-C96F-4C8F-91AF-68D134B8CD2E}" dt="2025-03-24T18:07:35.326" v="3769"/>
          <ac:spMkLst>
            <pc:docMk/>
            <pc:sldMk cId="2560334150" sldId="2147375908"/>
            <ac:spMk id="109" creationId="{53F8D906-CBCE-4BA3-81AF-C4FE5DB8ED13}"/>
          </ac:spMkLst>
        </pc:spChg>
        <pc:spChg chg="mod">
          <ac:chgData name="Lynn Fiedler" userId="bba223ed-859a-46ea-8cd7-ed9799ce30e6" providerId="ADAL" clId="{EA677E6C-C96F-4C8F-91AF-68D134B8CD2E}" dt="2025-03-24T18:07:35.327" v="3771"/>
          <ac:spMkLst>
            <pc:docMk/>
            <pc:sldMk cId="2560334150" sldId="2147375908"/>
            <ac:spMk id="110" creationId="{686B6423-645D-E3E2-1A5C-8B4CC4D9C3FE}"/>
          </ac:spMkLst>
        </pc:spChg>
        <pc:spChg chg="mod">
          <ac:chgData name="Lynn Fiedler" userId="bba223ed-859a-46ea-8cd7-ed9799ce30e6" providerId="ADAL" clId="{EA677E6C-C96F-4C8F-91AF-68D134B8CD2E}" dt="2025-03-24T18:07:35.328" v="3773"/>
          <ac:spMkLst>
            <pc:docMk/>
            <pc:sldMk cId="2560334150" sldId="2147375908"/>
            <ac:spMk id="111" creationId="{221BE4A3-A605-6B49-F56D-C2D74E9432C4}"/>
          </ac:spMkLst>
        </pc:spChg>
        <pc:spChg chg="mod">
          <ac:chgData name="Lynn Fiedler" userId="bba223ed-859a-46ea-8cd7-ed9799ce30e6" providerId="ADAL" clId="{EA677E6C-C96F-4C8F-91AF-68D134B8CD2E}" dt="2025-03-24T18:07:35.306" v="3723"/>
          <ac:spMkLst>
            <pc:docMk/>
            <pc:sldMk cId="2560334150" sldId="2147375908"/>
            <ac:spMk id="112" creationId="{C2B62E91-6C1A-3404-3179-86C9C0D8F0B5}"/>
          </ac:spMkLst>
        </pc:spChg>
        <pc:spChg chg="mod">
          <ac:chgData name="Lynn Fiedler" userId="bba223ed-859a-46ea-8cd7-ed9799ce30e6" providerId="ADAL" clId="{EA677E6C-C96F-4C8F-91AF-68D134B8CD2E}" dt="2025-03-24T18:07:35.333" v="3785"/>
          <ac:spMkLst>
            <pc:docMk/>
            <pc:sldMk cId="2560334150" sldId="2147375908"/>
            <ac:spMk id="113" creationId="{51DBE763-EBF1-0B08-FBBF-6D2821FCE70A}"/>
          </ac:spMkLst>
        </pc:spChg>
        <pc:spChg chg="mod">
          <ac:chgData name="Lynn Fiedler" userId="bba223ed-859a-46ea-8cd7-ed9799ce30e6" providerId="ADAL" clId="{EA677E6C-C96F-4C8F-91AF-68D134B8CD2E}" dt="2025-03-24T18:07:35.335" v="3787"/>
          <ac:spMkLst>
            <pc:docMk/>
            <pc:sldMk cId="2560334150" sldId="2147375908"/>
            <ac:spMk id="114" creationId="{1EA237F1-1C12-2201-CF96-459CBBED0FDF}"/>
          </ac:spMkLst>
        </pc:spChg>
        <pc:spChg chg="mod">
          <ac:chgData name="Lynn Fiedler" userId="bba223ed-859a-46ea-8cd7-ed9799ce30e6" providerId="ADAL" clId="{EA677E6C-C96F-4C8F-91AF-68D134B8CD2E}" dt="2025-03-24T18:07:35.305" v="3721"/>
          <ac:spMkLst>
            <pc:docMk/>
            <pc:sldMk cId="2560334150" sldId="2147375908"/>
            <ac:spMk id="115" creationId="{8438ABF2-EC28-7C8C-BAD6-BC12AD765F97}"/>
          </ac:spMkLst>
        </pc:spChg>
        <pc:spChg chg="mod">
          <ac:chgData name="Lynn Fiedler" userId="bba223ed-859a-46ea-8cd7-ed9799ce30e6" providerId="ADAL" clId="{EA677E6C-C96F-4C8F-91AF-68D134B8CD2E}" dt="2025-03-24T18:07:35.339" v="3793"/>
          <ac:spMkLst>
            <pc:docMk/>
            <pc:sldMk cId="2560334150" sldId="2147375908"/>
            <ac:spMk id="116" creationId="{548CD2C4-10C2-1408-D69B-6223B99B69F9}"/>
          </ac:spMkLst>
        </pc:spChg>
        <pc:spChg chg="mod">
          <ac:chgData name="Lynn Fiedler" userId="bba223ed-859a-46ea-8cd7-ed9799ce30e6" providerId="ADAL" clId="{EA677E6C-C96F-4C8F-91AF-68D134B8CD2E}" dt="2025-03-24T18:07:35.340" v="3795"/>
          <ac:spMkLst>
            <pc:docMk/>
            <pc:sldMk cId="2560334150" sldId="2147375908"/>
            <ac:spMk id="117" creationId="{045A5DC6-7CFA-A8E2-5166-091758F7A18E}"/>
          </ac:spMkLst>
        </pc:spChg>
        <pc:spChg chg="mod">
          <ac:chgData name="Lynn Fiedler" userId="bba223ed-859a-46ea-8cd7-ed9799ce30e6" providerId="ADAL" clId="{EA677E6C-C96F-4C8F-91AF-68D134B8CD2E}" dt="2025-03-24T18:07:35.341" v="3797"/>
          <ac:spMkLst>
            <pc:docMk/>
            <pc:sldMk cId="2560334150" sldId="2147375908"/>
            <ac:spMk id="118" creationId="{64B8D4FD-B093-A812-4F86-B79C8DA1A5F4}"/>
          </ac:spMkLst>
        </pc:spChg>
        <pc:spChg chg="mod">
          <ac:chgData name="Lynn Fiedler" userId="bba223ed-859a-46ea-8cd7-ed9799ce30e6" providerId="ADAL" clId="{EA677E6C-C96F-4C8F-91AF-68D134B8CD2E}" dt="2025-03-24T18:07:35.345" v="3803"/>
          <ac:spMkLst>
            <pc:docMk/>
            <pc:sldMk cId="2560334150" sldId="2147375908"/>
            <ac:spMk id="119" creationId="{A8BB370B-6149-69F2-C7D1-DC852AD4D486}"/>
          </ac:spMkLst>
        </pc:spChg>
        <pc:spChg chg="mod">
          <ac:chgData name="Lynn Fiedler" userId="bba223ed-859a-46ea-8cd7-ed9799ce30e6" providerId="ADAL" clId="{EA677E6C-C96F-4C8F-91AF-68D134B8CD2E}" dt="2025-03-24T18:07:35.346" v="3805"/>
          <ac:spMkLst>
            <pc:docMk/>
            <pc:sldMk cId="2560334150" sldId="2147375908"/>
            <ac:spMk id="120" creationId="{89D86B93-F5D4-AF08-F6C9-82C950936C10}"/>
          </ac:spMkLst>
        </pc:spChg>
        <pc:spChg chg="mod">
          <ac:chgData name="Lynn Fiedler" userId="bba223ed-859a-46ea-8cd7-ed9799ce30e6" providerId="ADAL" clId="{EA677E6C-C96F-4C8F-91AF-68D134B8CD2E}" dt="2025-03-24T18:07:35.347" v="3807"/>
          <ac:spMkLst>
            <pc:docMk/>
            <pc:sldMk cId="2560334150" sldId="2147375908"/>
            <ac:spMk id="121" creationId="{39A47121-6771-4259-315B-4DCECBEBD239}"/>
          </ac:spMkLst>
        </pc:spChg>
        <pc:spChg chg="mod">
          <ac:chgData name="Lynn Fiedler" userId="bba223ed-859a-46ea-8cd7-ed9799ce30e6" providerId="ADAL" clId="{EA677E6C-C96F-4C8F-91AF-68D134B8CD2E}" dt="2025-03-24T18:07:35.332" v="3783"/>
          <ac:spMkLst>
            <pc:docMk/>
            <pc:sldMk cId="2560334150" sldId="2147375908"/>
            <ac:spMk id="122" creationId="{BB12492D-F6E6-6D78-0972-BB58539D11CE}"/>
          </ac:spMkLst>
        </pc:spChg>
        <pc:spChg chg="mod">
          <ac:chgData name="Lynn Fiedler" userId="bba223ed-859a-46ea-8cd7-ed9799ce30e6" providerId="ADAL" clId="{EA677E6C-C96F-4C8F-91AF-68D134B8CD2E}" dt="2025-03-24T18:07:35.353" v="3817"/>
          <ac:spMkLst>
            <pc:docMk/>
            <pc:sldMk cId="2560334150" sldId="2147375908"/>
            <ac:spMk id="123" creationId="{171F9F37-EB49-7700-F7E7-99ECB27D10E9}"/>
          </ac:spMkLst>
        </pc:spChg>
        <pc:spChg chg="mod">
          <ac:chgData name="Lynn Fiedler" userId="bba223ed-859a-46ea-8cd7-ed9799ce30e6" providerId="ADAL" clId="{EA677E6C-C96F-4C8F-91AF-68D134B8CD2E}" dt="2025-03-24T18:07:35.354" v="3819"/>
          <ac:spMkLst>
            <pc:docMk/>
            <pc:sldMk cId="2560334150" sldId="2147375908"/>
            <ac:spMk id="124" creationId="{2384F042-6B85-32FC-973C-285874A87021}"/>
          </ac:spMkLst>
        </pc:spChg>
        <pc:spChg chg="mod">
          <ac:chgData name="Lynn Fiedler" userId="bba223ed-859a-46ea-8cd7-ed9799ce30e6" providerId="ADAL" clId="{EA677E6C-C96F-4C8F-91AF-68D134B8CD2E}" dt="2025-03-24T18:07:35.355" v="3821"/>
          <ac:spMkLst>
            <pc:docMk/>
            <pc:sldMk cId="2560334150" sldId="2147375908"/>
            <ac:spMk id="125" creationId="{FDBBA928-A8EC-ECE1-6F9A-872E3D341080}"/>
          </ac:spMkLst>
        </pc:spChg>
        <pc:spChg chg="mod">
          <ac:chgData name="Lynn Fiedler" userId="bba223ed-859a-46ea-8cd7-ed9799ce30e6" providerId="ADAL" clId="{EA677E6C-C96F-4C8F-91AF-68D134B8CD2E}" dt="2025-03-24T18:07:35.234" v="3579"/>
          <ac:spMkLst>
            <pc:docMk/>
            <pc:sldMk cId="2560334150" sldId="2147375908"/>
            <ac:spMk id="126" creationId="{B105A30D-CD74-503A-E06C-8CE412D36072}"/>
          </ac:spMkLst>
        </pc:spChg>
        <pc:spChg chg="mod">
          <ac:chgData name="Lynn Fiedler" userId="bba223ed-859a-46ea-8cd7-ed9799ce30e6" providerId="ADAL" clId="{EA677E6C-C96F-4C8F-91AF-68D134B8CD2E}" dt="2025-03-24T18:07:35.235" v="3581"/>
          <ac:spMkLst>
            <pc:docMk/>
            <pc:sldMk cId="2560334150" sldId="2147375908"/>
            <ac:spMk id="127" creationId="{750E7EBA-CF96-AAFD-0412-9F9DA46A6F1B}"/>
          </ac:spMkLst>
        </pc:spChg>
        <pc:spChg chg="mod">
          <ac:chgData name="Lynn Fiedler" userId="bba223ed-859a-46ea-8cd7-ed9799ce30e6" providerId="ADAL" clId="{EA677E6C-C96F-4C8F-91AF-68D134B8CD2E}" dt="2025-03-24T18:07:35.358" v="3827"/>
          <ac:spMkLst>
            <pc:docMk/>
            <pc:sldMk cId="2560334150" sldId="2147375908"/>
            <ac:spMk id="128" creationId="{1AC11F67-3896-7D30-E366-ED75C0D270DB}"/>
          </ac:spMkLst>
        </pc:spChg>
        <pc:spChg chg="mod">
          <ac:chgData name="Lynn Fiedler" userId="bba223ed-859a-46ea-8cd7-ed9799ce30e6" providerId="ADAL" clId="{EA677E6C-C96F-4C8F-91AF-68D134B8CD2E}" dt="2025-03-24T18:07:35.359" v="3829"/>
          <ac:spMkLst>
            <pc:docMk/>
            <pc:sldMk cId="2560334150" sldId="2147375908"/>
            <ac:spMk id="129" creationId="{BF6B38BC-B6DC-2D6E-C16D-7B91AF43DE8F}"/>
          </ac:spMkLst>
        </pc:spChg>
        <pc:spChg chg="mod">
          <ac:chgData name="Lynn Fiedler" userId="bba223ed-859a-46ea-8cd7-ed9799ce30e6" providerId="ADAL" clId="{EA677E6C-C96F-4C8F-91AF-68D134B8CD2E}" dt="2025-03-24T18:07:35.360" v="3831"/>
          <ac:spMkLst>
            <pc:docMk/>
            <pc:sldMk cId="2560334150" sldId="2147375908"/>
            <ac:spMk id="130" creationId="{048411F3-75E4-A058-A406-EF5FDD137130}"/>
          </ac:spMkLst>
        </pc:spChg>
        <pc:spChg chg="mod">
          <ac:chgData name="Lynn Fiedler" userId="bba223ed-859a-46ea-8cd7-ed9799ce30e6" providerId="ADAL" clId="{EA677E6C-C96F-4C8F-91AF-68D134B8CD2E}" dt="2025-03-24T18:07:35.236" v="3583"/>
          <ac:spMkLst>
            <pc:docMk/>
            <pc:sldMk cId="2560334150" sldId="2147375908"/>
            <ac:spMk id="131" creationId="{B1C94EA7-E674-CEF9-4CAE-A1F38BBECE49}"/>
          </ac:spMkLst>
        </pc:spChg>
        <pc:spChg chg="mod">
          <ac:chgData name="Lynn Fiedler" userId="bba223ed-859a-46ea-8cd7-ed9799ce30e6" providerId="ADAL" clId="{EA677E6C-C96F-4C8F-91AF-68D134B8CD2E}" dt="2025-03-24T18:07:35.239" v="3589"/>
          <ac:spMkLst>
            <pc:docMk/>
            <pc:sldMk cId="2560334150" sldId="2147375908"/>
            <ac:spMk id="132" creationId="{0CE0B142-1DB1-38C6-094B-B62F56705DD1}"/>
          </ac:spMkLst>
        </pc:spChg>
        <pc:spChg chg="mod">
          <ac:chgData name="Lynn Fiedler" userId="bba223ed-859a-46ea-8cd7-ed9799ce30e6" providerId="ADAL" clId="{EA677E6C-C96F-4C8F-91AF-68D134B8CD2E}" dt="2025-03-24T18:07:35.302" v="3715"/>
          <ac:spMkLst>
            <pc:docMk/>
            <pc:sldMk cId="2560334150" sldId="2147375908"/>
            <ac:spMk id="133" creationId="{0420FB06-5158-05E6-12EB-36E65E2DBC33}"/>
          </ac:spMkLst>
        </pc:spChg>
        <pc:spChg chg="mod">
          <ac:chgData name="Lynn Fiedler" userId="bba223ed-859a-46ea-8cd7-ed9799ce30e6" providerId="ADAL" clId="{EA677E6C-C96F-4C8F-91AF-68D134B8CD2E}" dt="2025-03-24T18:07:35.367" v="3845"/>
          <ac:spMkLst>
            <pc:docMk/>
            <pc:sldMk cId="2560334150" sldId="2147375908"/>
            <ac:spMk id="134" creationId="{6BC96188-6B8B-4656-D86D-6C3A6BC8E7CF}"/>
          </ac:spMkLst>
        </pc:spChg>
        <pc:spChg chg="mod">
          <ac:chgData name="Lynn Fiedler" userId="bba223ed-859a-46ea-8cd7-ed9799ce30e6" providerId="ADAL" clId="{EA677E6C-C96F-4C8F-91AF-68D134B8CD2E}" dt="2025-03-24T18:07:35.368" v="3847"/>
          <ac:spMkLst>
            <pc:docMk/>
            <pc:sldMk cId="2560334150" sldId="2147375908"/>
            <ac:spMk id="135" creationId="{941874E9-B596-0CE5-3843-65679F1CB8C5}"/>
          </ac:spMkLst>
        </pc:spChg>
        <pc:spChg chg="mod">
          <ac:chgData name="Lynn Fiedler" userId="bba223ed-859a-46ea-8cd7-ed9799ce30e6" providerId="ADAL" clId="{EA677E6C-C96F-4C8F-91AF-68D134B8CD2E}" dt="2025-03-24T18:07:35.369" v="3849"/>
          <ac:spMkLst>
            <pc:docMk/>
            <pc:sldMk cId="2560334150" sldId="2147375908"/>
            <ac:spMk id="136" creationId="{49EFB313-2D6E-C858-9410-B1B65E82A685}"/>
          </ac:spMkLst>
        </pc:spChg>
        <pc:spChg chg="add mod">
          <ac:chgData name="Lynn Fiedler" userId="bba223ed-859a-46ea-8cd7-ed9799ce30e6" providerId="ADAL" clId="{EA677E6C-C96F-4C8F-91AF-68D134B8CD2E}" dt="2025-03-24T18:07:35.229" v="3569"/>
          <ac:spMkLst>
            <pc:docMk/>
            <pc:sldMk cId="2560334150" sldId="2147375908"/>
            <ac:spMk id="137" creationId="{DA5B9799-7641-3862-61C8-D523C011996E}"/>
          </ac:spMkLst>
        </pc:spChg>
        <pc:spChg chg="add mod">
          <ac:chgData name="Lynn Fiedler" userId="bba223ed-859a-46ea-8cd7-ed9799ce30e6" providerId="ADAL" clId="{EA677E6C-C96F-4C8F-91AF-68D134B8CD2E}" dt="2025-03-24T18:07:35.230" v="3571"/>
          <ac:spMkLst>
            <pc:docMk/>
            <pc:sldMk cId="2560334150" sldId="2147375908"/>
            <ac:spMk id="138" creationId="{6950112A-05EF-7A1A-E106-E7C792DD77D6}"/>
          </ac:spMkLst>
        </pc:spChg>
        <pc:spChg chg="mod">
          <ac:chgData name="Lynn Fiedler" userId="bba223ed-859a-46ea-8cd7-ed9799ce30e6" providerId="ADAL" clId="{EA677E6C-C96F-4C8F-91AF-68D134B8CD2E}" dt="2025-03-24T18:07:35.231" v="3573"/>
          <ac:spMkLst>
            <pc:docMk/>
            <pc:sldMk cId="2560334150" sldId="2147375908"/>
            <ac:spMk id="139" creationId="{FE582CAE-0AD1-9C23-6BD4-DC59BD17124D}"/>
          </ac:spMkLst>
        </pc:spChg>
        <pc:spChg chg="mod">
          <ac:chgData name="Lynn Fiedler" userId="bba223ed-859a-46ea-8cd7-ed9799ce30e6" providerId="ADAL" clId="{EA677E6C-C96F-4C8F-91AF-68D134B8CD2E}" dt="2025-03-24T18:07:35.301" v="3713"/>
          <ac:spMkLst>
            <pc:docMk/>
            <pc:sldMk cId="2560334150" sldId="2147375908"/>
            <ac:spMk id="140" creationId="{08AAB479-4DDC-9F81-CC3E-C56200EB9E92}"/>
          </ac:spMkLst>
        </pc:spChg>
        <pc:spChg chg="mod">
          <ac:chgData name="Lynn Fiedler" userId="bba223ed-859a-46ea-8cd7-ed9799ce30e6" providerId="ADAL" clId="{EA677E6C-C96F-4C8F-91AF-68D134B8CD2E}" dt="2025-03-24T18:07:35.300" v="3711"/>
          <ac:spMkLst>
            <pc:docMk/>
            <pc:sldMk cId="2560334150" sldId="2147375908"/>
            <ac:spMk id="141" creationId="{71180BB3-B33A-7FA9-A5F4-732A57ED961D}"/>
          </ac:spMkLst>
        </pc:spChg>
        <pc:spChg chg="add mod">
          <ac:chgData name="Lynn Fiedler" userId="bba223ed-859a-46ea-8cd7-ed9799ce30e6" providerId="ADAL" clId="{EA677E6C-C96F-4C8F-91AF-68D134B8CD2E}" dt="2025-03-24T18:07:35.239" v="3591"/>
          <ac:spMkLst>
            <pc:docMk/>
            <pc:sldMk cId="2560334150" sldId="2147375908"/>
            <ac:spMk id="142" creationId="{2908578F-C9FB-DDE2-9063-BA70EBBCD74F}"/>
          </ac:spMkLst>
        </pc:spChg>
        <pc:spChg chg="mod">
          <ac:chgData name="Lynn Fiedler" userId="bba223ed-859a-46ea-8cd7-ed9799ce30e6" providerId="ADAL" clId="{EA677E6C-C96F-4C8F-91AF-68D134B8CD2E}" dt="2025-03-24T18:07:35.297" v="3705"/>
          <ac:spMkLst>
            <pc:docMk/>
            <pc:sldMk cId="2560334150" sldId="2147375908"/>
            <ac:spMk id="143" creationId="{0BDF1F57-990B-C822-BC0A-4C0D669B358E}"/>
          </ac:spMkLst>
        </pc:spChg>
        <pc:spChg chg="mod">
          <ac:chgData name="Lynn Fiedler" userId="bba223ed-859a-46ea-8cd7-ed9799ce30e6" providerId="ADAL" clId="{EA677E6C-C96F-4C8F-91AF-68D134B8CD2E}" dt="2025-03-24T18:07:35.296" v="3703"/>
          <ac:spMkLst>
            <pc:docMk/>
            <pc:sldMk cId="2560334150" sldId="2147375908"/>
            <ac:spMk id="144" creationId="{08EECBFD-BCDF-E2FD-F445-F71049EB56D4}"/>
          </ac:spMkLst>
        </pc:spChg>
        <pc:spChg chg="mod">
          <ac:chgData name="Lynn Fiedler" userId="bba223ed-859a-46ea-8cd7-ed9799ce30e6" providerId="ADAL" clId="{EA677E6C-C96F-4C8F-91AF-68D134B8CD2E}" dt="2025-03-24T18:07:35.295" v="3701"/>
          <ac:spMkLst>
            <pc:docMk/>
            <pc:sldMk cId="2560334150" sldId="2147375908"/>
            <ac:spMk id="145" creationId="{9BFABFF4-D924-7183-5AEE-6CF410E5EE95}"/>
          </ac:spMkLst>
        </pc:spChg>
        <pc:spChg chg="mod">
          <ac:chgData name="Lynn Fiedler" userId="bba223ed-859a-46ea-8cd7-ed9799ce30e6" providerId="ADAL" clId="{EA677E6C-C96F-4C8F-91AF-68D134B8CD2E}" dt="2025-03-24T18:07:35.241" v="3593"/>
          <ac:spMkLst>
            <pc:docMk/>
            <pc:sldMk cId="2560334150" sldId="2147375908"/>
            <ac:spMk id="146" creationId="{5BB85686-9F7A-8AE8-5F35-ACF6625FC8F8}"/>
          </ac:spMkLst>
        </pc:spChg>
        <pc:spChg chg="mod">
          <ac:chgData name="Lynn Fiedler" userId="bba223ed-859a-46ea-8cd7-ed9799ce30e6" providerId="ADAL" clId="{EA677E6C-C96F-4C8F-91AF-68D134B8CD2E}" dt="2025-03-24T18:07:35.292" v="3695"/>
          <ac:spMkLst>
            <pc:docMk/>
            <pc:sldMk cId="2560334150" sldId="2147375908"/>
            <ac:spMk id="147" creationId="{242BE998-A58A-FDB1-0A86-34F9C75C5369}"/>
          </ac:spMkLst>
        </pc:spChg>
        <pc:spChg chg="mod">
          <ac:chgData name="Lynn Fiedler" userId="bba223ed-859a-46ea-8cd7-ed9799ce30e6" providerId="ADAL" clId="{EA677E6C-C96F-4C8F-91AF-68D134B8CD2E}" dt="2025-03-24T18:07:35.291" v="3693"/>
          <ac:spMkLst>
            <pc:docMk/>
            <pc:sldMk cId="2560334150" sldId="2147375908"/>
            <ac:spMk id="148" creationId="{C90B3165-80EE-FEE7-75F0-0B262E3EDD85}"/>
          </ac:spMkLst>
        </pc:spChg>
        <pc:spChg chg="mod">
          <ac:chgData name="Lynn Fiedler" userId="bba223ed-859a-46ea-8cd7-ed9799ce30e6" providerId="ADAL" clId="{EA677E6C-C96F-4C8F-91AF-68D134B8CD2E}" dt="2025-03-24T18:07:35.244" v="3599"/>
          <ac:spMkLst>
            <pc:docMk/>
            <pc:sldMk cId="2560334150" sldId="2147375908"/>
            <ac:spMk id="149" creationId="{17BF3339-3305-DE4C-3FF9-2E9DB01FBFEE}"/>
          </ac:spMkLst>
        </pc:spChg>
        <pc:spChg chg="mod">
          <ac:chgData name="Lynn Fiedler" userId="bba223ed-859a-46ea-8cd7-ed9799ce30e6" providerId="ADAL" clId="{EA677E6C-C96F-4C8F-91AF-68D134B8CD2E}" dt="2025-03-24T18:07:35.245" v="3601"/>
          <ac:spMkLst>
            <pc:docMk/>
            <pc:sldMk cId="2560334150" sldId="2147375908"/>
            <ac:spMk id="150" creationId="{9963AAB4-470F-6B80-32DB-3184047283D2}"/>
          </ac:spMkLst>
        </pc:spChg>
        <pc:spChg chg="mod">
          <ac:chgData name="Lynn Fiedler" userId="bba223ed-859a-46ea-8cd7-ed9799ce30e6" providerId="ADAL" clId="{EA677E6C-C96F-4C8F-91AF-68D134B8CD2E}" dt="2025-03-24T18:07:35.286" v="3685"/>
          <ac:spMkLst>
            <pc:docMk/>
            <pc:sldMk cId="2560334150" sldId="2147375908"/>
            <ac:spMk id="151" creationId="{D4BB0980-7D12-AAAD-CA44-6B7FCAE2AA7B}"/>
          </ac:spMkLst>
        </pc:spChg>
        <pc:spChg chg="mod">
          <ac:chgData name="Lynn Fiedler" userId="bba223ed-859a-46ea-8cd7-ed9799ce30e6" providerId="ADAL" clId="{EA677E6C-C96F-4C8F-91AF-68D134B8CD2E}" dt="2025-03-24T18:07:35.285" v="3683"/>
          <ac:spMkLst>
            <pc:docMk/>
            <pc:sldMk cId="2560334150" sldId="2147375908"/>
            <ac:spMk id="152" creationId="{71339583-FE6E-B498-102A-0E43C08D265E}"/>
          </ac:spMkLst>
        </pc:spChg>
        <pc:spChg chg="mod">
          <ac:chgData name="Lynn Fiedler" userId="bba223ed-859a-46ea-8cd7-ed9799ce30e6" providerId="ADAL" clId="{EA677E6C-C96F-4C8F-91AF-68D134B8CD2E}" dt="2025-03-24T18:07:35.284" v="3681"/>
          <ac:spMkLst>
            <pc:docMk/>
            <pc:sldMk cId="2560334150" sldId="2147375908"/>
            <ac:spMk id="153" creationId="{71EC3979-1015-FB98-1417-FA2D44C42F4C}"/>
          </ac:spMkLst>
        </pc:spChg>
        <pc:spChg chg="mod">
          <ac:chgData name="Lynn Fiedler" userId="bba223ed-859a-46ea-8cd7-ed9799ce30e6" providerId="ADAL" clId="{EA677E6C-C96F-4C8F-91AF-68D134B8CD2E}" dt="2025-03-24T18:07:35.246" v="3603"/>
          <ac:spMkLst>
            <pc:docMk/>
            <pc:sldMk cId="2560334150" sldId="2147375908"/>
            <ac:spMk id="154" creationId="{211333DA-41B5-DA76-4241-7CCCEB9B495C}"/>
          </ac:spMkLst>
        </pc:spChg>
        <pc:spChg chg="mod">
          <ac:chgData name="Lynn Fiedler" userId="bba223ed-859a-46ea-8cd7-ed9799ce30e6" providerId="ADAL" clId="{EA677E6C-C96F-4C8F-91AF-68D134B8CD2E}" dt="2025-03-24T18:07:35.251" v="3613"/>
          <ac:spMkLst>
            <pc:docMk/>
            <pc:sldMk cId="2560334150" sldId="2147375908"/>
            <ac:spMk id="155" creationId="{EEB51477-1F33-E6CA-22A3-2C523D9A57F0}"/>
          </ac:spMkLst>
        </pc:spChg>
        <pc:spChg chg="mod">
          <ac:chgData name="Lynn Fiedler" userId="bba223ed-859a-46ea-8cd7-ed9799ce30e6" providerId="ADAL" clId="{EA677E6C-C96F-4C8F-91AF-68D134B8CD2E}" dt="2025-03-24T18:07:35.279" v="3671"/>
          <ac:spMkLst>
            <pc:docMk/>
            <pc:sldMk cId="2560334150" sldId="2147375908"/>
            <ac:spMk id="156" creationId="{510FE05F-9B42-AF46-3602-95616F9D69BE}"/>
          </ac:spMkLst>
        </pc:spChg>
        <pc:spChg chg="mod">
          <ac:chgData name="Lynn Fiedler" userId="bba223ed-859a-46ea-8cd7-ed9799ce30e6" providerId="ADAL" clId="{EA677E6C-C96F-4C8F-91AF-68D134B8CD2E}" dt="2025-03-24T18:07:35.278" v="3669"/>
          <ac:spMkLst>
            <pc:docMk/>
            <pc:sldMk cId="2560334150" sldId="2147375908"/>
            <ac:spMk id="157" creationId="{77335E12-8E83-DB7D-E33A-A7B8853BDA81}"/>
          </ac:spMkLst>
        </pc:spChg>
        <pc:spChg chg="mod">
          <ac:chgData name="Lynn Fiedler" userId="bba223ed-859a-46ea-8cd7-ed9799ce30e6" providerId="ADAL" clId="{EA677E6C-C96F-4C8F-91AF-68D134B8CD2E}" dt="2025-03-24T18:07:35.277" v="3667"/>
          <ac:spMkLst>
            <pc:docMk/>
            <pc:sldMk cId="2560334150" sldId="2147375908"/>
            <ac:spMk id="158" creationId="{52A29D6E-EE1D-D0DC-D9CC-8F0DD473D86F}"/>
          </ac:spMkLst>
        </pc:spChg>
        <pc:spChg chg="mod">
          <ac:chgData name="Lynn Fiedler" userId="bba223ed-859a-46ea-8cd7-ed9799ce30e6" providerId="ADAL" clId="{EA677E6C-C96F-4C8F-91AF-68D134B8CD2E}" dt="2025-03-24T18:07:35.252" v="3615"/>
          <ac:spMkLst>
            <pc:docMk/>
            <pc:sldMk cId="2560334150" sldId="2147375908"/>
            <ac:spMk id="159" creationId="{A04BA2E3-9CA7-3CD1-AEB3-D2A8B946452D}"/>
          </ac:spMkLst>
        </pc:spChg>
        <pc:spChg chg="add mod">
          <ac:chgData name="Lynn Fiedler" userId="bba223ed-859a-46ea-8cd7-ed9799ce30e6" providerId="ADAL" clId="{EA677E6C-C96F-4C8F-91AF-68D134B8CD2E}" dt="2025-03-24T18:07:35.274" v="3661"/>
          <ac:spMkLst>
            <pc:docMk/>
            <pc:sldMk cId="2560334150" sldId="2147375908"/>
            <ac:spMk id="160" creationId="{7B4C37F3-5C0D-6864-0BF7-64C0B4C516A8}"/>
          </ac:spMkLst>
        </pc:spChg>
        <pc:spChg chg="add mod">
          <ac:chgData name="Lynn Fiedler" userId="bba223ed-859a-46ea-8cd7-ed9799ce30e6" providerId="ADAL" clId="{EA677E6C-C96F-4C8F-91AF-68D134B8CD2E}" dt="2025-03-24T18:07:35.289" v="3691"/>
          <ac:spMkLst>
            <pc:docMk/>
            <pc:sldMk cId="2560334150" sldId="2147375908"/>
            <ac:spMk id="161" creationId="{EB9CBEE2-FA32-C7CE-7C03-030E474423A2}"/>
          </ac:spMkLst>
        </pc:spChg>
        <pc:spChg chg="mod">
          <ac:chgData name="Lynn Fiedler" userId="bba223ed-859a-46ea-8cd7-ed9799ce30e6" providerId="ADAL" clId="{EA677E6C-C96F-4C8F-91AF-68D134B8CD2E}" dt="2025-03-24T18:07:35.272" v="3657"/>
          <ac:spMkLst>
            <pc:docMk/>
            <pc:sldMk cId="2560334150" sldId="2147375908"/>
            <ac:spMk id="162" creationId="{B1ACD0AB-F4F8-42E0-4757-CB101F5DDAEA}"/>
          </ac:spMkLst>
        </pc:spChg>
        <pc:spChg chg="mod">
          <ac:chgData name="Lynn Fiedler" userId="bba223ed-859a-46ea-8cd7-ed9799ce30e6" providerId="ADAL" clId="{EA677E6C-C96F-4C8F-91AF-68D134B8CD2E}" dt="2025-03-24T18:07:35.253" v="3617"/>
          <ac:spMkLst>
            <pc:docMk/>
            <pc:sldMk cId="2560334150" sldId="2147375908"/>
            <ac:spMk id="163" creationId="{8FC86CB9-BBCC-2727-83F1-670A3FBFB2B4}"/>
          </ac:spMkLst>
        </pc:spChg>
        <pc:spChg chg="mod">
          <ac:chgData name="Lynn Fiedler" userId="bba223ed-859a-46ea-8cd7-ed9799ce30e6" providerId="ADAL" clId="{EA677E6C-C96F-4C8F-91AF-68D134B8CD2E}" dt="2025-03-24T18:07:35.269" v="3651"/>
          <ac:spMkLst>
            <pc:docMk/>
            <pc:sldMk cId="2560334150" sldId="2147375908"/>
            <ac:spMk id="164" creationId="{F3D10722-7505-DFD9-844A-99B9833A8340}"/>
          </ac:spMkLst>
        </pc:spChg>
        <pc:spChg chg="mod">
          <ac:chgData name="Lynn Fiedler" userId="bba223ed-859a-46ea-8cd7-ed9799ce30e6" providerId="ADAL" clId="{EA677E6C-C96F-4C8F-91AF-68D134B8CD2E}" dt="2025-03-24T18:07:35.268" v="3649"/>
          <ac:spMkLst>
            <pc:docMk/>
            <pc:sldMk cId="2560334150" sldId="2147375908"/>
            <ac:spMk id="165" creationId="{86B7E080-06D6-4F22-5B15-B26F74E35458}"/>
          </ac:spMkLst>
        </pc:spChg>
        <pc:spChg chg="mod">
          <ac:chgData name="Lynn Fiedler" userId="bba223ed-859a-46ea-8cd7-ed9799ce30e6" providerId="ADAL" clId="{EA677E6C-C96F-4C8F-91AF-68D134B8CD2E}" dt="2025-03-24T18:07:35.267" v="3647"/>
          <ac:spMkLst>
            <pc:docMk/>
            <pc:sldMk cId="2560334150" sldId="2147375908"/>
            <ac:spMk id="166" creationId="{2F8B7C35-4D58-724E-1A83-EA15E83C2F3C}"/>
          </ac:spMkLst>
        </pc:spChg>
        <pc:spChg chg="mod">
          <ac:chgData name="Lynn Fiedler" userId="bba223ed-859a-46ea-8cd7-ed9799ce30e6" providerId="ADAL" clId="{EA677E6C-C96F-4C8F-91AF-68D134B8CD2E}" dt="2025-03-24T18:07:35.256" v="3623"/>
          <ac:spMkLst>
            <pc:docMk/>
            <pc:sldMk cId="2560334150" sldId="2147375908"/>
            <ac:spMk id="167" creationId="{2A0F1213-EFEC-4F4C-3B29-5B0D988D5E96}"/>
          </ac:spMkLst>
        </pc:spChg>
        <pc:spChg chg="mod">
          <ac:chgData name="Lynn Fiedler" userId="bba223ed-859a-46ea-8cd7-ed9799ce30e6" providerId="ADAL" clId="{EA677E6C-C96F-4C8F-91AF-68D134B8CD2E}" dt="2025-03-24T18:07:35.264" v="3641"/>
          <ac:spMkLst>
            <pc:docMk/>
            <pc:sldMk cId="2560334150" sldId="2147375908"/>
            <ac:spMk id="168" creationId="{E88C0D5F-A5E6-F3BE-7A48-5FD1AB3AEC21}"/>
          </ac:spMkLst>
        </pc:spChg>
        <pc:spChg chg="mod">
          <ac:chgData name="Lynn Fiedler" userId="bba223ed-859a-46ea-8cd7-ed9799ce30e6" providerId="ADAL" clId="{EA677E6C-C96F-4C8F-91AF-68D134B8CD2E}" dt="2025-03-24T18:07:35.373" v="3859"/>
          <ac:spMkLst>
            <pc:docMk/>
            <pc:sldMk cId="2560334150" sldId="2147375908"/>
            <ac:spMk id="169" creationId="{1F7A5CDA-E64A-E85B-47E5-5E00FA8D4DF0}"/>
          </ac:spMkLst>
        </pc:spChg>
        <pc:spChg chg="mod">
          <ac:chgData name="Lynn Fiedler" userId="bba223ed-859a-46ea-8cd7-ed9799ce30e6" providerId="ADAL" clId="{EA677E6C-C96F-4C8F-91AF-68D134B8CD2E}" dt="2025-03-24T18:07:35.374" v="3861"/>
          <ac:spMkLst>
            <pc:docMk/>
            <pc:sldMk cId="2560334150" sldId="2147375908"/>
            <ac:spMk id="170" creationId="{9D857E6A-865E-A70D-3E76-AFEBF53F3D88}"/>
          </ac:spMkLst>
        </pc:spChg>
        <pc:spChg chg="add mod">
          <ac:chgData name="Lynn Fiedler" userId="bba223ed-859a-46ea-8cd7-ed9799ce30e6" providerId="ADAL" clId="{EA677E6C-C96F-4C8F-91AF-68D134B8CD2E}" dt="2025-03-24T18:07:35.374" v="3863"/>
          <ac:spMkLst>
            <pc:docMk/>
            <pc:sldMk cId="2560334150" sldId="2147375908"/>
            <ac:spMk id="171" creationId="{BC526351-A3E6-CB4F-9B8E-B6584AC8AE86}"/>
          </ac:spMkLst>
        </pc:spChg>
        <pc:spChg chg="mod">
          <ac:chgData name="Lynn Fiedler" userId="bba223ed-859a-46ea-8cd7-ed9799ce30e6" providerId="ADAL" clId="{EA677E6C-C96F-4C8F-91AF-68D134B8CD2E}" dt="2025-03-24T18:07:35.263" v="3639"/>
          <ac:spMkLst>
            <pc:docMk/>
            <pc:sldMk cId="2560334150" sldId="2147375908"/>
            <ac:spMk id="172" creationId="{936D65B9-B63D-2A51-4F21-3C5A2DDEA491}"/>
          </ac:spMkLst>
        </pc:spChg>
        <pc:spChg chg="mod">
          <ac:chgData name="Lynn Fiedler" userId="bba223ed-859a-46ea-8cd7-ed9799ce30e6" providerId="ADAL" clId="{EA677E6C-C96F-4C8F-91AF-68D134B8CD2E}" dt="2025-03-24T18:07:35.273" v="3659"/>
          <ac:spMkLst>
            <pc:docMk/>
            <pc:sldMk cId="2560334150" sldId="2147375908"/>
            <ac:spMk id="173" creationId="{09A6D4A6-59C5-135C-E0B5-A71ABD9EEE52}"/>
          </ac:spMkLst>
        </pc:spChg>
        <pc:spChg chg="add del mod modVis">
          <ac:chgData name="Lynn Fiedler" userId="bba223ed-859a-46ea-8cd7-ed9799ce30e6" providerId="ADAL" clId="{EA677E6C-C96F-4C8F-91AF-68D134B8CD2E}" dt="2025-03-24T18:07:01.446" v="467"/>
          <ac:spMkLst>
            <pc:docMk/>
            <pc:sldMk cId="2560334150" sldId="2147375908"/>
            <ac:spMk id="174" creationId="{711057D0-F80C-73CD-9685-76C72059394D}"/>
          </ac:spMkLst>
        </pc:spChg>
        <pc:spChg chg="add mod">
          <ac:chgData name="Lynn Fiedler" userId="bba223ed-859a-46ea-8cd7-ed9799ce30e6" providerId="ADAL" clId="{EA677E6C-C96F-4C8F-91AF-68D134B8CD2E}" dt="2025-03-24T18:07:35.139" v="3486" actId="948"/>
          <ac:spMkLst>
            <pc:docMk/>
            <pc:sldMk cId="2560334150" sldId="2147375908"/>
            <ac:spMk id="175" creationId="{527FA4EC-2C1F-ADBE-4E76-DE84C3A8D61F}"/>
          </ac:spMkLst>
        </pc:spChg>
        <pc:spChg chg="add mod">
          <ac:chgData name="Lynn Fiedler" userId="bba223ed-859a-46ea-8cd7-ed9799ce30e6" providerId="ADAL" clId="{EA677E6C-C96F-4C8F-91AF-68D134B8CD2E}" dt="2025-03-24T18:07:35.140" v="3487" actId="948"/>
          <ac:spMkLst>
            <pc:docMk/>
            <pc:sldMk cId="2560334150" sldId="2147375908"/>
            <ac:spMk id="176" creationId="{5FD1273E-D495-9ECC-BF86-BA5F875DC484}"/>
          </ac:spMkLst>
        </pc:spChg>
        <pc:spChg chg="add mod">
          <ac:chgData name="Lynn Fiedler" userId="bba223ed-859a-46ea-8cd7-ed9799ce30e6" providerId="ADAL" clId="{EA677E6C-C96F-4C8F-91AF-68D134B8CD2E}" dt="2025-03-24T18:07:35.141" v="3488" actId="948"/>
          <ac:spMkLst>
            <pc:docMk/>
            <pc:sldMk cId="2560334150" sldId="2147375908"/>
            <ac:spMk id="177" creationId="{F0B854BD-2DAA-FBB8-8415-F88C2A0664E1}"/>
          </ac:spMkLst>
        </pc:spChg>
        <pc:spChg chg="add mod">
          <ac:chgData name="Lynn Fiedler" userId="bba223ed-859a-46ea-8cd7-ed9799ce30e6" providerId="ADAL" clId="{EA677E6C-C96F-4C8F-91AF-68D134B8CD2E}" dt="2025-03-24T18:07:35.142" v="3489"/>
          <ac:spMkLst>
            <pc:docMk/>
            <pc:sldMk cId="2560334150" sldId="2147375908"/>
            <ac:spMk id="178" creationId="{8B4BF012-DA07-E1C0-1365-DA3D851570BE}"/>
          </ac:spMkLst>
        </pc:spChg>
        <pc:spChg chg="add del mod modVis">
          <ac:chgData name="Lynn Fiedler" userId="bba223ed-859a-46ea-8cd7-ed9799ce30e6" providerId="ADAL" clId="{EA677E6C-C96F-4C8F-91AF-68D134B8CD2E}" dt="2025-03-24T18:07:19.421" v="2231"/>
          <ac:spMkLst>
            <pc:docMk/>
            <pc:sldMk cId="2560334150" sldId="2147375908"/>
            <ac:spMk id="179" creationId="{8980FCA0-9A49-E050-7B71-633A6FC36200}"/>
          </ac:spMkLst>
        </pc:spChg>
        <pc:spChg chg="add mod">
          <ac:chgData name="Lynn Fiedler" userId="bba223ed-859a-46ea-8cd7-ed9799ce30e6" providerId="ADAL" clId="{EA677E6C-C96F-4C8F-91AF-68D134B8CD2E}" dt="2025-03-24T18:07:48.830" v="4102"/>
          <ac:spMkLst>
            <pc:docMk/>
            <pc:sldMk cId="2560334150" sldId="2147375908"/>
            <ac:spMk id="180" creationId="{B1801761-2619-712F-3217-531AFD668651}"/>
          </ac:spMkLst>
        </pc:spChg>
        <pc:graphicFrameChg chg="mod">
          <ac:chgData name="Lynn Fiedler" userId="bba223ed-859a-46ea-8cd7-ed9799ce30e6" providerId="ADAL" clId="{EA677E6C-C96F-4C8F-91AF-68D134B8CD2E}" dt="2025-03-24T18:07:35.555" v="4101"/>
          <ac:graphicFrameMkLst>
            <pc:docMk/>
            <pc:sldMk cId="2560334150" sldId="2147375908"/>
            <ac:graphicFrameMk id="6" creationId="{8678A4DA-96A3-972A-D975-24292E111E66}"/>
          </ac:graphicFrameMkLst>
        </pc:graphicFrameChg>
        <pc:cxnChg chg="mod">
          <ac:chgData name="Lynn Fiedler" userId="bba223ed-859a-46ea-8cd7-ed9799ce30e6" providerId="ADAL" clId="{EA677E6C-C96F-4C8F-91AF-68D134B8CD2E}" dt="2025-03-24T18:07:35.465" v="3991"/>
          <ac:cxnSpMkLst>
            <pc:docMk/>
            <pc:sldMk cId="2560334150" sldId="2147375908"/>
            <ac:cxnSpMk id="33" creationId="{A2E02243-190A-7742-CE47-D2F5336CD73A}"/>
          </ac:cxnSpMkLst>
        </pc:cxnChg>
        <pc:cxnChg chg="mod">
          <ac:chgData name="Lynn Fiedler" userId="bba223ed-859a-46ea-8cd7-ed9799ce30e6" providerId="ADAL" clId="{EA677E6C-C96F-4C8F-91AF-68D134B8CD2E}" dt="2025-03-24T18:07:35.548" v="4091"/>
          <ac:cxnSpMkLst>
            <pc:docMk/>
            <pc:sldMk cId="2560334150" sldId="2147375908"/>
            <ac:cxnSpMk id="34" creationId="{216FB9CE-BB0A-6971-6616-8BAA71C702A9}"/>
          </ac:cxnSpMkLst>
        </pc:cxnChg>
        <pc:cxnChg chg="mod">
          <ac:chgData name="Lynn Fiedler" userId="bba223ed-859a-46ea-8cd7-ed9799ce30e6" providerId="ADAL" clId="{EA677E6C-C96F-4C8F-91AF-68D134B8CD2E}" dt="2025-03-24T18:07:35.546" v="4087"/>
          <ac:cxnSpMkLst>
            <pc:docMk/>
            <pc:sldMk cId="2560334150" sldId="2147375908"/>
            <ac:cxnSpMk id="35" creationId="{9440C823-A86C-FC7C-61DF-2CFBED71E033}"/>
          </ac:cxnSpMkLst>
        </pc:cxnChg>
        <pc:cxnChg chg="mod">
          <ac:chgData name="Lynn Fiedler" userId="bba223ed-859a-46ea-8cd7-ed9799ce30e6" providerId="ADAL" clId="{EA677E6C-C96F-4C8F-91AF-68D134B8CD2E}" dt="2025-03-24T18:07:35.543" v="4083"/>
          <ac:cxnSpMkLst>
            <pc:docMk/>
            <pc:sldMk cId="2560334150" sldId="2147375908"/>
            <ac:cxnSpMk id="36" creationId="{40823C1C-4B76-8855-24CE-D5FF05C9B0FB}"/>
          </ac:cxnSpMkLst>
        </pc:cxnChg>
        <pc:cxnChg chg="mod">
          <ac:chgData name="Lynn Fiedler" userId="bba223ed-859a-46ea-8cd7-ed9799ce30e6" providerId="ADAL" clId="{EA677E6C-C96F-4C8F-91AF-68D134B8CD2E}" dt="2025-03-24T18:07:35.540" v="4079"/>
          <ac:cxnSpMkLst>
            <pc:docMk/>
            <pc:sldMk cId="2560334150" sldId="2147375908"/>
            <ac:cxnSpMk id="37" creationId="{2DF4A410-5199-33AC-5617-860130FD98E0}"/>
          </ac:cxnSpMkLst>
        </pc:cxnChg>
        <pc:cxnChg chg="mod">
          <ac:chgData name="Lynn Fiedler" userId="bba223ed-859a-46ea-8cd7-ed9799ce30e6" providerId="ADAL" clId="{EA677E6C-C96F-4C8F-91AF-68D134B8CD2E}" dt="2025-03-24T18:07:35.471" v="3999"/>
          <ac:cxnSpMkLst>
            <pc:docMk/>
            <pc:sldMk cId="2560334150" sldId="2147375908"/>
            <ac:cxnSpMk id="38" creationId="{F7627D8D-28AB-B4B0-2A31-77A7BCE20F95}"/>
          </ac:cxnSpMkLst>
        </pc:cxnChg>
        <pc:cxnChg chg="mod">
          <ac:chgData name="Lynn Fiedler" userId="bba223ed-859a-46ea-8cd7-ed9799ce30e6" providerId="ADAL" clId="{EA677E6C-C96F-4C8F-91AF-68D134B8CD2E}" dt="2025-03-24T18:07:35.473" v="4003"/>
          <ac:cxnSpMkLst>
            <pc:docMk/>
            <pc:sldMk cId="2560334150" sldId="2147375908"/>
            <ac:cxnSpMk id="39" creationId="{4BCDBECB-2E1C-EC67-DAB5-933E5C24F138}"/>
          </ac:cxnSpMkLst>
        </pc:cxnChg>
        <pc:cxnChg chg="mod">
          <ac:chgData name="Lynn Fiedler" userId="bba223ed-859a-46ea-8cd7-ed9799ce30e6" providerId="ADAL" clId="{EA677E6C-C96F-4C8F-91AF-68D134B8CD2E}" dt="2025-03-24T18:07:35.468" v="3995"/>
          <ac:cxnSpMkLst>
            <pc:docMk/>
            <pc:sldMk cId="2560334150" sldId="2147375908"/>
            <ac:cxnSpMk id="40" creationId="{2915A38D-B0C9-EF8F-1E85-8B5C393DC23A}"/>
          </ac:cxnSpMkLst>
        </pc:cxnChg>
        <pc:cxnChg chg="mod">
          <ac:chgData name="Lynn Fiedler" userId="bba223ed-859a-46ea-8cd7-ed9799ce30e6" providerId="ADAL" clId="{EA677E6C-C96F-4C8F-91AF-68D134B8CD2E}" dt="2025-03-24T18:07:35.514" v="4051"/>
          <ac:cxnSpMkLst>
            <pc:docMk/>
            <pc:sldMk cId="2560334150" sldId="2147375908"/>
            <ac:cxnSpMk id="41" creationId="{E950E73B-8051-7D98-3A57-D27D8E7D877F}"/>
          </ac:cxnSpMkLst>
        </pc:cxnChg>
        <pc:cxnChg chg="mod">
          <ac:chgData name="Lynn Fiedler" userId="bba223ed-859a-46ea-8cd7-ed9799ce30e6" providerId="ADAL" clId="{EA677E6C-C96F-4C8F-91AF-68D134B8CD2E}" dt="2025-03-24T18:07:35.510" v="4047"/>
          <ac:cxnSpMkLst>
            <pc:docMk/>
            <pc:sldMk cId="2560334150" sldId="2147375908"/>
            <ac:cxnSpMk id="42" creationId="{2F7B8AE9-FD20-622D-343C-A65B6579C390}"/>
          </ac:cxnSpMkLst>
        </pc:cxnChg>
        <pc:cxnChg chg="mod">
          <ac:chgData name="Lynn Fiedler" userId="bba223ed-859a-46ea-8cd7-ed9799ce30e6" providerId="ADAL" clId="{EA677E6C-C96F-4C8F-91AF-68D134B8CD2E}" dt="2025-03-24T18:07:35.507" v="4043"/>
          <ac:cxnSpMkLst>
            <pc:docMk/>
            <pc:sldMk cId="2560334150" sldId="2147375908"/>
            <ac:cxnSpMk id="43" creationId="{D0916CFF-2CBC-2C53-103E-81683DB30F5D}"/>
          </ac:cxnSpMkLst>
        </pc:cxnChg>
        <pc:cxnChg chg="mod">
          <ac:chgData name="Lynn Fiedler" userId="bba223ed-859a-46ea-8cd7-ed9799ce30e6" providerId="ADAL" clId="{EA677E6C-C96F-4C8F-91AF-68D134B8CD2E}" dt="2025-03-24T18:07:35.500" v="4035"/>
          <ac:cxnSpMkLst>
            <pc:docMk/>
            <pc:sldMk cId="2560334150" sldId="2147375908"/>
            <ac:cxnSpMk id="44" creationId="{641A5BB7-BE6E-D715-867D-CDA87C851EF4}"/>
          </ac:cxnSpMkLst>
        </pc:cxnChg>
        <pc:cxnChg chg="mod">
          <ac:chgData name="Lynn Fiedler" userId="bba223ed-859a-46ea-8cd7-ed9799ce30e6" providerId="ADAL" clId="{EA677E6C-C96F-4C8F-91AF-68D134B8CD2E}" dt="2025-03-24T18:07:35.496" v="4031"/>
          <ac:cxnSpMkLst>
            <pc:docMk/>
            <pc:sldMk cId="2560334150" sldId="2147375908"/>
            <ac:cxnSpMk id="45" creationId="{592207EF-046F-2C8C-FB46-B8971005497E}"/>
          </ac:cxnSpMkLst>
        </pc:cxnChg>
        <pc:cxnChg chg="mod">
          <ac:chgData name="Lynn Fiedler" userId="bba223ed-859a-46ea-8cd7-ed9799ce30e6" providerId="ADAL" clId="{EA677E6C-C96F-4C8F-91AF-68D134B8CD2E}" dt="2025-03-24T18:07:35.486" v="4019"/>
          <ac:cxnSpMkLst>
            <pc:docMk/>
            <pc:sldMk cId="2560334150" sldId="2147375908"/>
            <ac:cxnSpMk id="46" creationId="{87A7F373-DC1E-A18E-C2B5-8CDBBE368DA3}"/>
          </ac:cxnSpMkLst>
        </pc:cxnChg>
        <pc:cxnChg chg="mod">
          <ac:chgData name="Lynn Fiedler" userId="bba223ed-859a-46ea-8cd7-ed9799ce30e6" providerId="ADAL" clId="{EA677E6C-C96F-4C8F-91AF-68D134B8CD2E}" dt="2025-03-24T18:07:35.483" v="4015"/>
          <ac:cxnSpMkLst>
            <pc:docMk/>
            <pc:sldMk cId="2560334150" sldId="2147375908"/>
            <ac:cxnSpMk id="47" creationId="{DC1F0783-A7FB-1791-5C94-212ADF8442C6}"/>
          </ac:cxnSpMkLst>
        </pc:cxnChg>
        <pc:cxnChg chg="mod">
          <ac:chgData name="Lynn Fiedler" userId="bba223ed-859a-46ea-8cd7-ed9799ce30e6" providerId="ADAL" clId="{EA677E6C-C96F-4C8F-91AF-68D134B8CD2E}" dt="2025-03-24T18:07:35.503" v="4039"/>
          <ac:cxnSpMkLst>
            <pc:docMk/>
            <pc:sldMk cId="2560334150" sldId="2147375908"/>
            <ac:cxnSpMk id="48" creationId="{58F47F40-6E7B-58E9-EC3C-F9E341D5E24D}"/>
          </ac:cxnSpMkLst>
        </pc:cxnChg>
        <pc:cxnChg chg="mod">
          <ac:chgData name="Lynn Fiedler" userId="bba223ed-859a-46ea-8cd7-ed9799ce30e6" providerId="ADAL" clId="{EA677E6C-C96F-4C8F-91AF-68D134B8CD2E}" dt="2025-03-24T18:07:35.518" v="4055"/>
          <ac:cxnSpMkLst>
            <pc:docMk/>
            <pc:sldMk cId="2560334150" sldId="2147375908"/>
            <ac:cxnSpMk id="49" creationId="{E6F0DB4A-19BA-2B72-4282-5B3D9CB42D86}"/>
          </ac:cxnSpMkLst>
        </pc:cxnChg>
        <pc:cxnChg chg="mod">
          <ac:chgData name="Lynn Fiedler" userId="bba223ed-859a-46ea-8cd7-ed9799ce30e6" providerId="ADAL" clId="{EA677E6C-C96F-4C8F-91AF-68D134B8CD2E}" dt="2025-03-24T18:07:35.480" v="4011"/>
          <ac:cxnSpMkLst>
            <pc:docMk/>
            <pc:sldMk cId="2560334150" sldId="2147375908"/>
            <ac:cxnSpMk id="50" creationId="{9A4FA8FA-47C3-C159-8B59-FC6DDB297C15}"/>
          </ac:cxnSpMkLst>
        </pc:cxnChg>
        <pc:cxnChg chg="mod">
          <ac:chgData name="Lynn Fiedler" userId="bba223ed-859a-46ea-8cd7-ed9799ce30e6" providerId="ADAL" clId="{EA677E6C-C96F-4C8F-91AF-68D134B8CD2E}" dt="2025-03-24T18:07:35.476" v="4007"/>
          <ac:cxnSpMkLst>
            <pc:docMk/>
            <pc:sldMk cId="2560334150" sldId="2147375908"/>
            <ac:cxnSpMk id="51" creationId="{29BB5C78-6C86-4453-C9A0-8138D5BCBA95}"/>
          </ac:cxnSpMkLst>
        </pc:cxnChg>
        <pc:cxnChg chg="mod">
          <ac:chgData name="Lynn Fiedler" userId="bba223ed-859a-46ea-8cd7-ed9799ce30e6" providerId="ADAL" clId="{EA677E6C-C96F-4C8F-91AF-68D134B8CD2E}" dt="2025-03-24T18:07:35.489" v="4023"/>
          <ac:cxnSpMkLst>
            <pc:docMk/>
            <pc:sldMk cId="2560334150" sldId="2147375908"/>
            <ac:cxnSpMk id="52" creationId="{889E165B-C5F8-1FCE-1841-343694AB3FF1}"/>
          </ac:cxnSpMkLst>
        </pc:cxnChg>
        <pc:cxnChg chg="mod">
          <ac:chgData name="Lynn Fiedler" userId="bba223ed-859a-46ea-8cd7-ed9799ce30e6" providerId="ADAL" clId="{EA677E6C-C96F-4C8F-91AF-68D134B8CD2E}" dt="2025-03-24T18:07:35.492" v="4027"/>
          <ac:cxnSpMkLst>
            <pc:docMk/>
            <pc:sldMk cId="2560334150" sldId="2147375908"/>
            <ac:cxnSpMk id="53" creationId="{102D2B8D-EE67-218E-97A2-433CD561E8E4}"/>
          </ac:cxnSpMkLst>
        </pc:cxnChg>
        <pc:cxnChg chg="mod">
          <ac:chgData name="Lynn Fiedler" userId="bba223ed-859a-46ea-8cd7-ed9799ce30e6" providerId="ADAL" clId="{EA677E6C-C96F-4C8F-91AF-68D134B8CD2E}" dt="2025-03-24T18:07:35.537" v="4075"/>
          <ac:cxnSpMkLst>
            <pc:docMk/>
            <pc:sldMk cId="2560334150" sldId="2147375908"/>
            <ac:cxnSpMk id="54" creationId="{009BB38B-F238-5AE6-B214-D45BD647FD52}"/>
          </ac:cxnSpMkLst>
        </pc:cxnChg>
        <pc:cxnChg chg="mod">
          <ac:chgData name="Lynn Fiedler" userId="bba223ed-859a-46ea-8cd7-ed9799ce30e6" providerId="ADAL" clId="{EA677E6C-C96F-4C8F-91AF-68D134B8CD2E}" dt="2025-03-24T18:07:35.534" v="4071"/>
          <ac:cxnSpMkLst>
            <pc:docMk/>
            <pc:sldMk cId="2560334150" sldId="2147375908"/>
            <ac:cxnSpMk id="55" creationId="{88050274-C88E-DF84-3EDB-40A958C234F8}"/>
          </ac:cxnSpMkLst>
        </pc:cxnChg>
        <pc:cxnChg chg="mod">
          <ac:chgData name="Lynn Fiedler" userId="bba223ed-859a-46ea-8cd7-ed9799ce30e6" providerId="ADAL" clId="{EA677E6C-C96F-4C8F-91AF-68D134B8CD2E}" dt="2025-03-24T18:07:35.530" v="4067"/>
          <ac:cxnSpMkLst>
            <pc:docMk/>
            <pc:sldMk cId="2560334150" sldId="2147375908"/>
            <ac:cxnSpMk id="56" creationId="{4CD6123F-D2A6-204A-3B3B-319861E08307}"/>
          </ac:cxnSpMkLst>
        </pc:cxnChg>
        <pc:cxnChg chg="mod">
          <ac:chgData name="Lynn Fiedler" userId="bba223ed-859a-46ea-8cd7-ed9799ce30e6" providerId="ADAL" clId="{EA677E6C-C96F-4C8F-91AF-68D134B8CD2E}" dt="2025-03-24T18:07:35.525" v="4063"/>
          <ac:cxnSpMkLst>
            <pc:docMk/>
            <pc:sldMk cId="2560334150" sldId="2147375908"/>
            <ac:cxnSpMk id="57" creationId="{5F92228B-618D-24D6-790E-7F62E41D695A}"/>
          </ac:cxnSpMkLst>
        </pc:cxnChg>
        <pc:cxnChg chg="mod">
          <ac:chgData name="Lynn Fiedler" userId="bba223ed-859a-46ea-8cd7-ed9799ce30e6" providerId="ADAL" clId="{EA677E6C-C96F-4C8F-91AF-68D134B8CD2E}" dt="2025-03-24T18:07:35.522" v="4059"/>
          <ac:cxnSpMkLst>
            <pc:docMk/>
            <pc:sldMk cId="2560334150" sldId="2147375908"/>
            <ac:cxnSpMk id="58" creationId="{422E0714-BCCC-F173-482F-721AF1885568}"/>
          </ac:cxnSpMkLst>
        </pc:cxnChg>
        <pc:cxnChg chg="mod">
          <ac:chgData name="Lynn Fiedler" userId="bba223ed-859a-46ea-8cd7-ed9799ce30e6" providerId="ADAL" clId="{EA677E6C-C96F-4C8F-91AF-68D134B8CD2E}" dt="2025-03-24T18:07:35.250" v="3611"/>
          <ac:cxnSpMkLst>
            <pc:docMk/>
            <pc:sldMk cId="2560334150" sldId="2147375908"/>
            <ac:cxnSpMk id="59" creationId="{D417DB6F-BA1F-8D6F-4D18-32344354E865}"/>
          </ac:cxnSpMkLst>
        </pc:cxnChg>
        <pc:cxnChg chg="mod">
          <ac:chgData name="Lynn Fiedler" userId="bba223ed-859a-46ea-8cd7-ed9799ce30e6" providerId="ADAL" clId="{EA677E6C-C96F-4C8F-91AF-68D134B8CD2E}" dt="2025-03-24T18:07:35.283" v="3679"/>
          <ac:cxnSpMkLst>
            <pc:docMk/>
            <pc:sldMk cId="2560334150" sldId="2147375908"/>
            <ac:cxnSpMk id="60" creationId="{C2C1A40D-21C7-6D7E-9D9C-A5DED909248C}"/>
          </ac:cxnSpMkLst>
        </pc:cxnChg>
        <pc:cxnChg chg="mod">
          <ac:chgData name="Lynn Fiedler" userId="bba223ed-859a-46ea-8cd7-ed9799ce30e6" providerId="ADAL" clId="{EA677E6C-C96F-4C8F-91AF-68D134B8CD2E}" dt="2025-03-24T18:07:35.352" v="3815"/>
          <ac:cxnSpMkLst>
            <pc:docMk/>
            <pc:sldMk cId="2560334150" sldId="2147375908"/>
            <ac:cxnSpMk id="61" creationId="{F1838EC9-57D9-6C53-F74E-EEE328236E74}"/>
          </ac:cxnSpMkLst>
        </pc:cxnChg>
        <pc:cxnChg chg="mod">
          <ac:chgData name="Lynn Fiedler" userId="bba223ed-859a-46ea-8cd7-ed9799ce30e6" providerId="ADAL" clId="{EA677E6C-C96F-4C8F-91AF-68D134B8CD2E}" dt="2025-03-24T18:07:35.331" v="3781"/>
          <ac:cxnSpMkLst>
            <pc:docMk/>
            <pc:sldMk cId="2560334150" sldId="2147375908"/>
            <ac:cxnSpMk id="62" creationId="{2889EAA2-4204-C865-74B2-0F0099661EB1}"/>
          </ac:cxnSpMkLst>
        </pc:cxnChg>
        <pc:cxnChg chg="mod">
          <ac:chgData name="Lynn Fiedler" userId="bba223ed-859a-46ea-8cd7-ed9799ce30e6" providerId="ADAL" clId="{EA677E6C-C96F-4C8F-91AF-68D134B8CD2E}" dt="2025-03-24T18:07:35.325" v="3767"/>
          <ac:cxnSpMkLst>
            <pc:docMk/>
            <pc:sldMk cId="2560334150" sldId="2147375908"/>
            <ac:cxnSpMk id="63" creationId="{D750B2A2-0828-9F63-C105-9299BA7C4B2A}"/>
          </ac:cxnSpMkLst>
        </pc:cxnChg>
        <pc:cxnChg chg="mod">
          <ac:chgData name="Lynn Fiedler" userId="bba223ed-859a-46ea-8cd7-ed9799ce30e6" providerId="ADAL" clId="{EA677E6C-C96F-4C8F-91AF-68D134B8CD2E}" dt="2025-03-24T18:07:35.372" v="3857"/>
          <ac:cxnSpMkLst>
            <pc:docMk/>
            <pc:sldMk cId="2560334150" sldId="2147375908"/>
            <ac:cxnSpMk id="64" creationId="{7B0D6516-B759-A217-AC38-6107B0CD9607}"/>
          </ac:cxnSpMkLst>
        </pc:cxnChg>
        <pc:cxnChg chg="mod">
          <ac:chgData name="Lynn Fiedler" userId="bba223ed-859a-46ea-8cd7-ed9799ce30e6" providerId="ADAL" clId="{EA677E6C-C96F-4C8F-91AF-68D134B8CD2E}" dt="2025-03-24T18:07:35.261" v="3635"/>
          <ac:cxnSpMkLst>
            <pc:docMk/>
            <pc:sldMk cId="2560334150" sldId="2147375908"/>
            <ac:cxnSpMk id="65" creationId="{0EBC8B1A-EDFE-DA44-6B88-45B23B3D7B09}"/>
          </ac:cxnSpMkLst>
        </pc:cxnChg>
        <pc:cxnChg chg="mod">
          <ac:chgData name="Lynn Fiedler" userId="bba223ed-859a-46ea-8cd7-ed9799ce30e6" providerId="ADAL" clId="{EA677E6C-C96F-4C8F-91AF-68D134B8CD2E}" dt="2025-03-24T18:07:35.310" v="3733"/>
          <ac:cxnSpMkLst>
            <pc:docMk/>
            <pc:sldMk cId="2560334150" sldId="2147375908"/>
            <ac:cxnSpMk id="66" creationId="{9E98E73E-1CBB-A5B5-BCA4-5C28339A0A05}"/>
          </ac:cxnSpMkLst>
        </pc:cxnChg>
        <pc:cxnChg chg="mod">
          <ac:chgData name="Lynn Fiedler" userId="bba223ed-859a-46ea-8cd7-ed9799ce30e6" providerId="ADAL" clId="{EA677E6C-C96F-4C8F-91AF-68D134B8CD2E}" dt="2025-03-24T18:07:35.554" v="4099"/>
          <ac:cxnSpMkLst>
            <pc:docMk/>
            <pc:sldMk cId="2560334150" sldId="2147375908"/>
            <ac:cxnSpMk id="67" creationId="{2DAFF81F-A52C-BD80-93EB-7A32C324E441}"/>
          </ac:cxnSpMkLst>
        </pc:cxnChg>
        <pc:cxnChg chg="mod">
          <ac:chgData name="Lynn Fiedler" userId="bba223ed-859a-46ea-8cd7-ed9799ce30e6" providerId="ADAL" clId="{EA677E6C-C96F-4C8F-91AF-68D134B8CD2E}" dt="2025-03-24T18:07:35.551" v="4095"/>
          <ac:cxnSpMkLst>
            <pc:docMk/>
            <pc:sldMk cId="2560334150" sldId="2147375908"/>
            <ac:cxnSpMk id="68" creationId="{340DE67B-887C-EF07-5BAF-036E4D6FC2B2}"/>
          </ac:cxnSpMkLst>
        </pc:cxnChg>
      </pc:sldChg>
      <pc:sldMasterChg chg="addSp delSp modSp mod">
        <pc:chgData name="Lynn Fiedler" userId="bba223ed-859a-46ea-8cd7-ed9799ce30e6" providerId="ADAL" clId="{EA677E6C-C96F-4C8F-91AF-68D134B8CD2E}" dt="2025-03-24T18:07:01.443" v="465"/>
        <pc:sldMasterMkLst>
          <pc:docMk/>
          <pc:sldMasterMk cId="3940329458" sldId="2147483676"/>
        </pc:sldMasterMkLst>
        <pc:spChg chg="mod">
          <ac:chgData name="Lynn Fiedler" userId="bba223ed-859a-46ea-8cd7-ed9799ce30e6" providerId="ADAL" clId="{EA677E6C-C96F-4C8F-91AF-68D134B8CD2E}" dt="2025-03-24T18:07:01.067" v="215" actId="948"/>
          <ac:spMkLst>
            <pc:docMk/>
            <pc:sldMasterMk cId="3940329458" sldId="2147483676"/>
            <ac:spMk id="2" creationId="{00000000-0000-0000-0000-000000000000}"/>
          </ac:spMkLst>
        </pc:spChg>
        <pc:spChg chg="add del mod modVis">
          <ac:chgData name="Lynn Fiedler" userId="bba223ed-859a-46ea-8cd7-ed9799ce30e6" providerId="ADAL" clId="{EA677E6C-C96F-4C8F-91AF-68D134B8CD2E}" dt="2025-03-24T18:07:01.415" v="451"/>
          <ac:spMkLst>
            <pc:docMk/>
            <pc:sldMasterMk cId="3940329458" sldId="2147483676"/>
            <ac:spMk id="4" creationId="{78B46AF0-FC42-E434-2CE2-8010023700A0}"/>
          </ac:spMkLst>
        </pc:spChg>
        <pc:graphicFrameChg chg="add mod ord modVis">
          <ac:chgData name="Lynn Fiedler" userId="bba223ed-859a-46ea-8cd7-ed9799ce30e6" providerId="ADAL" clId="{EA677E6C-C96F-4C8F-91AF-68D134B8CD2E}" dt="2025-03-24T18:07:01.443" v="465"/>
          <ac:graphicFrameMkLst>
            <pc:docMk/>
            <pc:sldMasterMk cId="3940329458" sldId="2147483676"/>
            <ac:graphicFrameMk id="5" creationId="{EDA25761-5D8D-979E-5FD4-073A5250BEF6}"/>
          </ac:graphicFrameMkLst>
        </pc:graphicFrameChg>
      </pc:sldMasterChg>
      <pc:sldMasterChg chg="addSp delSp modSp mod">
        <pc:chgData name="Lynn Fiedler" userId="bba223ed-859a-46ea-8cd7-ed9799ce30e6" providerId="ADAL" clId="{EA677E6C-C96F-4C8F-91AF-68D134B8CD2E}" dt="2025-03-24T18:07:01.413" v="449"/>
        <pc:sldMasterMkLst>
          <pc:docMk/>
          <pc:sldMasterMk cId="4233226118" sldId="2147483690"/>
        </pc:sldMasterMkLst>
        <pc:spChg chg="mod">
          <ac:chgData name="Lynn Fiedler" userId="bba223ed-859a-46ea-8cd7-ed9799ce30e6" providerId="ADAL" clId="{EA677E6C-C96F-4C8F-91AF-68D134B8CD2E}" dt="2025-03-24T18:07:01.091" v="236" actId="948"/>
          <ac:spMkLst>
            <pc:docMk/>
            <pc:sldMasterMk cId="4233226118" sldId="2147483690"/>
            <ac:spMk id="2" creationId="{00000000-0000-0000-0000-000000000000}"/>
          </ac:spMkLst>
        </pc:spChg>
        <pc:spChg chg="add del mod modVis">
          <ac:chgData name="Lynn Fiedler" userId="bba223ed-859a-46ea-8cd7-ed9799ce30e6" providerId="ADAL" clId="{EA677E6C-C96F-4C8F-91AF-68D134B8CD2E}" dt="2025-03-24T18:07:01.412" v="447"/>
          <ac:spMkLst>
            <pc:docMk/>
            <pc:sldMasterMk cId="4233226118" sldId="2147483690"/>
            <ac:spMk id="3" creationId="{55C11F7B-2E1B-FB49-D42A-B477C6CE215B}"/>
          </ac:spMkLst>
        </pc:spChg>
        <pc:graphicFrameChg chg="mod">
          <ac:chgData name="Lynn Fiedler" userId="bba223ed-859a-46ea-8cd7-ed9799ce30e6" providerId="ADAL" clId="{EA677E6C-C96F-4C8F-91AF-68D134B8CD2E}" dt="2025-03-24T18:07:01.413" v="449"/>
          <ac:graphicFrameMkLst>
            <pc:docMk/>
            <pc:sldMasterMk cId="4233226118" sldId="2147483690"/>
            <ac:graphicFrameMk id="5" creationId="{7D16E743-F4D1-456B-412A-5533CDDB2B48}"/>
          </ac:graphicFrameMkLst>
        </pc:graphicFrameChg>
      </pc:sldMasterChg>
      <pc:sldMasterChg chg="addSp delSp modSp mod">
        <pc:chgData name="Lynn Fiedler" userId="bba223ed-859a-46ea-8cd7-ed9799ce30e6" providerId="ADAL" clId="{EA677E6C-C96F-4C8F-91AF-68D134B8CD2E}" dt="2025-03-24T18:07:01.409" v="445"/>
        <pc:sldMasterMkLst>
          <pc:docMk/>
          <pc:sldMasterMk cId="1088240001" sldId="2147483697"/>
        </pc:sldMasterMkLst>
        <pc:spChg chg="mod">
          <ac:chgData name="Lynn Fiedler" userId="bba223ed-859a-46ea-8cd7-ed9799ce30e6" providerId="ADAL" clId="{EA677E6C-C96F-4C8F-91AF-68D134B8CD2E}" dt="2025-03-24T18:07:01.038" v="192" actId="948"/>
          <ac:spMkLst>
            <pc:docMk/>
            <pc:sldMasterMk cId="1088240001" sldId="2147483697"/>
            <ac:spMk id="2" creationId="{00000000-0000-0000-0000-000000000000}"/>
          </ac:spMkLst>
        </pc:spChg>
        <pc:spChg chg="add del mod modVis">
          <ac:chgData name="Lynn Fiedler" userId="bba223ed-859a-46ea-8cd7-ed9799ce30e6" providerId="ADAL" clId="{EA677E6C-C96F-4C8F-91AF-68D134B8CD2E}" dt="2025-03-24T18:07:01.368" v="431"/>
          <ac:spMkLst>
            <pc:docMk/>
            <pc:sldMasterMk cId="1088240001" sldId="2147483697"/>
            <ac:spMk id="4" creationId="{562A1B60-C5D2-13CE-C740-FE4758C3C1AE}"/>
          </ac:spMkLst>
        </pc:spChg>
        <pc:graphicFrameChg chg="add mod ord modVis">
          <ac:chgData name="Lynn Fiedler" userId="bba223ed-859a-46ea-8cd7-ed9799ce30e6" providerId="ADAL" clId="{EA677E6C-C96F-4C8F-91AF-68D134B8CD2E}" dt="2025-03-24T18:07:01.409" v="445"/>
          <ac:graphicFrameMkLst>
            <pc:docMk/>
            <pc:sldMasterMk cId="1088240001" sldId="2147483697"/>
            <ac:graphicFrameMk id="5" creationId="{8F6FAB43-50F7-F9EE-6304-19F3F0A41982}"/>
          </ac:graphicFrameMkLst>
        </pc:graphicFrame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Élőfej hely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Open Sauce One" pitchFamily="2" charset="0"/>
              </a:defRPr>
            </a:lvl1pPr>
          </a:lstStyle>
          <a:p>
            <a:endParaRPr lang="en-US"/>
          </a:p>
        </p:txBody>
      </p:sp>
      <p:sp>
        <p:nvSpPr>
          <p:cNvPr id="3" name="Dátum hely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Open Sauce One" pitchFamily="2" charset="0"/>
              </a:defRPr>
            </a:lvl1pPr>
          </a:lstStyle>
          <a:p>
            <a:fld id="{F8F1DAA2-B4A1-484C-B300-98EDACCAF20E}" type="datetimeFigureOut">
              <a:rPr lang="en-US" smtClean="0"/>
              <a:pPr/>
              <a:t>3/27/25</a:t>
            </a:fld>
            <a:endParaRPr lang="en-US"/>
          </a:p>
        </p:txBody>
      </p:sp>
      <p:sp>
        <p:nvSpPr>
          <p:cNvPr id="4" name="Diakép hely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Jegyzetek hely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en-US"/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Open Sauce One" pitchFamily="2" charset="0"/>
              </a:defRPr>
            </a:lvl1pPr>
          </a:lstStyle>
          <a:p>
            <a:endParaRPr lang="en-US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Open Sauce One" pitchFamily="2" charset="0"/>
              </a:defRPr>
            </a:lvl1pPr>
          </a:lstStyle>
          <a:p>
            <a:fld id="{8E55ECEC-4EE4-604E-8AA4-7344F5E1943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50233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Open Sauce One" pitchFamily="2" charset="0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Open Sauce One" pitchFamily="2" charset="0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Open Sauce One" pitchFamily="2" charset="0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Open Sauce One" pitchFamily="2" charset="0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Open Sauce One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55ECEC-4EE4-604E-8AA4-7344F5E1943C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45396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2.jpe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5.jpg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6.jp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7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pn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8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09600" y="1137921"/>
            <a:ext cx="4954924" cy="4267457"/>
          </a:xfrm>
        </p:spPr>
        <p:txBody>
          <a:bodyPr/>
          <a:lstStyle/>
          <a:p>
            <a:endParaRPr lang="en-US" noProof="0" dirty="0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29748" y="3813288"/>
            <a:ext cx="3087667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Name Surname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29748" y="4055931"/>
            <a:ext cx="3087667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Job Title to go here</a:t>
            </a:r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19820" y="3578084"/>
            <a:ext cx="778554" cy="778959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19821" y="1137921"/>
            <a:ext cx="5462580" cy="37380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19821" y="1635009"/>
            <a:ext cx="5462580" cy="1611554"/>
          </a:xfrm>
        </p:spPr>
        <p:txBody>
          <a:bodyPr/>
          <a:lstStyle>
            <a:lvl1pPr marL="0" indent="0">
              <a:buNone/>
              <a:defRPr sz="1599"/>
            </a:lvl1pPr>
          </a:lstStyle>
          <a:p>
            <a:pPr lvl="0"/>
            <a:r>
              <a:rPr lang="en-US" noProof="0" dirty="0"/>
              <a:t>Content EY Interstate Light, 16pt, Lorem ipsum dolor, 12pt, </a:t>
            </a:r>
            <a:r>
              <a:rPr lang="en-US" noProof="0" dirty="0" err="1"/>
              <a:t>Utinam</a:t>
            </a:r>
            <a:r>
              <a:rPr lang="en-US" noProof="0" dirty="0"/>
              <a:t> </a:t>
            </a:r>
            <a:r>
              <a:rPr lang="en-US" noProof="0" dirty="0" err="1"/>
              <a:t>nonumy</a:t>
            </a:r>
            <a:r>
              <a:rPr lang="en-US" noProof="0" dirty="0"/>
              <a:t> </a:t>
            </a:r>
            <a:r>
              <a:rPr lang="en-US" noProof="0" dirty="0" err="1"/>
              <a:t>abhorreant</a:t>
            </a:r>
            <a:r>
              <a:rPr lang="en-US" noProof="0" dirty="0"/>
              <a:t> </a:t>
            </a:r>
            <a:r>
              <a:rPr lang="en-US" noProof="0" dirty="0" err="1"/>
              <a:t>sead</a:t>
            </a:r>
            <a:r>
              <a:rPr lang="en-US" noProof="0" dirty="0"/>
              <a:t>. </a:t>
            </a:r>
            <a:r>
              <a:rPr lang="en-US" noProof="0" dirty="0" err="1"/>
              <a:t>Putant</a:t>
            </a:r>
            <a:r>
              <a:rPr lang="en-US" noProof="0" dirty="0"/>
              <a:t> </a:t>
            </a:r>
            <a:r>
              <a:rPr lang="en-US" noProof="0" dirty="0" err="1"/>
              <a:t>probatus</a:t>
            </a:r>
            <a:r>
              <a:rPr lang="en-US" noProof="0" dirty="0"/>
              <a:t> id vis, ad his </a:t>
            </a:r>
            <a:r>
              <a:rPr lang="en-US" noProof="0" dirty="0" err="1"/>
              <a:t>meis</a:t>
            </a:r>
            <a:r>
              <a:rPr lang="en-US" noProof="0" dirty="0"/>
              <a:t> </a:t>
            </a:r>
            <a:r>
              <a:rPr lang="en-US" noProof="0" dirty="0" err="1"/>
              <a:t>habemus</a:t>
            </a:r>
            <a:r>
              <a:rPr lang="en-US" noProof="0" dirty="0"/>
              <a:t> </a:t>
            </a:r>
            <a:r>
              <a:rPr lang="en-US" noProof="0" dirty="0" err="1"/>
              <a:t>repudiare</a:t>
            </a:r>
            <a:r>
              <a:rPr lang="en-US" noProof="0" dirty="0"/>
              <a:t>, has an </a:t>
            </a:r>
            <a:r>
              <a:rPr lang="en-US" noProof="0" dirty="0" err="1"/>
              <a:t>pericula</a:t>
            </a:r>
            <a:r>
              <a:rPr lang="en-US" noProof="0" dirty="0"/>
              <a:t> </a:t>
            </a:r>
            <a:r>
              <a:rPr lang="en-US" noProof="0" dirty="0" err="1"/>
              <a:t>tractatos</a:t>
            </a:r>
            <a:r>
              <a:rPr lang="en-US" noProof="0" dirty="0"/>
              <a:t>. </a:t>
            </a:r>
            <a:r>
              <a:rPr lang="en-US" noProof="0" dirty="0" err="1"/>
              <a:t>Nec</a:t>
            </a:r>
            <a:r>
              <a:rPr lang="en-US" noProof="0" dirty="0"/>
              <a:t> </a:t>
            </a:r>
            <a:r>
              <a:rPr lang="en-US" noProof="0" dirty="0" err="1"/>
              <a:t>debitis</a:t>
            </a:r>
            <a:r>
              <a:rPr lang="en-US" noProof="0" dirty="0"/>
              <a:t> </a:t>
            </a:r>
            <a:r>
              <a:rPr lang="en-US" noProof="0" dirty="0" err="1"/>
              <a:t>dissentias</a:t>
            </a:r>
            <a:r>
              <a:rPr lang="en-US" noProof="0" dirty="0"/>
              <a:t> ad. </a:t>
            </a:r>
            <a:r>
              <a:rPr lang="en-US" noProof="0" dirty="0" err="1"/>
              <a:t>Patrioque</a:t>
            </a:r>
            <a:r>
              <a:rPr lang="en-US" noProof="0" dirty="0"/>
              <a:t> </a:t>
            </a:r>
            <a:r>
              <a:rPr lang="en-US" noProof="0" dirty="0" err="1"/>
              <a:t>voluptatum</a:t>
            </a:r>
            <a:r>
              <a:rPr lang="en-US" noProof="0" dirty="0"/>
              <a:t> </a:t>
            </a:r>
            <a:r>
              <a:rPr lang="en-US" noProof="0" dirty="0" err="1"/>
              <a:t>sed</a:t>
            </a:r>
            <a:r>
              <a:rPr lang="en-US" noProof="0" dirty="0"/>
              <a:t> ex, id </a:t>
            </a:r>
            <a:r>
              <a:rPr lang="en-US" noProof="0" dirty="0" err="1"/>
              <a:t>admodum</a:t>
            </a:r>
            <a:r>
              <a:rPr lang="en-US" noProof="0" dirty="0"/>
              <a:t>.</a:t>
            </a:r>
          </a:p>
          <a:p>
            <a:pPr lvl="0"/>
            <a:endParaRPr lang="en-US" noProof="0" dirty="0"/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B69EB865-6B86-419B-923C-F7DDC68C9C6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5822E28-B24F-4CF6-8F50-70ED7C22A114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A91CD3ED-7A7F-49D0-8DF4-DD15BD764675}" type="datetime3">
              <a:rPr lang="en-US" noProof="0" smtClean="0"/>
              <a:t>27 March 2025</a:t>
            </a:fld>
            <a:endParaRPr lang="en-US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65E1CD-A05B-41DC-B488-E4BA204E7AE5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 noProof="0"/>
              <a:t>EY DE PPT Gallery</a:t>
            </a:r>
            <a:endParaRPr lang="en-US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716ABDB-CF45-4001-9487-F3BA3DD8DAC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US" noProof="0" dirty="0"/>
              <a:t>Page </a:t>
            </a:r>
            <a:fld id="{F1BC30E3-FFE5-4B91-AA19-87A149EBB9E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5155334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0869D6F-A030-48CA-9C7C-9FC3A6F1F6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032243-3131-466D-9331-4926BD8C5A52}" type="datetime3">
              <a:rPr lang="en-US" noProof="0" smtClean="0"/>
              <a:t>27 March 2025</a:t>
            </a:fld>
            <a:endParaRPr lang="en-US" noProof="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02C3F7-BD0A-4AD4-95D8-328DA6F539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EY DE PPT Gallery</a:t>
            </a:r>
            <a:endParaRPr lang="en-US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4422C8-68BE-4650-89F1-3BECCFF9B5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noProof="0" dirty="0"/>
              <a:t>Page </a:t>
            </a:r>
            <a:fld id="{F1BC30E3-FFE5-4B91-AA19-87A149EBB9E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8" name="Line 10">
            <a:extLst>
              <a:ext uri="{FF2B5EF4-FFF2-40B4-BE49-F238E27FC236}">
                <a16:creationId xmlns:a16="http://schemas.microsoft.com/office/drawing/2014/main" id="{E3C29BC2-BC37-43DD-B618-05FAFA7E3D82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0" y="1047450"/>
            <a:ext cx="1079438" cy="0"/>
          </a:xfrm>
          <a:prstGeom prst="line">
            <a:avLst/>
          </a:prstGeom>
          <a:noFill/>
          <a:ln w="3810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11646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8098438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Standar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0869D6F-A030-48CA-9C7C-9FC3A6F1F6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9D2C54-456B-4796-86B6-11EF575C3DA1}" type="datetime3">
              <a:rPr lang="en-US" noProof="0" smtClean="0"/>
              <a:t>27 March 2025</a:t>
            </a:fld>
            <a:endParaRPr lang="en-US" noProof="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02C3F7-BD0A-4AD4-95D8-328DA6F539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EY DE PPT Gallery</a:t>
            </a:r>
            <a:endParaRPr lang="en-US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4422C8-68BE-4650-89F1-3BECCFF9B5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noProof="0" dirty="0"/>
              <a:t>Page </a:t>
            </a:r>
            <a:fld id="{F1BC30E3-FFE5-4B91-AA19-87A149EBB9E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09599" y="1137920"/>
            <a:ext cx="8250503" cy="4946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 lang="en-US" noProof="0" dirty="0" smtClean="0"/>
            </a:lvl1pPr>
            <a:lvl2pPr marL="271327" marR="0" indent="-271327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 dirty="0" smtClean="0"/>
            </a:lvl2pPr>
            <a:lvl3pPr marL="510919" marR="0" indent="-233246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 dirty="0" smtClean="0"/>
            </a:lvl3pPr>
            <a:lvl4pPr marL="745752" marR="0" indent="-231659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 dirty="0" smtClean="0"/>
            </a:lvl4pPr>
            <a:lvl5pPr marL="944091" marR="0" indent="-201512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 dirty="0" smtClean="0"/>
            </a:lvl5pPr>
          </a:lstStyle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/>
            </a:pPr>
            <a:r>
              <a:rPr kumimoji="0" lang="en-US" sz="19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Click to edit Master text styles</a:t>
            </a:r>
          </a:p>
          <a:p>
            <a:pPr marL="271327" marR="0" lvl="1" indent="-271327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9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Second level</a:t>
            </a:r>
          </a:p>
          <a:p>
            <a:pPr marL="510919" marR="0" lvl="2" indent="-233246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Third level</a:t>
            </a:r>
          </a:p>
          <a:p>
            <a:pPr marL="745752" marR="0" lvl="3" indent="-231659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5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Fourth level</a:t>
            </a:r>
          </a:p>
          <a:p>
            <a:pPr marL="944091" marR="0" lvl="4" indent="-201512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3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Text</a:t>
            </a:r>
          </a:p>
        </p:txBody>
      </p:sp>
      <p:sp>
        <p:nvSpPr>
          <p:cNvPr id="7" name="Line 10">
            <a:extLst>
              <a:ext uri="{FF2B5EF4-FFF2-40B4-BE49-F238E27FC236}">
                <a16:creationId xmlns:a16="http://schemas.microsoft.com/office/drawing/2014/main" id="{FBB59D39-6114-41B0-8E75-E6A062D8042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0" y="907750"/>
            <a:ext cx="1079438" cy="0"/>
          </a:xfrm>
          <a:prstGeom prst="line">
            <a:avLst/>
          </a:prstGeom>
          <a:noFill/>
          <a:ln w="3810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81386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6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98D0D0-8F74-A44E-1BF9-ED542A7E7E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D080CB6-A4D6-7CCF-1422-53EF9287F7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CAA955-C688-4D17-A718-E12620276EB6}" type="datetime3">
              <a:rPr lang="en-US" noProof="0" smtClean="0"/>
              <a:t>27 March 2025</a:t>
            </a:fld>
            <a:endParaRPr lang="en-US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5CE2B7-C7DB-CDB3-1A9B-54D6992DF6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err="1"/>
              <a:t>Hypatos</a:t>
            </a:r>
            <a:r>
              <a:rPr lang="de-DE" dirty="0"/>
              <a:t> x Klüber – Kick-Off Workshop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DA91415-2143-48C8-69A4-F72F4A46EC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F1BC30E3-FFE5-4B91-AA19-87A149EBB9E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6" name="Line 10">
            <a:extLst>
              <a:ext uri="{FF2B5EF4-FFF2-40B4-BE49-F238E27FC236}">
                <a16:creationId xmlns:a16="http://schemas.microsoft.com/office/drawing/2014/main" id="{5D52FB1C-7C7E-986F-AD62-7A742A59974B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84978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601" y="1137919"/>
            <a:ext cx="8234455" cy="495490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</a:lstStyle>
          <a:p>
            <a:pPr lvl="0"/>
            <a:r>
              <a:rPr kumimoji="0" lang="en-US" sz="1999" b="0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Click to edit Master text styles</a:t>
            </a:r>
          </a:p>
          <a:p>
            <a:pPr lvl="1"/>
            <a:r>
              <a:rPr kumimoji="0" lang="en-US" sz="1999" b="0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599" b="0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Fourth level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CF130104-FAF2-4309-9701-573F3774313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0869D6F-A030-48CA-9C7C-9FC3A6F1F6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EB5111-4321-4A8B-8136-0060A1CE4C12}" type="datetime3">
              <a:rPr lang="en-US" noProof="0" smtClean="0"/>
              <a:t>27 March 2025</a:t>
            </a:fld>
            <a:endParaRPr lang="en-US" noProof="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02C3F7-BD0A-4AD4-95D8-328DA6F539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err="1"/>
              <a:t>Hypatos</a:t>
            </a:r>
            <a:r>
              <a:rPr lang="de-DE" dirty="0"/>
              <a:t> x Klüber – Kick-Off Workshop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4422C8-68BE-4650-89F1-3BECCFF9B5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noProof="0" dirty="0"/>
              <a:t>Page </a:t>
            </a:r>
            <a:fld id="{F1BC30E3-FFE5-4B91-AA19-87A149EBB9E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0027863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Blank_with_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897186E-D73E-46D0-965A-D83686BA73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28A72D-CB0C-4AE6-BEB4-2489144EE777}" type="datetime3">
              <a:rPr lang="en-US" noProof="0" smtClean="0"/>
              <a:t>27 March 2025</a:t>
            </a:fld>
            <a:endParaRPr lang="en-US" noProof="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DEF40EA-FE63-4D50-8C90-EC25A860C0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err="1"/>
              <a:t>Hypatos</a:t>
            </a:r>
            <a:r>
              <a:rPr lang="de-DE" dirty="0"/>
              <a:t> x Klüber – Kick-Off Workshop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37420B-CF82-4784-8E9C-5C496E27C5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noProof="0" dirty="0"/>
              <a:t>Page </a:t>
            </a:r>
            <a:fld id="{F1BC30E3-FFE5-4B91-AA19-87A149EBB9E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8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283" y="4207757"/>
            <a:ext cx="647663" cy="648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90301987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CF130104-FAF2-4309-9701-573F3774313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0869D6F-A030-48CA-9C7C-9FC3A6F1F6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EB5111-4321-4A8B-8136-0060A1CE4C12}" type="datetime3">
              <a:rPr lang="en-US" noProof="0" smtClean="0"/>
              <a:t>27 March 2025</a:t>
            </a:fld>
            <a:endParaRPr lang="en-US" noProof="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02C3F7-BD0A-4AD4-95D8-328DA6F539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err="1"/>
              <a:t>Hypatos</a:t>
            </a:r>
            <a:r>
              <a:rPr lang="de-DE" dirty="0"/>
              <a:t> x Klüber – Kick-Off Workshop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4422C8-68BE-4650-89F1-3BECCFF9B5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noProof="0" dirty="0"/>
              <a:t>Page </a:t>
            </a:r>
            <a:fld id="{F1BC30E3-FFE5-4B91-AA19-87A149EBB9E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09599" y="1137920"/>
            <a:ext cx="8250503" cy="4946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 lang="en-US" noProof="0" dirty="0" smtClean="0"/>
            </a:lvl1pPr>
            <a:lvl2pPr marL="271327" marR="0" indent="-271327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 dirty="0" smtClean="0"/>
            </a:lvl2pPr>
            <a:lvl3pPr marL="510919" marR="0" indent="-233246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 dirty="0" smtClean="0"/>
            </a:lvl3pPr>
            <a:lvl4pPr marL="745752" marR="0" indent="-231659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 dirty="0" smtClean="0"/>
            </a:lvl4pPr>
            <a:lvl5pPr marL="944091" marR="0" indent="-201512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 dirty="0" smtClean="0"/>
            </a:lvl5pPr>
          </a:lstStyle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/>
            </a:pPr>
            <a:r>
              <a:rPr kumimoji="0" lang="en-US" sz="19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Click to edit Master text styles</a:t>
            </a:r>
          </a:p>
          <a:p>
            <a:pPr marL="271327" marR="0" lvl="1" indent="-271327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9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Second level</a:t>
            </a:r>
          </a:p>
          <a:p>
            <a:pPr marL="510919" marR="0" lvl="2" indent="-233246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Third level</a:t>
            </a:r>
          </a:p>
          <a:p>
            <a:pPr marL="745752" marR="0" lvl="3" indent="-231659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5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Fourth level</a:t>
            </a:r>
          </a:p>
          <a:p>
            <a:pPr marL="944091" marR="0" lvl="4" indent="-201512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3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79774484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8_Final_legal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8239" y="292414"/>
            <a:ext cx="3141164" cy="521017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D200"/>
              </a:buClr>
              <a:buSzPct val="70000"/>
              <a:buFontTx/>
              <a:buNone/>
              <a:tabLst/>
              <a:defRPr kumimoji="0" lang="de-DE" sz="1099" b="1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D200"/>
              </a:buClr>
              <a:buSzPct val="70000"/>
              <a:buFontTx/>
              <a:buNone/>
              <a:tabLst/>
              <a:defRPr/>
            </a:pPr>
            <a:r>
              <a:rPr kumimoji="0" lang="en-US" sz="999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EY </a:t>
            </a:r>
            <a:r>
              <a:rPr kumimoji="0" lang="en-US" sz="9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9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Arial"/>
              </a:rPr>
              <a:t>|  Assurance | Tax | Transactions | Advisory </a:t>
            </a:r>
            <a:br>
              <a:rPr kumimoji="0" lang="en-US" sz="9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Arial"/>
              </a:rPr>
            </a:br>
            <a:br>
              <a:rPr kumimoji="0" lang="en-US" sz="9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Arial"/>
              </a:rPr>
            </a:br>
            <a:r>
              <a:rPr kumimoji="0" lang="en-US" sz="9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Arial"/>
              </a:rPr>
              <a:t>Refer to The Branding Zone for the latest boilerplate language. </a:t>
            </a:r>
          </a:p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D200"/>
              </a:buClr>
              <a:buSzPct val="70000"/>
              <a:buFontTx/>
              <a:buNone/>
              <a:tabLst/>
              <a:defRPr/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759257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urry image of a rainbow&#10;&#10;Description automatically generated">
            <a:extLst>
              <a:ext uri="{FF2B5EF4-FFF2-40B4-BE49-F238E27FC236}">
                <a16:creationId xmlns:a16="http://schemas.microsoft.com/office/drawing/2014/main" id="{317BE7A3-A673-B58A-8BE4-D36A0E590D33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3200" cy="6858000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581F3BED-E626-F3AE-FF20-A6D762394718}"/>
              </a:ext>
            </a:extLst>
          </p:cNvPr>
          <p:cNvGrpSpPr/>
          <p:nvPr userDrawn="1"/>
        </p:nvGrpSpPr>
        <p:grpSpPr>
          <a:xfrm>
            <a:off x="485775" y="6164633"/>
            <a:ext cx="4940935" cy="318770"/>
            <a:chOff x="485775" y="6164633"/>
            <a:chExt cx="4940935" cy="318770"/>
          </a:xfrm>
        </p:grpSpPr>
        <p:sp>
          <p:nvSpPr>
            <p:cNvPr id="297" name="Freeform 296">
              <a:extLst>
                <a:ext uri="{FF2B5EF4-FFF2-40B4-BE49-F238E27FC236}">
                  <a16:creationId xmlns:a16="http://schemas.microsoft.com/office/drawing/2014/main" id="{AD4E5D8B-12B4-19F3-17D4-D12BF368FC85}"/>
                </a:ext>
              </a:extLst>
            </p:cNvPr>
            <p:cNvSpPr/>
            <p:nvPr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8" name="Freeform 297">
              <a:extLst>
                <a:ext uri="{FF2B5EF4-FFF2-40B4-BE49-F238E27FC236}">
                  <a16:creationId xmlns:a16="http://schemas.microsoft.com/office/drawing/2014/main" id="{219789D6-6B07-F2E6-06BE-8CA9DC83E385}"/>
                </a:ext>
              </a:extLst>
            </p:cNvPr>
            <p:cNvSpPr/>
            <p:nvPr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41140D12-1777-AADD-5351-B92F135ED633}"/>
              </a:ext>
            </a:extLst>
          </p:cNvPr>
          <p:cNvGrpSpPr/>
          <p:nvPr userDrawn="1"/>
        </p:nvGrpSpPr>
        <p:grpSpPr>
          <a:xfrm>
            <a:off x="485774" y="1291008"/>
            <a:ext cx="5706110" cy="4360545"/>
            <a:chOff x="485774" y="1291008"/>
            <a:chExt cx="5706110" cy="4360545"/>
          </a:xfrm>
        </p:grpSpPr>
        <p:sp>
          <p:nvSpPr>
            <p:cNvPr id="299" name="Freeform 298">
              <a:extLst>
                <a:ext uri="{FF2B5EF4-FFF2-40B4-BE49-F238E27FC236}">
                  <a16:creationId xmlns:a16="http://schemas.microsoft.com/office/drawing/2014/main" id="{70589FC3-4491-BD75-2C16-660DF0B71BBC}"/>
                </a:ext>
              </a:extLst>
            </p:cNvPr>
            <p:cNvSpPr/>
            <p:nvPr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3" name="Freeform 292">
              <a:extLst>
                <a:ext uri="{FF2B5EF4-FFF2-40B4-BE49-F238E27FC236}">
                  <a16:creationId xmlns:a16="http://schemas.microsoft.com/office/drawing/2014/main" id="{B00DB918-F11D-F855-5478-ECB25A1AC3D1}"/>
                </a:ext>
              </a:extLst>
            </p:cNvPr>
            <p:cNvSpPr/>
            <p:nvPr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gradFill flip="none" rotWithShape="1">
              <a:gsLst>
                <a:gs pos="46000">
                  <a:srgbClr val="FFE600"/>
                </a:gs>
                <a:gs pos="66000">
                  <a:srgbClr val="FF32FF"/>
                </a:gs>
                <a:gs pos="100000">
                  <a:srgbClr val="32FFFF"/>
                </a:gs>
              </a:gsLst>
              <a:lin ang="18600000" scaled="0"/>
              <a:tileRect/>
            </a:gradFill>
            <a:ln w="81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</p:grpSp>
      <p:sp>
        <p:nvSpPr>
          <p:cNvPr id="274" name="Subtitle 2">
            <a:extLst>
              <a:ext uri="{FF2B5EF4-FFF2-40B4-BE49-F238E27FC236}">
                <a16:creationId xmlns:a16="http://schemas.microsoft.com/office/drawing/2014/main" id="{74103396-CF0A-A808-BF1B-463C3EF7376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89762" y="4436485"/>
            <a:ext cx="4907628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EYInterstate" panose="02000503020000020004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edit master subtitle style</a:t>
            </a:r>
            <a:endParaRPr lang="en-US" dirty="0"/>
          </a:p>
        </p:txBody>
      </p:sp>
      <p:sp>
        <p:nvSpPr>
          <p:cNvPr id="275" name="Title 4">
            <a:extLst>
              <a:ext uri="{FF2B5EF4-FFF2-40B4-BE49-F238E27FC236}">
                <a16:creationId xmlns:a16="http://schemas.microsoft.com/office/drawing/2014/main" id="{B57CD4DB-AED0-4F7E-41BA-02CA96598A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9762" y="2698751"/>
            <a:ext cx="4906009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tx1"/>
                </a:solidFill>
                <a:latin typeface="EYInterstate" panose="02000503020000020004" pitchFamily="2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289" name="Text Placeholder 288">
            <a:extLst>
              <a:ext uri="{FF2B5EF4-FFF2-40B4-BE49-F238E27FC236}">
                <a16:creationId xmlns:a16="http://schemas.microsoft.com/office/drawing/2014/main" id="{31D45A6D-135C-8C27-4F13-A3BC79AB3ED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89762" y="5047485"/>
            <a:ext cx="4906010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  <a:latin typeface="EYInterstate" panose="02000503020000020004" pitchFamily="2" charset="0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3F57181-8F7C-581D-8E8B-8B2B0CB0518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562024" y="5167683"/>
            <a:ext cx="1220400" cy="1285398"/>
            <a:chOff x="3913438" y="-99392"/>
            <a:chExt cx="6512821" cy="6859693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DE8A127C-FDD5-21E9-1FD6-D9B4A7D554FA}"/>
                </a:ext>
              </a:extLst>
            </p:cNvPr>
            <p:cNvSpPr/>
            <p:nvPr/>
          </p:nvSpPr>
          <p:spPr>
            <a:xfrm>
              <a:off x="5319751" y="-99392"/>
              <a:ext cx="4303606" cy="1570696"/>
            </a:xfrm>
            <a:custGeom>
              <a:avLst/>
              <a:gdLst>
                <a:gd name="connsiteX0" fmla="*/ 4303607 w 4303606"/>
                <a:gd name="connsiteY0" fmla="*/ 0 h 1570696"/>
                <a:gd name="connsiteX1" fmla="*/ 0 w 4303606"/>
                <a:gd name="connsiteY1" fmla="*/ 1570697 h 1570696"/>
                <a:gd name="connsiteX2" fmla="*/ 4303607 w 4303606"/>
                <a:gd name="connsiteY2" fmla="*/ 810521 h 1570696"/>
                <a:gd name="connsiteX3" fmla="*/ 4303607 w 4303606"/>
                <a:gd name="connsiteY3" fmla="*/ 0 h 1570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03606" h="1570696">
                  <a:moveTo>
                    <a:pt x="4303607" y="0"/>
                  </a:moveTo>
                  <a:lnTo>
                    <a:pt x="0" y="1570697"/>
                  </a:lnTo>
                  <a:lnTo>
                    <a:pt x="4303607" y="810521"/>
                  </a:lnTo>
                  <a:lnTo>
                    <a:pt x="4303607" y="0"/>
                  </a:lnTo>
                  <a:close/>
                </a:path>
              </a:pathLst>
            </a:custGeom>
            <a:solidFill>
              <a:srgbClr val="FFE600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0F35FD06-DC07-383C-ACE2-7933BCD22180}"/>
                </a:ext>
              </a:extLst>
            </p:cNvPr>
            <p:cNvSpPr/>
            <p:nvPr/>
          </p:nvSpPr>
          <p:spPr>
            <a:xfrm>
              <a:off x="5357395" y="2124345"/>
              <a:ext cx="3613052" cy="2176910"/>
            </a:xfrm>
            <a:custGeom>
              <a:avLst/>
              <a:gdLst>
                <a:gd name="connsiteX0" fmla="*/ 652845 w 3613052"/>
                <a:gd name="connsiteY0" fmla="*/ 1676205 h 2176910"/>
                <a:gd name="connsiteX1" fmla="*/ 1741463 w 3613052"/>
                <a:gd name="connsiteY1" fmla="*/ 1676205 h 2176910"/>
                <a:gd name="connsiteX2" fmla="*/ 1741463 w 3613052"/>
                <a:gd name="connsiteY2" fmla="*/ 2176910 h 2176910"/>
                <a:gd name="connsiteX3" fmla="*/ 0 w 3613052"/>
                <a:gd name="connsiteY3" fmla="*/ 2176910 h 2176910"/>
                <a:gd name="connsiteX4" fmla="*/ 0 w 3613052"/>
                <a:gd name="connsiteY4" fmla="*/ 0 h 2176910"/>
                <a:gd name="connsiteX5" fmla="*/ 1234766 w 3613052"/>
                <a:gd name="connsiteY5" fmla="*/ 0 h 2176910"/>
                <a:gd name="connsiteX6" fmla="*/ 1523675 w 3613052"/>
                <a:gd name="connsiteY6" fmla="*/ 500706 h 2176910"/>
                <a:gd name="connsiteX7" fmla="*/ 652910 w 3613052"/>
                <a:gd name="connsiteY7" fmla="*/ 500706 h 2176910"/>
                <a:gd name="connsiteX8" fmla="*/ 652910 w 3613052"/>
                <a:gd name="connsiteY8" fmla="*/ 859953 h 2176910"/>
                <a:gd name="connsiteX9" fmla="*/ 1440050 w 3613052"/>
                <a:gd name="connsiteY9" fmla="*/ 859953 h 2176910"/>
                <a:gd name="connsiteX10" fmla="*/ 1440050 w 3613052"/>
                <a:gd name="connsiteY10" fmla="*/ 1317022 h 2176910"/>
                <a:gd name="connsiteX11" fmla="*/ 652910 w 3613052"/>
                <a:gd name="connsiteY11" fmla="*/ 1317022 h 2176910"/>
                <a:gd name="connsiteX12" fmla="*/ 652910 w 3613052"/>
                <a:gd name="connsiteY12" fmla="*/ 1676205 h 2176910"/>
                <a:gd name="connsiteX13" fmla="*/ 2900485 w 3613052"/>
                <a:gd name="connsiteY13" fmla="*/ 0 h 2176910"/>
                <a:gd name="connsiteX14" fmla="*/ 2530687 w 3613052"/>
                <a:gd name="connsiteY14" fmla="*/ 710418 h 2176910"/>
                <a:gd name="connsiteX15" fmla="*/ 2161801 w 3613052"/>
                <a:gd name="connsiteY15" fmla="*/ 0 h 2176910"/>
                <a:gd name="connsiteX16" fmla="*/ 1439985 w 3613052"/>
                <a:gd name="connsiteY16" fmla="*/ 0 h 2176910"/>
                <a:gd name="connsiteX17" fmla="*/ 2200552 w 3613052"/>
                <a:gd name="connsiteY17" fmla="*/ 1317022 h 2176910"/>
                <a:gd name="connsiteX18" fmla="*/ 2200552 w 3613052"/>
                <a:gd name="connsiteY18" fmla="*/ 2176910 h 2176910"/>
                <a:gd name="connsiteX19" fmla="*/ 2851443 w 3613052"/>
                <a:gd name="connsiteY19" fmla="*/ 2176910 h 2176910"/>
                <a:gd name="connsiteX20" fmla="*/ 2851443 w 3613052"/>
                <a:gd name="connsiteY20" fmla="*/ 1317022 h 2176910"/>
                <a:gd name="connsiteX21" fmla="*/ 3613053 w 3613052"/>
                <a:gd name="connsiteY21" fmla="*/ 0 h 2176910"/>
                <a:gd name="connsiteX22" fmla="*/ 2900485 w 3613052"/>
                <a:gd name="connsiteY22" fmla="*/ 0 h 2176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613052" h="2176910">
                  <a:moveTo>
                    <a:pt x="652845" y="1676205"/>
                  </a:moveTo>
                  <a:lnTo>
                    <a:pt x="1741463" y="1676205"/>
                  </a:lnTo>
                  <a:lnTo>
                    <a:pt x="1741463" y="2176910"/>
                  </a:lnTo>
                  <a:lnTo>
                    <a:pt x="0" y="2176910"/>
                  </a:lnTo>
                  <a:lnTo>
                    <a:pt x="0" y="0"/>
                  </a:lnTo>
                  <a:lnTo>
                    <a:pt x="1234766" y="0"/>
                  </a:lnTo>
                  <a:lnTo>
                    <a:pt x="1523675" y="500706"/>
                  </a:lnTo>
                  <a:lnTo>
                    <a:pt x="652910" y="500706"/>
                  </a:lnTo>
                  <a:lnTo>
                    <a:pt x="652910" y="859953"/>
                  </a:lnTo>
                  <a:lnTo>
                    <a:pt x="1440050" y="859953"/>
                  </a:lnTo>
                  <a:lnTo>
                    <a:pt x="1440050" y="1317022"/>
                  </a:lnTo>
                  <a:lnTo>
                    <a:pt x="652910" y="1317022"/>
                  </a:lnTo>
                  <a:lnTo>
                    <a:pt x="652910" y="1676205"/>
                  </a:lnTo>
                  <a:close/>
                  <a:moveTo>
                    <a:pt x="2900485" y="0"/>
                  </a:moveTo>
                  <a:lnTo>
                    <a:pt x="2530687" y="710418"/>
                  </a:lnTo>
                  <a:lnTo>
                    <a:pt x="2161801" y="0"/>
                  </a:lnTo>
                  <a:lnTo>
                    <a:pt x="1439985" y="0"/>
                  </a:lnTo>
                  <a:lnTo>
                    <a:pt x="2200552" y="1317022"/>
                  </a:lnTo>
                  <a:lnTo>
                    <a:pt x="2200552" y="2176910"/>
                  </a:lnTo>
                  <a:lnTo>
                    <a:pt x="2851443" y="2176910"/>
                  </a:lnTo>
                  <a:lnTo>
                    <a:pt x="2851443" y="1317022"/>
                  </a:lnTo>
                  <a:lnTo>
                    <a:pt x="3613053" y="0"/>
                  </a:lnTo>
                  <a:lnTo>
                    <a:pt x="2900485" y="0"/>
                  </a:lnTo>
                  <a:close/>
                </a:path>
              </a:pathLst>
            </a:custGeom>
            <a:solidFill>
              <a:srgbClr val="FFFFFF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A455015A-145D-7CF9-4597-672713F8B4A9}"/>
                </a:ext>
              </a:extLst>
            </p:cNvPr>
            <p:cNvSpPr/>
            <p:nvPr/>
          </p:nvSpPr>
          <p:spPr>
            <a:xfrm>
              <a:off x="3913438" y="5111711"/>
              <a:ext cx="6512821" cy="1648590"/>
            </a:xfrm>
            <a:custGeom>
              <a:avLst/>
              <a:gdLst>
                <a:gd name="connsiteX0" fmla="*/ 5071143 w 6512821"/>
                <a:gd name="connsiteY0" fmla="*/ 1396740 h 1648590"/>
                <a:gd name="connsiteX1" fmla="*/ 5069124 w 6512821"/>
                <a:gd name="connsiteY1" fmla="*/ 1438552 h 1648590"/>
                <a:gd name="connsiteX2" fmla="*/ 4777545 w 6512821"/>
                <a:gd name="connsiteY2" fmla="*/ 1438552 h 1648590"/>
                <a:gd name="connsiteX3" fmla="*/ 4880513 w 6512821"/>
                <a:gd name="connsiteY3" fmla="*/ 1533378 h 1648590"/>
                <a:gd name="connsiteX4" fmla="*/ 4964137 w 6512821"/>
                <a:gd name="connsiteY4" fmla="*/ 1499707 h 1648590"/>
                <a:gd name="connsiteX5" fmla="*/ 5049781 w 6512821"/>
                <a:gd name="connsiteY5" fmla="*/ 1572065 h 1648590"/>
                <a:gd name="connsiteX6" fmla="*/ 4875433 w 6512821"/>
                <a:gd name="connsiteY6" fmla="*/ 1648525 h 1648590"/>
                <a:gd name="connsiteX7" fmla="*/ 4654192 w 6512821"/>
                <a:gd name="connsiteY7" fmla="*/ 1398759 h 1648590"/>
                <a:gd name="connsiteX8" fmla="*/ 4867292 w 6512821"/>
                <a:gd name="connsiteY8" fmla="*/ 1146908 h 1648590"/>
                <a:gd name="connsiteX9" fmla="*/ 5071208 w 6512821"/>
                <a:gd name="connsiteY9" fmla="*/ 1396675 h 1648590"/>
                <a:gd name="connsiteX10" fmla="*/ 4779564 w 6512821"/>
                <a:gd name="connsiteY10" fmla="*/ 1344767 h 1648590"/>
                <a:gd name="connsiteX11" fmla="*/ 4950851 w 6512821"/>
                <a:gd name="connsiteY11" fmla="*/ 1344767 h 1648590"/>
                <a:gd name="connsiteX12" fmla="*/ 4863189 w 6512821"/>
                <a:gd name="connsiteY12" fmla="*/ 1254044 h 1648590"/>
                <a:gd name="connsiteX13" fmla="*/ 4779564 w 6512821"/>
                <a:gd name="connsiteY13" fmla="*/ 1344767 h 1648590"/>
                <a:gd name="connsiteX14" fmla="*/ 6512756 w 6512821"/>
                <a:gd name="connsiteY14" fmla="*/ 1396740 h 1648590"/>
                <a:gd name="connsiteX15" fmla="*/ 6510737 w 6512821"/>
                <a:gd name="connsiteY15" fmla="*/ 1438552 h 1648590"/>
                <a:gd name="connsiteX16" fmla="*/ 6219158 w 6512821"/>
                <a:gd name="connsiteY16" fmla="*/ 1438552 h 1648590"/>
                <a:gd name="connsiteX17" fmla="*/ 6322126 w 6512821"/>
                <a:gd name="connsiteY17" fmla="*/ 1533378 h 1648590"/>
                <a:gd name="connsiteX18" fmla="*/ 6405751 w 6512821"/>
                <a:gd name="connsiteY18" fmla="*/ 1499707 h 1648590"/>
                <a:gd name="connsiteX19" fmla="*/ 6491394 w 6512821"/>
                <a:gd name="connsiteY19" fmla="*/ 1572065 h 1648590"/>
                <a:gd name="connsiteX20" fmla="*/ 6317046 w 6512821"/>
                <a:gd name="connsiteY20" fmla="*/ 1648525 h 1648590"/>
                <a:gd name="connsiteX21" fmla="*/ 6095805 w 6512821"/>
                <a:gd name="connsiteY21" fmla="*/ 1398759 h 1648590"/>
                <a:gd name="connsiteX22" fmla="*/ 6308905 w 6512821"/>
                <a:gd name="connsiteY22" fmla="*/ 1146908 h 1648590"/>
                <a:gd name="connsiteX23" fmla="*/ 6512821 w 6512821"/>
                <a:gd name="connsiteY23" fmla="*/ 1396675 h 1648590"/>
                <a:gd name="connsiteX24" fmla="*/ 6221177 w 6512821"/>
                <a:gd name="connsiteY24" fmla="*/ 1344767 h 1648590"/>
                <a:gd name="connsiteX25" fmla="*/ 6392465 w 6512821"/>
                <a:gd name="connsiteY25" fmla="*/ 1344767 h 1648590"/>
                <a:gd name="connsiteX26" fmla="*/ 6304802 w 6512821"/>
                <a:gd name="connsiteY26" fmla="*/ 1254044 h 1648590"/>
                <a:gd name="connsiteX27" fmla="*/ 6221177 w 6512821"/>
                <a:gd name="connsiteY27" fmla="*/ 1344767 h 1648590"/>
                <a:gd name="connsiteX28" fmla="*/ 5978509 w 6512821"/>
                <a:gd name="connsiteY28" fmla="*/ 1467143 h 1648590"/>
                <a:gd name="connsiteX29" fmla="*/ 6058031 w 6512821"/>
                <a:gd name="connsiteY29" fmla="*/ 1542561 h 1648590"/>
                <a:gd name="connsiteX30" fmla="*/ 5866359 w 6512821"/>
                <a:gd name="connsiteY30" fmla="*/ 1648590 h 1648590"/>
                <a:gd name="connsiteX31" fmla="*/ 5637954 w 6512821"/>
                <a:gd name="connsiteY31" fmla="*/ 1398823 h 1648590"/>
                <a:gd name="connsiteX32" fmla="*/ 5868378 w 6512821"/>
                <a:gd name="connsiteY32" fmla="*/ 1146973 h 1648590"/>
                <a:gd name="connsiteX33" fmla="*/ 6056989 w 6512821"/>
                <a:gd name="connsiteY33" fmla="*/ 1250983 h 1648590"/>
                <a:gd name="connsiteX34" fmla="*/ 5975448 w 6512821"/>
                <a:gd name="connsiteY34" fmla="*/ 1333565 h 1648590"/>
                <a:gd name="connsiteX35" fmla="*/ 5867401 w 6512821"/>
                <a:gd name="connsiteY35" fmla="*/ 1266288 h 1648590"/>
                <a:gd name="connsiteX36" fmla="*/ 5766452 w 6512821"/>
                <a:gd name="connsiteY36" fmla="*/ 1396804 h 1648590"/>
                <a:gd name="connsiteX37" fmla="*/ 5868378 w 6512821"/>
                <a:gd name="connsiteY37" fmla="*/ 1528299 h 1648590"/>
                <a:gd name="connsiteX38" fmla="*/ 5978509 w 6512821"/>
                <a:gd name="connsiteY38" fmla="*/ 1467143 h 1648590"/>
                <a:gd name="connsiteX39" fmla="*/ 4869246 w 6512821"/>
                <a:gd name="connsiteY39" fmla="*/ 667825 h 1648590"/>
                <a:gd name="connsiteX40" fmla="*/ 4750973 w 6512821"/>
                <a:gd name="connsiteY40" fmla="*/ 667825 h 1648590"/>
                <a:gd name="connsiteX41" fmla="*/ 4750973 w 6512821"/>
                <a:gd name="connsiteY41" fmla="*/ 634153 h 1648590"/>
                <a:gd name="connsiteX42" fmla="*/ 4638822 w 6512821"/>
                <a:gd name="connsiteY42" fmla="*/ 677984 h 1648590"/>
                <a:gd name="connsiteX43" fmla="*/ 4467535 w 6512821"/>
                <a:gd name="connsiteY43" fmla="*/ 458763 h 1648590"/>
                <a:gd name="connsiteX44" fmla="*/ 4467535 w 6512821"/>
                <a:gd name="connsiteY44" fmla="*/ 186527 h 1648590"/>
                <a:gd name="connsiteX45" fmla="*/ 4587827 w 6512821"/>
                <a:gd name="connsiteY45" fmla="*/ 186527 h 1648590"/>
                <a:gd name="connsiteX46" fmla="*/ 4587827 w 6512821"/>
                <a:gd name="connsiteY46" fmla="*/ 448538 h 1648590"/>
                <a:gd name="connsiteX47" fmla="*/ 4668390 w 6512821"/>
                <a:gd name="connsiteY47" fmla="*/ 562708 h 1648590"/>
                <a:gd name="connsiteX48" fmla="*/ 4748954 w 6512821"/>
                <a:gd name="connsiteY48" fmla="*/ 452576 h 1648590"/>
                <a:gd name="connsiteX49" fmla="*/ 4748954 w 6512821"/>
                <a:gd name="connsiteY49" fmla="*/ 186462 h 1648590"/>
                <a:gd name="connsiteX50" fmla="*/ 4869246 w 6512821"/>
                <a:gd name="connsiteY50" fmla="*/ 186462 h 1648590"/>
                <a:gd name="connsiteX51" fmla="*/ 4869246 w 6512821"/>
                <a:gd name="connsiteY51" fmla="*/ 667695 h 1648590"/>
                <a:gd name="connsiteX52" fmla="*/ 5244449 w 6512821"/>
                <a:gd name="connsiteY52" fmla="*/ 527083 h 1648590"/>
                <a:gd name="connsiteX53" fmla="*/ 5227125 w 6512821"/>
                <a:gd name="connsiteY53" fmla="*/ 649458 h 1648590"/>
                <a:gd name="connsiteX54" fmla="*/ 5128261 w 6512821"/>
                <a:gd name="connsiteY54" fmla="*/ 677984 h 1648590"/>
                <a:gd name="connsiteX55" fmla="*/ 4997744 w 6512821"/>
                <a:gd name="connsiteY55" fmla="*/ 535224 h 1648590"/>
                <a:gd name="connsiteX56" fmla="*/ 4997744 w 6512821"/>
                <a:gd name="connsiteY56" fmla="*/ 301739 h 1648590"/>
                <a:gd name="connsiteX57" fmla="*/ 4928447 w 6512821"/>
                <a:gd name="connsiteY57" fmla="*/ 301739 h 1648590"/>
                <a:gd name="connsiteX58" fmla="*/ 4928447 w 6512821"/>
                <a:gd name="connsiteY58" fmla="*/ 186527 h 1648590"/>
                <a:gd name="connsiteX59" fmla="*/ 4997744 w 6512821"/>
                <a:gd name="connsiteY59" fmla="*/ 186527 h 1648590"/>
                <a:gd name="connsiteX60" fmla="*/ 4997744 w 6512821"/>
                <a:gd name="connsiteY60" fmla="*/ 61155 h 1648590"/>
                <a:gd name="connsiteX61" fmla="*/ 5118035 w 6512821"/>
                <a:gd name="connsiteY61" fmla="*/ 0 h 1648590"/>
                <a:gd name="connsiteX62" fmla="*/ 5118035 w 6512821"/>
                <a:gd name="connsiteY62" fmla="*/ 186592 h 1648590"/>
                <a:gd name="connsiteX63" fmla="*/ 5232205 w 6512821"/>
                <a:gd name="connsiteY63" fmla="*/ 186592 h 1648590"/>
                <a:gd name="connsiteX64" fmla="*/ 5232205 w 6512821"/>
                <a:gd name="connsiteY64" fmla="*/ 301804 h 1648590"/>
                <a:gd name="connsiteX65" fmla="*/ 5118035 w 6512821"/>
                <a:gd name="connsiteY65" fmla="*/ 301804 h 1648590"/>
                <a:gd name="connsiteX66" fmla="*/ 5118035 w 6512821"/>
                <a:gd name="connsiteY66" fmla="*/ 503701 h 1648590"/>
                <a:gd name="connsiteX67" fmla="*/ 5164928 w 6512821"/>
                <a:gd name="connsiteY67" fmla="*/ 560819 h 1648590"/>
                <a:gd name="connsiteX68" fmla="*/ 5244449 w 6512821"/>
                <a:gd name="connsiteY68" fmla="*/ 527148 h 1648590"/>
                <a:gd name="connsiteX69" fmla="*/ 3417407 w 6512821"/>
                <a:gd name="connsiteY69" fmla="*/ 667825 h 1648590"/>
                <a:gd name="connsiteX70" fmla="*/ 3297116 w 6512821"/>
                <a:gd name="connsiteY70" fmla="*/ 667825 h 1648590"/>
                <a:gd name="connsiteX71" fmla="*/ 3297116 w 6512821"/>
                <a:gd name="connsiteY71" fmla="*/ 405814 h 1648590"/>
                <a:gd name="connsiteX72" fmla="*/ 3215575 w 6512821"/>
                <a:gd name="connsiteY72" fmla="*/ 292621 h 1648590"/>
                <a:gd name="connsiteX73" fmla="*/ 3132993 w 6512821"/>
                <a:gd name="connsiteY73" fmla="*/ 402753 h 1648590"/>
                <a:gd name="connsiteX74" fmla="*/ 3132993 w 6512821"/>
                <a:gd name="connsiteY74" fmla="*/ 667825 h 1648590"/>
                <a:gd name="connsiteX75" fmla="*/ 3012701 w 6512821"/>
                <a:gd name="connsiteY75" fmla="*/ 667825 h 1648590"/>
                <a:gd name="connsiteX76" fmla="*/ 3012701 w 6512821"/>
                <a:gd name="connsiteY76" fmla="*/ 61221 h 1648590"/>
                <a:gd name="connsiteX77" fmla="*/ 3132993 w 6512821"/>
                <a:gd name="connsiteY77" fmla="*/ 65 h 1648590"/>
                <a:gd name="connsiteX78" fmla="*/ 3132993 w 6512821"/>
                <a:gd name="connsiteY78" fmla="*/ 220264 h 1648590"/>
                <a:gd name="connsiteX79" fmla="*/ 3246186 w 6512821"/>
                <a:gd name="connsiteY79" fmla="*/ 176432 h 1648590"/>
                <a:gd name="connsiteX80" fmla="*/ 3417473 w 6512821"/>
                <a:gd name="connsiteY80" fmla="*/ 396631 h 1648590"/>
                <a:gd name="connsiteX81" fmla="*/ 3417473 w 6512821"/>
                <a:gd name="connsiteY81" fmla="*/ 667825 h 1648590"/>
                <a:gd name="connsiteX82" fmla="*/ 5564554 w 6512821"/>
                <a:gd name="connsiteY82" fmla="*/ 1638365 h 1648590"/>
                <a:gd name="connsiteX83" fmla="*/ 5440160 w 6512821"/>
                <a:gd name="connsiteY83" fmla="*/ 1638365 h 1648590"/>
                <a:gd name="connsiteX84" fmla="*/ 5440160 w 6512821"/>
                <a:gd name="connsiteY84" fmla="*/ 1376355 h 1648590"/>
                <a:gd name="connsiteX85" fmla="*/ 5357577 w 6512821"/>
                <a:gd name="connsiteY85" fmla="*/ 1264204 h 1648590"/>
                <a:gd name="connsiteX86" fmla="*/ 5273952 w 6512821"/>
                <a:gd name="connsiteY86" fmla="*/ 1373293 h 1648590"/>
                <a:gd name="connsiteX87" fmla="*/ 5273952 w 6512821"/>
                <a:gd name="connsiteY87" fmla="*/ 1638365 h 1648590"/>
                <a:gd name="connsiteX88" fmla="*/ 5149558 w 6512821"/>
                <a:gd name="connsiteY88" fmla="*/ 1638365 h 1648590"/>
                <a:gd name="connsiteX89" fmla="*/ 5149558 w 6512821"/>
                <a:gd name="connsiteY89" fmla="*/ 1157133 h 1648590"/>
                <a:gd name="connsiteX90" fmla="*/ 5273952 w 6512821"/>
                <a:gd name="connsiteY90" fmla="*/ 1157133 h 1648590"/>
                <a:gd name="connsiteX91" fmla="*/ 5273952 w 6512821"/>
                <a:gd name="connsiteY91" fmla="*/ 1189762 h 1648590"/>
                <a:gd name="connsiteX92" fmla="*/ 5391183 w 6512821"/>
                <a:gd name="connsiteY92" fmla="*/ 1146973 h 1648590"/>
                <a:gd name="connsiteX93" fmla="*/ 5564490 w 6512821"/>
                <a:gd name="connsiteY93" fmla="*/ 1366195 h 1648590"/>
                <a:gd name="connsiteX94" fmla="*/ 5564490 w 6512821"/>
                <a:gd name="connsiteY94" fmla="*/ 1638430 h 1648590"/>
                <a:gd name="connsiteX95" fmla="*/ 4008772 w 6512821"/>
                <a:gd name="connsiteY95" fmla="*/ 1115386 h 1648590"/>
                <a:gd name="connsiteX96" fmla="*/ 4080152 w 6512821"/>
                <a:gd name="connsiteY96" fmla="*/ 1044005 h 1648590"/>
                <a:gd name="connsiteX97" fmla="*/ 4008772 w 6512821"/>
                <a:gd name="connsiteY97" fmla="*/ 972624 h 1648590"/>
                <a:gd name="connsiteX98" fmla="*/ 3937391 w 6512821"/>
                <a:gd name="connsiteY98" fmla="*/ 1044005 h 1648590"/>
                <a:gd name="connsiteX99" fmla="*/ 4008772 w 6512821"/>
                <a:gd name="connsiteY99" fmla="*/ 1115386 h 1648590"/>
                <a:gd name="connsiteX100" fmla="*/ 829864 w 6512821"/>
                <a:gd name="connsiteY100" fmla="*/ 1115386 h 1648590"/>
                <a:gd name="connsiteX101" fmla="*/ 901244 w 6512821"/>
                <a:gd name="connsiteY101" fmla="*/ 1044005 h 1648590"/>
                <a:gd name="connsiteX102" fmla="*/ 829864 w 6512821"/>
                <a:gd name="connsiteY102" fmla="*/ 972624 h 1648590"/>
                <a:gd name="connsiteX103" fmla="*/ 758483 w 6512821"/>
                <a:gd name="connsiteY103" fmla="*/ 1044005 h 1648590"/>
                <a:gd name="connsiteX104" fmla="*/ 829864 w 6512821"/>
                <a:gd name="connsiteY104" fmla="*/ 1115386 h 1648590"/>
                <a:gd name="connsiteX105" fmla="*/ 6512756 w 6512821"/>
                <a:gd name="connsiteY105" fmla="*/ 426134 h 1648590"/>
                <a:gd name="connsiteX106" fmla="*/ 6510737 w 6512821"/>
                <a:gd name="connsiteY106" fmla="*/ 467946 h 1648590"/>
                <a:gd name="connsiteX107" fmla="*/ 6219158 w 6512821"/>
                <a:gd name="connsiteY107" fmla="*/ 467946 h 1648590"/>
                <a:gd name="connsiteX108" fmla="*/ 6322126 w 6512821"/>
                <a:gd name="connsiteY108" fmla="*/ 562773 h 1648590"/>
                <a:gd name="connsiteX109" fmla="*/ 6405751 w 6512821"/>
                <a:gd name="connsiteY109" fmla="*/ 529102 h 1648590"/>
                <a:gd name="connsiteX110" fmla="*/ 6491394 w 6512821"/>
                <a:gd name="connsiteY110" fmla="*/ 601459 h 1648590"/>
                <a:gd name="connsiteX111" fmla="*/ 6317046 w 6512821"/>
                <a:gd name="connsiteY111" fmla="*/ 677919 h 1648590"/>
                <a:gd name="connsiteX112" fmla="*/ 6095805 w 6512821"/>
                <a:gd name="connsiteY112" fmla="*/ 428153 h 1648590"/>
                <a:gd name="connsiteX113" fmla="*/ 6308905 w 6512821"/>
                <a:gd name="connsiteY113" fmla="*/ 176302 h 1648590"/>
                <a:gd name="connsiteX114" fmla="*/ 6512821 w 6512821"/>
                <a:gd name="connsiteY114" fmla="*/ 426069 h 1648590"/>
                <a:gd name="connsiteX115" fmla="*/ 6221177 w 6512821"/>
                <a:gd name="connsiteY115" fmla="*/ 374162 h 1648590"/>
                <a:gd name="connsiteX116" fmla="*/ 6392465 w 6512821"/>
                <a:gd name="connsiteY116" fmla="*/ 374162 h 1648590"/>
                <a:gd name="connsiteX117" fmla="*/ 6304802 w 6512821"/>
                <a:gd name="connsiteY117" fmla="*/ 283438 h 1648590"/>
                <a:gd name="connsiteX118" fmla="*/ 6221177 w 6512821"/>
                <a:gd name="connsiteY118" fmla="*/ 374162 h 1648590"/>
                <a:gd name="connsiteX119" fmla="*/ 5702235 w 6512821"/>
                <a:gd name="connsiteY119" fmla="*/ 667825 h 1648590"/>
                <a:gd name="connsiteX120" fmla="*/ 5583963 w 6512821"/>
                <a:gd name="connsiteY120" fmla="*/ 667825 h 1648590"/>
                <a:gd name="connsiteX121" fmla="*/ 5583963 w 6512821"/>
                <a:gd name="connsiteY121" fmla="*/ 634153 h 1648590"/>
                <a:gd name="connsiteX122" fmla="*/ 5471812 w 6512821"/>
                <a:gd name="connsiteY122" fmla="*/ 677984 h 1648590"/>
                <a:gd name="connsiteX123" fmla="*/ 5300525 w 6512821"/>
                <a:gd name="connsiteY123" fmla="*/ 458763 h 1648590"/>
                <a:gd name="connsiteX124" fmla="*/ 5300525 w 6512821"/>
                <a:gd name="connsiteY124" fmla="*/ 186527 h 1648590"/>
                <a:gd name="connsiteX125" fmla="*/ 5420817 w 6512821"/>
                <a:gd name="connsiteY125" fmla="*/ 186527 h 1648590"/>
                <a:gd name="connsiteX126" fmla="*/ 5420817 w 6512821"/>
                <a:gd name="connsiteY126" fmla="*/ 448538 h 1648590"/>
                <a:gd name="connsiteX127" fmla="*/ 5501380 w 6512821"/>
                <a:gd name="connsiteY127" fmla="*/ 562708 h 1648590"/>
                <a:gd name="connsiteX128" fmla="*/ 5581944 w 6512821"/>
                <a:gd name="connsiteY128" fmla="*/ 452576 h 1648590"/>
                <a:gd name="connsiteX129" fmla="*/ 5581944 w 6512821"/>
                <a:gd name="connsiteY129" fmla="*/ 186462 h 1648590"/>
                <a:gd name="connsiteX130" fmla="*/ 5702235 w 6512821"/>
                <a:gd name="connsiteY130" fmla="*/ 186462 h 1648590"/>
                <a:gd name="connsiteX131" fmla="*/ 5702235 w 6512821"/>
                <a:gd name="connsiteY131" fmla="*/ 667695 h 1648590"/>
                <a:gd name="connsiteX132" fmla="*/ 3895579 w 6512821"/>
                <a:gd name="connsiteY132" fmla="*/ 426134 h 1648590"/>
                <a:gd name="connsiteX133" fmla="*/ 3893560 w 6512821"/>
                <a:gd name="connsiteY133" fmla="*/ 467946 h 1648590"/>
                <a:gd name="connsiteX134" fmla="*/ 3601981 w 6512821"/>
                <a:gd name="connsiteY134" fmla="*/ 467946 h 1648590"/>
                <a:gd name="connsiteX135" fmla="*/ 3704949 w 6512821"/>
                <a:gd name="connsiteY135" fmla="*/ 562773 h 1648590"/>
                <a:gd name="connsiteX136" fmla="*/ 3788573 w 6512821"/>
                <a:gd name="connsiteY136" fmla="*/ 529102 h 1648590"/>
                <a:gd name="connsiteX137" fmla="*/ 3874217 w 6512821"/>
                <a:gd name="connsiteY137" fmla="*/ 601459 h 1648590"/>
                <a:gd name="connsiteX138" fmla="*/ 3699868 w 6512821"/>
                <a:gd name="connsiteY138" fmla="*/ 677919 h 1648590"/>
                <a:gd name="connsiteX139" fmla="*/ 3478628 w 6512821"/>
                <a:gd name="connsiteY139" fmla="*/ 428153 h 1648590"/>
                <a:gd name="connsiteX140" fmla="*/ 3691727 w 6512821"/>
                <a:gd name="connsiteY140" fmla="*/ 176302 h 1648590"/>
                <a:gd name="connsiteX141" fmla="*/ 3895644 w 6512821"/>
                <a:gd name="connsiteY141" fmla="*/ 426069 h 1648590"/>
                <a:gd name="connsiteX142" fmla="*/ 3604000 w 6512821"/>
                <a:gd name="connsiteY142" fmla="*/ 374162 h 1648590"/>
                <a:gd name="connsiteX143" fmla="*/ 3775287 w 6512821"/>
                <a:gd name="connsiteY143" fmla="*/ 374162 h 1648590"/>
                <a:gd name="connsiteX144" fmla="*/ 3687624 w 6512821"/>
                <a:gd name="connsiteY144" fmla="*/ 283438 h 1648590"/>
                <a:gd name="connsiteX145" fmla="*/ 3604000 w 6512821"/>
                <a:gd name="connsiteY145" fmla="*/ 374162 h 1648590"/>
                <a:gd name="connsiteX146" fmla="*/ 4579686 w 6512821"/>
                <a:gd name="connsiteY146" fmla="*/ 1638365 h 1648590"/>
                <a:gd name="connsiteX147" fmla="*/ 4455291 w 6512821"/>
                <a:gd name="connsiteY147" fmla="*/ 1638365 h 1648590"/>
                <a:gd name="connsiteX148" fmla="*/ 4455291 w 6512821"/>
                <a:gd name="connsiteY148" fmla="*/ 1606778 h 1648590"/>
                <a:gd name="connsiteX149" fmla="*/ 4346201 w 6512821"/>
                <a:gd name="connsiteY149" fmla="*/ 1648590 h 1648590"/>
                <a:gd name="connsiteX150" fmla="*/ 4148406 w 6512821"/>
                <a:gd name="connsiteY150" fmla="*/ 1393678 h 1648590"/>
                <a:gd name="connsiteX151" fmla="*/ 4343140 w 6512821"/>
                <a:gd name="connsiteY151" fmla="*/ 1146973 h 1648590"/>
                <a:gd name="connsiteX152" fmla="*/ 4455291 w 6512821"/>
                <a:gd name="connsiteY152" fmla="*/ 1185724 h 1648590"/>
                <a:gd name="connsiteX153" fmla="*/ 4455291 w 6512821"/>
                <a:gd name="connsiteY153" fmla="*/ 1031761 h 1648590"/>
                <a:gd name="connsiteX154" fmla="*/ 4579686 w 6512821"/>
                <a:gd name="connsiteY154" fmla="*/ 969564 h 1648590"/>
                <a:gd name="connsiteX155" fmla="*/ 4579686 w 6512821"/>
                <a:gd name="connsiteY155" fmla="*/ 1638365 h 1648590"/>
                <a:gd name="connsiteX156" fmla="*/ 4455356 w 6512821"/>
                <a:gd name="connsiteY156" fmla="*/ 1489547 h 1648590"/>
                <a:gd name="connsiteX157" fmla="*/ 4455356 w 6512821"/>
                <a:gd name="connsiteY157" fmla="*/ 1306016 h 1648590"/>
                <a:gd name="connsiteX158" fmla="*/ 4368670 w 6512821"/>
                <a:gd name="connsiteY158" fmla="*/ 1264204 h 1648590"/>
                <a:gd name="connsiteX159" fmla="*/ 4278924 w 6512821"/>
                <a:gd name="connsiteY159" fmla="*/ 1389575 h 1648590"/>
                <a:gd name="connsiteX160" fmla="*/ 4371731 w 6512821"/>
                <a:gd name="connsiteY160" fmla="*/ 1531294 h 1648590"/>
                <a:gd name="connsiteX161" fmla="*/ 4455356 w 6512821"/>
                <a:gd name="connsiteY161" fmla="*/ 1489482 h 1648590"/>
                <a:gd name="connsiteX162" fmla="*/ 3945532 w 6512821"/>
                <a:gd name="connsiteY162" fmla="*/ 1157198 h 1648590"/>
                <a:gd name="connsiteX163" fmla="*/ 3945532 w 6512821"/>
                <a:gd name="connsiteY163" fmla="*/ 1638430 h 1648590"/>
                <a:gd name="connsiteX164" fmla="*/ 4069927 w 6512821"/>
                <a:gd name="connsiteY164" fmla="*/ 1638430 h 1648590"/>
                <a:gd name="connsiteX165" fmla="*/ 4069927 w 6512821"/>
                <a:gd name="connsiteY165" fmla="*/ 1157198 h 1648590"/>
                <a:gd name="connsiteX166" fmla="*/ 3945532 w 6512821"/>
                <a:gd name="connsiteY166" fmla="*/ 1157198 h 1648590"/>
                <a:gd name="connsiteX167" fmla="*/ 3873175 w 6512821"/>
                <a:gd name="connsiteY167" fmla="*/ 985911 h 1648590"/>
                <a:gd name="connsiteX168" fmla="*/ 3873175 w 6512821"/>
                <a:gd name="connsiteY168" fmla="*/ 1085817 h 1648590"/>
                <a:gd name="connsiteX169" fmla="*/ 3812019 w 6512821"/>
                <a:gd name="connsiteY169" fmla="*/ 1076634 h 1648590"/>
                <a:gd name="connsiteX170" fmla="*/ 3760047 w 6512821"/>
                <a:gd name="connsiteY170" fmla="*/ 1118447 h 1648590"/>
                <a:gd name="connsiteX171" fmla="*/ 3760047 w 6512821"/>
                <a:gd name="connsiteY171" fmla="*/ 1157198 h 1648590"/>
                <a:gd name="connsiteX172" fmla="*/ 3863015 w 6512821"/>
                <a:gd name="connsiteY172" fmla="*/ 1157198 h 1648590"/>
                <a:gd name="connsiteX173" fmla="*/ 3863015 w 6512821"/>
                <a:gd name="connsiteY173" fmla="*/ 1273452 h 1648590"/>
                <a:gd name="connsiteX174" fmla="*/ 3760047 w 6512821"/>
                <a:gd name="connsiteY174" fmla="*/ 1273452 h 1648590"/>
                <a:gd name="connsiteX175" fmla="*/ 3760047 w 6512821"/>
                <a:gd name="connsiteY175" fmla="*/ 1638430 h 1648590"/>
                <a:gd name="connsiteX176" fmla="*/ 3635652 w 6512821"/>
                <a:gd name="connsiteY176" fmla="*/ 1638430 h 1648590"/>
                <a:gd name="connsiteX177" fmla="*/ 3635652 w 6512821"/>
                <a:gd name="connsiteY177" fmla="*/ 1273452 h 1648590"/>
                <a:gd name="connsiteX178" fmla="*/ 3568375 w 6512821"/>
                <a:gd name="connsiteY178" fmla="*/ 1273452 h 1648590"/>
                <a:gd name="connsiteX179" fmla="*/ 3568375 w 6512821"/>
                <a:gd name="connsiteY179" fmla="*/ 1157198 h 1648590"/>
                <a:gd name="connsiteX180" fmla="*/ 3635652 w 6512821"/>
                <a:gd name="connsiteY180" fmla="*/ 1157198 h 1648590"/>
                <a:gd name="connsiteX181" fmla="*/ 3635652 w 6512821"/>
                <a:gd name="connsiteY181" fmla="*/ 1099104 h 1648590"/>
                <a:gd name="connsiteX182" fmla="*/ 3782451 w 6512821"/>
                <a:gd name="connsiteY182" fmla="*/ 972690 h 1648590"/>
                <a:gd name="connsiteX183" fmla="*/ 3873175 w 6512821"/>
                <a:gd name="connsiteY183" fmla="*/ 985976 h 1648590"/>
                <a:gd name="connsiteX184" fmla="*/ 3507154 w 6512821"/>
                <a:gd name="connsiteY184" fmla="*/ 1638365 h 1648590"/>
                <a:gd name="connsiteX185" fmla="*/ 3382759 w 6512821"/>
                <a:gd name="connsiteY185" fmla="*/ 1638365 h 1648590"/>
                <a:gd name="connsiteX186" fmla="*/ 3382759 w 6512821"/>
                <a:gd name="connsiteY186" fmla="*/ 1376355 h 1648590"/>
                <a:gd name="connsiteX187" fmla="*/ 3300177 w 6512821"/>
                <a:gd name="connsiteY187" fmla="*/ 1264204 h 1648590"/>
                <a:gd name="connsiteX188" fmla="*/ 3216552 w 6512821"/>
                <a:gd name="connsiteY188" fmla="*/ 1373293 h 1648590"/>
                <a:gd name="connsiteX189" fmla="*/ 3216552 w 6512821"/>
                <a:gd name="connsiteY189" fmla="*/ 1638365 h 1648590"/>
                <a:gd name="connsiteX190" fmla="*/ 3092157 w 6512821"/>
                <a:gd name="connsiteY190" fmla="*/ 1638365 h 1648590"/>
                <a:gd name="connsiteX191" fmla="*/ 3092157 w 6512821"/>
                <a:gd name="connsiteY191" fmla="*/ 1157133 h 1648590"/>
                <a:gd name="connsiteX192" fmla="*/ 3216552 w 6512821"/>
                <a:gd name="connsiteY192" fmla="*/ 1157133 h 1648590"/>
                <a:gd name="connsiteX193" fmla="*/ 3216552 w 6512821"/>
                <a:gd name="connsiteY193" fmla="*/ 1189762 h 1648590"/>
                <a:gd name="connsiteX194" fmla="*/ 3333783 w 6512821"/>
                <a:gd name="connsiteY194" fmla="*/ 1146973 h 1648590"/>
                <a:gd name="connsiteX195" fmla="*/ 3507089 w 6512821"/>
                <a:gd name="connsiteY195" fmla="*/ 1366195 h 1648590"/>
                <a:gd name="connsiteX196" fmla="*/ 3507089 w 6512821"/>
                <a:gd name="connsiteY196" fmla="*/ 1638430 h 1648590"/>
                <a:gd name="connsiteX197" fmla="*/ 2792437 w 6512821"/>
                <a:gd name="connsiteY197" fmla="*/ 1146973 h 1648590"/>
                <a:gd name="connsiteX198" fmla="*/ 2567094 w 6512821"/>
                <a:gd name="connsiteY198" fmla="*/ 1397782 h 1648590"/>
                <a:gd name="connsiteX199" fmla="*/ 2792437 w 6512821"/>
                <a:gd name="connsiteY199" fmla="*/ 1648590 h 1648590"/>
                <a:gd name="connsiteX200" fmla="*/ 3017781 w 6512821"/>
                <a:gd name="connsiteY200" fmla="*/ 1397782 h 1648590"/>
                <a:gd name="connsiteX201" fmla="*/ 2792437 w 6512821"/>
                <a:gd name="connsiteY201" fmla="*/ 1146973 h 1648590"/>
                <a:gd name="connsiteX202" fmla="*/ 2792437 w 6512821"/>
                <a:gd name="connsiteY202" fmla="*/ 1528299 h 1648590"/>
                <a:gd name="connsiteX203" fmla="*/ 2695592 w 6512821"/>
                <a:gd name="connsiteY203" fmla="*/ 1397782 h 1648590"/>
                <a:gd name="connsiteX204" fmla="*/ 2792437 w 6512821"/>
                <a:gd name="connsiteY204" fmla="*/ 1266288 h 1648590"/>
                <a:gd name="connsiteX205" fmla="*/ 2889283 w 6512821"/>
                <a:gd name="connsiteY205" fmla="*/ 1397782 h 1648590"/>
                <a:gd name="connsiteX206" fmla="*/ 2792437 w 6512821"/>
                <a:gd name="connsiteY206" fmla="*/ 1528299 h 1648590"/>
                <a:gd name="connsiteX207" fmla="*/ 2446802 w 6512821"/>
                <a:gd name="connsiteY207" fmla="*/ 1467143 h 1648590"/>
                <a:gd name="connsiteX208" fmla="*/ 2526323 w 6512821"/>
                <a:gd name="connsiteY208" fmla="*/ 1542561 h 1648590"/>
                <a:gd name="connsiteX209" fmla="*/ 2334651 w 6512821"/>
                <a:gd name="connsiteY209" fmla="*/ 1648590 h 1648590"/>
                <a:gd name="connsiteX210" fmla="*/ 2106246 w 6512821"/>
                <a:gd name="connsiteY210" fmla="*/ 1398823 h 1648590"/>
                <a:gd name="connsiteX211" fmla="*/ 2336670 w 6512821"/>
                <a:gd name="connsiteY211" fmla="*/ 1146973 h 1648590"/>
                <a:gd name="connsiteX212" fmla="*/ 2525281 w 6512821"/>
                <a:gd name="connsiteY212" fmla="*/ 1250983 h 1648590"/>
                <a:gd name="connsiteX213" fmla="*/ 2443741 w 6512821"/>
                <a:gd name="connsiteY213" fmla="*/ 1333565 h 1648590"/>
                <a:gd name="connsiteX214" fmla="*/ 2335693 w 6512821"/>
                <a:gd name="connsiteY214" fmla="*/ 1266288 h 1648590"/>
                <a:gd name="connsiteX215" fmla="*/ 2234744 w 6512821"/>
                <a:gd name="connsiteY215" fmla="*/ 1396804 h 1648590"/>
                <a:gd name="connsiteX216" fmla="*/ 2336670 w 6512821"/>
                <a:gd name="connsiteY216" fmla="*/ 1528299 h 1648590"/>
                <a:gd name="connsiteX217" fmla="*/ 2446802 w 6512821"/>
                <a:gd name="connsiteY217" fmla="*/ 1467143 h 1648590"/>
                <a:gd name="connsiteX218" fmla="*/ 1803530 w 6512821"/>
                <a:gd name="connsiteY218" fmla="*/ 1638365 h 1648590"/>
                <a:gd name="connsiteX219" fmla="*/ 1679135 w 6512821"/>
                <a:gd name="connsiteY219" fmla="*/ 1638365 h 1648590"/>
                <a:gd name="connsiteX220" fmla="*/ 1679135 w 6512821"/>
                <a:gd name="connsiteY220" fmla="*/ 1376355 h 1648590"/>
                <a:gd name="connsiteX221" fmla="*/ 1596553 w 6512821"/>
                <a:gd name="connsiteY221" fmla="*/ 1264204 h 1648590"/>
                <a:gd name="connsiteX222" fmla="*/ 1511951 w 6512821"/>
                <a:gd name="connsiteY222" fmla="*/ 1373293 h 1648590"/>
                <a:gd name="connsiteX223" fmla="*/ 1511951 w 6512821"/>
                <a:gd name="connsiteY223" fmla="*/ 1638365 h 1648590"/>
                <a:gd name="connsiteX224" fmla="*/ 1387557 w 6512821"/>
                <a:gd name="connsiteY224" fmla="*/ 1638365 h 1648590"/>
                <a:gd name="connsiteX225" fmla="*/ 1387557 w 6512821"/>
                <a:gd name="connsiteY225" fmla="*/ 1031761 h 1648590"/>
                <a:gd name="connsiteX226" fmla="*/ 1511951 w 6512821"/>
                <a:gd name="connsiteY226" fmla="*/ 969564 h 1648590"/>
                <a:gd name="connsiteX227" fmla="*/ 1511951 w 6512821"/>
                <a:gd name="connsiteY227" fmla="*/ 1189762 h 1648590"/>
                <a:gd name="connsiteX228" fmla="*/ 1632243 w 6512821"/>
                <a:gd name="connsiteY228" fmla="*/ 1146973 h 1648590"/>
                <a:gd name="connsiteX229" fmla="*/ 1803530 w 6512821"/>
                <a:gd name="connsiteY229" fmla="*/ 1366195 h 1648590"/>
                <a:gd name="connsiteX230" fmla="*/ 1803530 w 6512821"/>
                <a:gd name="connsiteY230" fmla="*/ 1638430 h 1648590"/>
                <a:gd name="connsiteX231" fmla="*/ 1311031 w 6512821"/>
                <a:gd name="connsiteY231" fmla="*/ 1493650 h 1648590"/>
                <a:gd name="connsiteX232" fmla="*/ 1292665 w 6512821"/>
                <a:gd name="connsiteY232" fmla="*/ 1619022 h 1648590"/>
                <a:gd name="connsiteX233" fmla="*/ 1173350 w 6512821"/>
                <a:gd name="connsiteY233" fmla="*/ 1648590 h 1648590"/>
                <a:gd name="connsiteX234" fmla="*/ 1043875 w 6512821"/>
                <a:gd name="connsiteY234" fmla="*/ 1504852 h 1648590"/>
                <a:gd name="connsiteX235" fmla="*/ 1043875 w 6512821"/>
                <a:gd name="connsiteY235" fmla="*/ 1273387 h 1648590"/>
                <a:gd name="connsiteX236" fmla="*/ 960250 w 6512821"/>
                <a:gd name="connsiteY236" fmla="*/ 1273387 h 1648590"/>
                <a:gd name="connsiteX237" fmla="*/ 960250 w 6512821"/>
                <a:gd name="connsiteY237" fmla="*/ 1157133 h 1648590"/>
                <a:gd name="connsiteX238" fmla="*/ 1043875 w 6512821"/>
                <a:gd name="connsiteY238" fmla="*/ 1157133 h 1648590"/>
                <a:gd name="connsiteX239" fmla="*/ 1043875 w 6512821"/>
                <a:gd name="connsiteY239" fmla="*/ 1031761 h 1648590"/>
                <a:gd name="connsiteX240" fmla="*/ 1168270 w 6512821"/>
                <a:gd name="connsiteY240" fmla="*/ 969564 h 1648590"/>
                <a:gd name="connsiteX241" fmla="*/ 1168270 w 6512821"/>
                <a:gd name="connsiteY241" fmla="*/ 1157133 h 1648590"/>
                <a:gd name="connsiteX242" fmla="*/ 1308947 w 6512821"/>
                <a:gd name="connsiteY242" fmla="*/ 1157133 h 1648590"/>
                <a:gd name="connsiteX243" fmla="*/ 1308947 w 6512821"/>
                <a:gd name="connsiteY243" fmla="*/ 1273387 h 1648590"/>
                <a:gd name="connsiteX244" fmla="*/ 1168270 w 6512821"/>
                <a:gd name="connsiteY244" fmla="*/ 1273387 h 1648590"/>
                <a:gd name="connsiteX245" fmla="*/ 1168270 w 6512821"/>
                <a:gd name="connsiteY245" fmla="*/ 1471181 h 1648590"/>
                <a:gd name="connsiteX246" fmla="*/ 1214120 w 6512821"/>
                <a:gd name="connsiteY246" fmla="*/ 1529275 h 1648590"/>
                <a:gd name="connsiteX247" fmla="*/ 1310966 w 6512821"/>
                <a:gd name="connsiteY247" fmla="*/ 1493585 h 1648590"/>
                <a:gd name="connsiteX248" fmla="*/ 767666 w 6512821"/>
                <a:gd name="connsiteY248" fmla="*/ 1157198 h 1648590"/>
                <a:gd name="connsiteX249" fmla="*/ 767666 w 6512821"/>
                <a:gd name="connsiteY249" fmla="*/ 1638430 h 1648590"/>
                <a:gd name="connsiteX250" fmla="*/ 892061 w 6512821"/>
                <a:gd name="connsiteY250" fmla="*/ 1638430 h 1648590"/>
                <a:gd name="connsiteX251" fmla="*/ 892061 w 6512821"/>
                <a:gd name="connsiteY251" fmla="*/ 1157198 h 1648590"/>
                <a:gd name="connsiteX252" fmla="*/ 767666 w 6512821"/>
                <a:gd name="connsiteY252" fmla="*/ 1157198 h 1648590"/>
                <a:gd name="connsiteX253" fmla="*/ 702408 w 6512821"/>
                <a:gd name="connsiteY253" fmla="*/ 1157198 h 1648590"/>
                <a:gd name="connsiteX254" fmla="*/ 550529 w 6512821"/>
                <a:gd name="connsiteY254" fmla="*/ 1638430 h 1648590"/>
                <a:gd name="connsiteX255" fmla="*/ 436359 w 6512821"/>
                <a:gd name="connsiteY255" fmla="*/ 1638430 h 1648590"/>
                <a:gd name="connsiteX256" fmla="*/ 354819 w 6512821"/>
                <a:gd name="connsiteY256" fmla="*/ 1345809 h 1648590"/>
                <a:gd name="connsiteX257" fmla="*/ 272236 w 6512821"/>
                <a:gd name="connsiteY257" fmla="*/ 1638430 h 1648590"/>
                <a:gd name="connsiteX258" fmla="*/ 158066 w 6512821"/>
                <a:gd name="connsiteY258" fmla="*/ 1638430 h 1648590"/>
                <a:gd name="connsiteX259" fmla="*/ 7099 w 6512821"/>
                <a:gd name="connsiteY259" fmla="*/ 1157198 h 1648590"/>
                <a:gd name="connsiteX260" fmla="*/ 145757 w 6512821"/>
                <a:gd name="connsiteY260" fmla="*/ 1157198 h 1648590"/>
                <a:gd name="connsiteX261" fmla="*/ 218114 w 6512821"/>
                <a:gd name="connsiteY261" fmla="*/ 1436533 h 1648590"/>
                <a:gd name="connsiteX262" fmla="*/ 299655 w 6512821"/>
                <a:gd name="connsiteY262" fmla="*/ 1157198 h 1648590"/>
                <a:gd name="connsiteX263" fmla="*/ 412848 w 6512821"/>
                <a:gd name="connsiteY263" fmla="*/ 1157198 h 1648590"/>
                <a:gd name="connsiteX264" fmla="*/ 494388 w 6512821"/>
                <a:gd name="connsiteY264" fmla="*/ 1436533 h 1648590"/>
                <a:gd name="connsiteX265" fmla="*/ 567788 w 6512821"/>
                <a:gd name="connsiteY265" fmla="*/ 1157198 h 1648590"/>
                <a:gd name="connsiteX266" fmla="*/ 702343 w 6512821"/>
                <a:gd name="connsiteY266" fmla="*/ 1157198 h 1648590"/>
                <a:gd name="connsiteX267" fmla="*/ 4436990 w 6512821"/>
                <a:gd name="connsiteY267" fmla="*/ 16282 h 1648590"/>
                <a:gd name="connsiteX268" fmla="*/ 4436990 w 6512821"/>
                <a:gd name="connsiteY268" fmla="*/ 115147 h 1648590"/>
                <a:gd name="connsiteX269" fmla="*/ 4374792 w 6512821"/>
                <a:gd name="connsiteY269" fmla="*/ 104921 h 1648590"/>
                <a:gd name="connsiteX270" fmla="*/ 4322820 w 6512821"/>
                <a:gd name="connsiteY270" fmla="*/ 144715 h 1648590"/>
                <a:gd name="connsiteX271" fmla="*/ 4322820 w 6512821"/>
                <a:gd name="connsiteY271" fmla="*/ 186527 h 1648590"/>
                <a:gd name="connsiteX272" fmla="*/ 4404361 w 6512821"/>
                <a:gd name="connsiteY272" fmla="*/ 186527 h 1648590"/>
                <a:gd name="connsiteX273" fmla="*/ 4404361 w 6512821"/>
                <a:gd name="connsiteY273" fmla="*/ 302781 h 1648590"/>
                <a:gd name="connsiteX274" fmla="*/ 4322820 w 6512821"/>
                <a:gd name="connsiteY274" fmla="*/ 302781 h 1648590"/>
                <a:gd name="connsiteX275" fmla="*/ 4322820 w 6512821"/>
                <a:gd name="connsiteY275" fmla="*/ 667759 h 1648590"/>
                <a:gd name="connsiteX276" fmla="*/ 4202528 w 6512821"/>
                <a:gd name="connsiteY276" fmla="*/ 667759 h 1648590"/>
                <a:gd name="connsiteX277" fmla="*/ 4202528 w 6512821"/>
                <a:gd name="connsiteY277" fmla="*/ 302781 h 1648590"/>
                <a:gd name="connsiteX278" fmla="*/ 4143392 w 6512821"/>
                <a:gd name="connsiteY278" fmla="*/ 302781 h 1648590"/>
                <a:gd name="connsiteX279" fmla="*/ 4143392 w 6512821"/>
                <a:gd name="connsiteY279" fmla="*/ 186527 h 1648590"/>
                <a:gd name="connsiteX280" fmla="*/ 4202528 w 6512821"/>
                <a:gd name="connsiteY280" fmla="*/ 186527 h 1648590"/>
                <a:gd name="connsiteX281" fmla="*/ 4202528 w 6512821"/>
                <a:gd name="connsiteY281" fmla="*/ 128433 h 1648590"/>
                <a:gd name="connsiteX282" fmla="*/ 4348350 w 6512821"/>
                <a:gd name="connsiteY282" fmla="*/ 2019 h 1648590"/>
                <a:gd name="connsiteX283" fmla="*/ 4437055 w 6512821"/>
                <a:gd name="connsiteY283" fmla="*/ 16282 h 1648590"/>
                <a:gd name="connsiteX284" fmla="*/ 2957602 w 6512821"/>
                <a:gd name="connsiteY284" fmla="*/ 527083 h 1648590"/>
                <a:gd name="connsiteX285" fmla="*/ 2940278 w 6512821"/>
                <a:gd name="connsiteY285" fmla="*/ 649458 h 1648590"/>
                <a:gd name="connsiteX286" fmla="*/ 2843433 w 6512821"/>
                <a:gd name="connsiteY286" fmla="*/ 677984 h 1648590"/>
                <a:gd name="connsiteX287" fmla="*/ 2712916 w 6512821"/>
                <a:gd name="connsiteY287" fmla="*/ 535224 h 1648590"/>
                <a:gd name="connsiteX288" fmla="*/ 2712916 w 6512821"/>
                <a:gd name="connsiteY288" fmla="*/ 301739 h 1648590"/>
                <a:gd name="connsiteX289" fmla="*/ 2629291 w 6512821"/>
                <a:gd name="connsiteY289" fmla="*/ 301739 h 1648590"/>
                <a:gd name="connsiteX290" fmla="*/ 2629291 w 6512821"/>
                <a:gd name="connsiteY290" fmla="*/ 186527 h 1648590"/>
                <a:gd name="connsiteX291" fmla="*/ 2712916 w 6512821"/>
                <a:gd name="connsiteY291" fmla="*/ 186527 h 1648590"/>
                <a:gd name="connsiteX292" fmla="*/ 2712916 w 6512821"/>
                <a:gd name="connsiteY292" fmla="*/ 61155 h 1648590"/>
                <a:gd name="connsiteX293" fmla="*/ 2833208 w 6512821"/>
                <a:gd name="connsiteY293" fmla="*/ 0 h 1648590"/>
                <a:gd name="connsiteX294" fmla="*/ 2833208 w 6512821"/>
                <a:gd name="connsiteY294" fmla="*/ 186592 h 1648590"/>
                <a:gd name="connsiteX295" fmla="*/ 2945358 w 6512821"/>
                <a:gd name="connsiteY295" fmla="*/ 186592 h 1648590"/>
                <a:gd name="connsiteX296" fmla="*/ 2945358 w 6512821"/>
                <a:gd name="connsiteY296" fmla="*/ 301804 h 1648590"/>
                <a:gd name="connsiteX297" fmla="*/ 2833208 w 6512821"/>
                <a:gd name="connsiteY297" fmla="*/ 301804 h 1648590"/>
                <a:gd name="connsiteX298" fmla="*/ 2833208 w 6512821"/>
                <a:gd name="connsiteY298" fmla="*/ 503701 h 1648590"/>
                <a:gd name="connsiteX299" fmla="*/ 2880100 w 6512821"/>
                <a:gd name="connsiteY299" fmla="*/ 560819 h 1648590"/>
                <a:gd name="connsiteX300" fmla="*/ 2957602 w 6512821"/>
                <a:gd name="connsiteY300" fmla="*/ 527148 h 1648590"/>
                <a:gd name="connsiteX301" fmla="*/ 2397891 w 6512821"/>
                <a:gd name="connsiteY301" fmla="*/ 426134 h 1648590"/>
                <a:gd name="connsiteX302" fmla="*/ 2395872 w 6512821"/>
                <a:gd name="connsiteY302" fmla="*/ 467946 h 1648590"/>
                <a:gd name="connsiteX303" fmla="*/ 2114453 w 6512821"/>
                <a:gd name="connsiteY303" fmla="*/ 467946 h 1648590"/>
                <a:gd name="connsiteX304" fmla="*/ 2218462 w 6512821"/>
                <a:gd name="connsiteY304" fmla="*/ 562773 h 1648590"/>
                <a:gd name="connsiteX305" fmla="*/ 2301045 w 6512821"/>
                <a:gd name="connsiteY305" fmla="*/ 529102 h 1648590"/>
                <a:gd name="connsiteX306" fmla="*/ 2386689 w 6512821"/>
                <a:gd name="connsiteY306" fmla="*/ 601459 h 1648590"/>
                <a:gd name="connsiteX307" fmla="*/ 2210321 w 6512821"/>
                <a:gd name="connsiteY307" fmla="*/ 677919 h 1648590"/>
                <a:gd name="connsiteX308" fmla="*/ 1991100 w 6512821"/>
                <a:gd name="connsiteY308" fmla="*/ 429130 h 1648590"/>
                <a:gd name="connsiteX309" fmla="*/ 2205176 w 6512821"/>
                <a:gd name="connsiteY309" fmla="*/ 176302 h 1648590"/>
                <a:gd name="connsiteX310" fmla="*/ 2397891 w 6512821"/>
                <a:gd name="connsiteY310" fmla="*/ 426069 h 1648590"/>
                <a:gd name="connsiteX311" fmla="*/ 2116472 w 6512821"/>
                <a:gd name="connsiteY311" fmla="*/ 374162 h 1648590"/>
                <a:gd name="connsiteX312" fmla="*/ 2287759 w 6512821"/>
                <a:gd name="connsiteY312" fmla="*/ 374162 h 1648590"/>
                <a:gd name="connsiteX313" fmla="*/ 2199054 w 6512821"/>
                <a:gd name="connsiteY313" fmla="*/ 283438 h 1648590"/>
                <a:gd name="connsiteX314" fmla="*/ 2116472 w 6512821"/>
                <a:gd name="connsiteY314" fmla="*/ 374162 h 1648590"/>
                <a:gd name="connsiteX315" fmla="*/ 1933982 w 6512821"/>
                <a:gd name="connsiteY315" fmla="*/ 428218 h 1648590"/>
                <a:gd name="connsiteX316" fmla="*/ 1746413 w 6512821"/>
                <a:gd name="connsiteY316" fmla="*/ 677984 h 1648590"/>
                <a:gd name="connsiteX317" fmla="*/ 1639342 w 6512821"/>
                <a:gd name="connsiteY317" fmla="*/ 638191 h 1648590"/>
                <a:gd name="connsiteX318" fmla="*/ 1639342 w 6512821"/>
                <a:gd name="connsiteY318" fmla="*/ 784990 h 1648590"/>
                <a:gd name="connsiteX319" fmla="*/ 1519050 w 6512821"/>
                <a:gd name="connsiteY319" fmla="*/ 845169 h 1648590"/>
                <a:gd name="connsiteX320" fmla="*/ 1519050 w 6512821"/>
                <a:gd name="connsiteY320" fmla="*/ 186527 h 1648590"/>
                <a:gd name="connsiteX321" fmla="*/ 1639342 w 6512821"/>
                <a:gd name="connsiteY321" fmla="*/ 186527 h 1648590"/>
                <a:gd name="connsiteX322" fmla="*/ 1639342 w 6512821"/>
                <a:gd name="connsiteY322" fmla="*/ 219157 h 1648590"/>
                <a:gd name="connsiteX323" fmla="*/ 1748432 w 6512821"/>
                <a:gd name="connsiteY323" fmla="*/ 176367 h 1648590"/>
                <a:gd name="connsiteX324" fmla="*/ 1933982 w 6512821"/>
                <a:gd name="connsiteY324" fmla="*/ 428218 h 1648590"/>
                <a:gd name="connsiteX325" fmla="*/ 1809587 w 6512821"/>
                <a:gd name="connsiteY325" fmla="*/ 434340 h 1648590"/>
                <a:gd name="connsiteX326" fmla="*/ 1718864 w 6512821"/>
                <a:gd name="connsiteY326" fmla="*/ 292621 h 1648590"/>
                <a:gd name="connsiteX327" fmla="*/ 1639342 w 6512821"/>
                <a:gd name="connsiteY327" fmla="*/ 335410 h 1648590"/>
                <a:gd name="connsiteX328" fmla="*/ 1639342 w 6512821"/>
                <a:gd name="connsiteY328" fmla="*/ 518942 h 1648590"/>
                <a:gd name="connsiteX329" fmla="*/ 1726028 w 6512821"/>
                <a:gd name="connsiteY329" fmla="*/ 562773 h 1648590"/>
                <a:gd name="connsiteX330" fmla="*/ 1809652 w 6512821"/>
                <a:gd name="connsiteY330" fmla="*/ 434340 h 1648590"/>
                <a:gd name="connsiteX331" fmla="*/ 1435426 w 6512821"/>
                <a:gd name="connsiteY331" fmla="*/ 667825 h 1648590"/>
                <a:gd name="connsiteX332" fmla="*/ 1315134 w 6512821"/>
                <a:gd name="connsiteY332" fmla="*/ 667825 h 1648590"/>
                <a:gd name="connsiteX333" fmla="*/ 1315134 w 6512821"/>
                <a:gd name="connsiteY333" fmla="*/ 634153 h 1648590"/>
                <a:gd name="connsiteX334" fmla="*/ 1202983 w 6512821"/>
                <a:gd name="connsiteY334" fmla="*/ 677984 h 1648590"/>
                <a:gd name="connsiteX335" fmla="*/ 1033715 w 6512821"/>
                <a:gd name="connsiteY335" fmla="*/ 510800 h 1648590"/>
                <a:gd name="connsiteX336" fmla="*/ 1221284 w 6512821"/>
                <a:gd name="connsiteY336" fmla="*/ 348696 h 1648590"/>
                <a:gd name="connsiteX337" fmla="*/ 1315069 w 6512821"/>
                <a:gd name="connsiteY337" fmla="*/ 368040 h 1648590"/>
                <a:gd name="connsiteX338" fmla="*/ 1315069 w 6512821"/>
                <a:gd name="connsiteY338" fmla="*/ 342574 h 1648590"/>
                <a:gd name="connsiteX339" fmla="*/ 1232486 w 6512821"/>
                <a:gd name="connsiteY339" fmla="*/ 279335 h 1648590"/>
                <a:gd name="connsiteX340" fmla="*/ 1121378 w 6512821"/>
                <a:gd name="connsiteY340" fmla="*/ 310922 h 1648590"/>
                <a:gd name="connsiteX341" fmla="*/ 1073443 w 6512821"/>
                <a:gd name="connsiteY341" fmla="*/ 225278 h 1648590"/>
                <a:gd name="connsiteX342" fmla="*/ 1239650 w 6512821"/>
                <a:gd name="connsiteY342" fmla="*/ 176367 h 1648590"/>
                <a:gd name="connsiteX343" fmla="*/ 1435426 w 6512821"/>
                <a:gd name="connsiteY343" fmla="*/ 344593 h 1648590"/>
                <a:gd name="connsiteX344" fmla="*/ 1435426 w 6512821"/>
                <a:gd name="connsiteY344" fmla="*/ 667759 h 1648590"/>
                <a:gd name="connsiteX345" fmla="*/ 1315134 w 6512821"/>
                <a:gd name="connsiteY345" fmla="*/ 527083 h 1648590"/>
                <a:gd name="connsiteX346" fmla="*/ 1315134 w 6512821"/>
                <a:gd name="connsiteY346" fmla="*/ 465927 h 1648590"/>
                <a:gd name="connsiteX347" fmla="*/ 1234570 w 6512821"/>
                <a:gd name="connsiteY347" fmla="*/ 445542 h 1648590"/>
                <a:gd name="connsiteX348" fmla="*/ 1156091 w 6512821"/>
                <a:gd name="connsiteY348" fmla="*/ 507740 h 1648590"/>
                <a:gd name="connsiteX349" fmla="*/ 1224410 w 6512821"/>
                <a:gd name="connsiteY349" fmla="*/ 574040 h 1648590"/>
                <a:gd name="connsiteX350" fmla="*/ 1315134 w 6512821"/>
                <a:gd name="connsiteY350" fmla="*/ 527148 h 1648590"/>
                <a:gd name="connsiteX351" fmla="*/ 967480 w 6512821"/>
                <a:gd name="connsiteY351" fmla="*/ 667825 h 1648590"/>
                <a:gd name="connsiteX352" fmla="*/ 847188 w 6512821"/>
                <a:gd name="connsiteY352" fmla="*/ 667825 h 1648590"/>
                <a:gd name="connsiteX353" fmla="*/ 847188 w 6512821"/>
                <a:gd name="connsiteY353" fmla="*/ 405814 h 1648590"/>
                <a:gd name="connsiteX354" fmla="*/ 765647 w 6512821"/>
                <a:gd name="connsiteY354" fmla="*/ 292621 h 1648590"/>
                <a:gd name="connsiteX355" fmla="*/ 683065 w 6512821"/>
                <a:gd name="connsiteY355" fmla="*/ 402753 h 1648590"/>
                <a:gd name="connsiteX356" fmla="*/ 683065 w 6512821"/>
                <a:gd name="connsiteY356" fmla="*/ 667825 h 1648590"/>
                <a:gd name="connsiteX357" fmla="*/ 562773 w 6512821"/>
                <a:gd name="connsiteY357" fmla="*/ 667825 h 1648590"/>
                <a:gd name="connsiteX358" fmla="*/ 562773 w 6512821"/>
                <a:gd name="connsiteY358" fmla="*/ 61221 h 1648590"/>
                <a:gd name="connsiteX359" fmla="*/ 683065 w 6512821"/>
                <a:gd name="connsiteY359" fmla="*/ 65 h 1648590"/>
                <a:gd name="connsiteX360" fmla="*/ 683065 w 6512821"/>
                <a:gd name="connsiteY360" fmla="*/ 220264 h 1648590"/>
                <a:gd name="connsiteX361" fmla="*/ 796258 w 6512821"/>
                <a:gd name="connsiteY361" fmla="*/ 176432 h 1648590"/>
                <a:gd name="connsiteX362" fmla="*/ 967545 w 6512821"/>
                <a:gd name="connsiteY362" fmla="*/ 396631 h 1648590"/>
                <a:gd name="connsiteX363" fmla="*/ 967545 w 6512821"/>
                <a:gd name="connsiteY363" fmla="*/ 667825 h 1648590"/>
                <a:gd name="connsiteX364" fmla="*/ 496472 w 6512821"/>
                <a:gd name="connsiteY364" fmla="*/ 475110 h 1648590"/>
                <a:gd name="connsiteX365" fmla="*/ 255889 w 6512821"/>
                <a:gd name="connsiteY365" fmla="*/ 677984 h 1648590"/>
                <a:gd name="connsiteX366" fmla="*/ 0 w 6512821"/>
                <a:gd name="connsiteY366" fmla="*/ 562773 h 1648590"/>
                <a:gd name="connsiteX367" fmla="*/ 89747 w 6512821"/>
                <a:gd name="connsiteY367" fmla="*/ 483251 h 1648590"/>
                <a:gd name="connsiteX368" fmla="*/ 252893 w 6512821"/>
                <a:gd name="connsiteY368" fmla="*/ 556651 h 1648590"/>
                <a:gd name="connsiteX369" fmla="*/ 367063 w 6512821"/>
                <a:gd name="connsiteY369" fmla="*/ 478171 h 1648590"/>
                <a:gd name="connsiteX370" fmla="*/ 329353 w 6512821"/>
                <a:gd name="connsiteY370" fmla="*/ 426199 h 1648590"/>
                <a:gd name="connsiteX371" fmla="*/ 225344 w 6512821"/>
                <a:gd name="connsiteY371" fmla="*/ 394612 h 1648590"/>
                <a:gd name="connsiteX372" fmla="*/ 79522 w 6512821"/>
                <a:gd name="connsiteY372" fmla="*/ 335475 h 1648590"/>
                <a:gd name="connsiteX373" fmla="*/ 24488 w 6512821"/>
                <a:gd name="connsiteY373" fmla="*/ 207042 h 1648590"/>
                <a:gd name="connsiteX374" fmla="*/ 254912 w 6512821"/>
                <a:gd name="connsiteY374" fmla="*/ 16412 h 1648590"/>
                <a:gd name="connsiteX375" fmla="*/ 482274 w 6512821"/>
                <a:gd name="connsiteY375" fmla="*/ 115277 h 1648590"/>
                <a:gd name="connsiteX376" fmla="*/ 392528 w 6512821"/>
                <a:gd name="connsiteY376" fmla="*/ 202939 h 1648590"/>
                <a:gd name="connsiteX377" fmla="*/ 246706 w 6512821"/>
                <a:gd name="connsiteY377" fmla="*/ 137681 h 1648590"/>
                <a:gd name="connsiteX378" fmla="*/ 152921 w 6512821"/>
                <a:gd name="connsiteY378" fmla="*/ 199878 h 1648590"/>
                <a:gd name="connsiteX379" fmla="*/ 179428 w 6512821"/>
                <a:gd name="connsiteY379" fmla="*/ 243710 h 1648590"/>
                <a:gd name="connsiteX380" fmla="*/ 282396 w 6512821"/>
                <a:gd name="connsiteY380" fmla="*/ 277381 h 1648590"/>
                <a:gd name="connsiteX381" fmla="*/ 438378 w 6512821"/>
                <a:gd name="connsiteY381" fmla="*/ 341598 h 1648590"/>
                <a:gd name="connsiteX382" fmla="*/ 496472 w 6512821"/>
                <a:gd name="connsiteY382" fmla="*/ 475176 h 1648590"/>
                <a:gd name="connsiteX383" fmla="*/ 6100885 w 6512821"/>
                <a:gd name="connsiteY383" fmla="*/ 208996 h 1648590"/>
                <a:gd name="connsiteX384" fmla="*/ 6051778 w 6512821"/>
                <a:gd name="connsiteY384" fmla="*/ 329288 h 1648590"/>
                <a:gd name="connsiteX385" fmla="*/ 5982482 w 6512821"/>
                <a:gd name="connsiteY385" fmla="*/ 299720 h 1648590"/>
                <a:gd name="connsiteX386" fmla="*/ 5911232 w 6512821"/>
                <a:gd name="connsiteY386" fmla="*/ 405749 h 1648590"/>
                <a:gd name="connsiteX387" fmla="*/ 5911232 w 6512821"/>
                <a:gd name="connsiteY387" fmla="*/ 667759 h 1648590"/>
                <a:gd name="connsiteX388" fmla="*/ 5790940 w 6512821"/>
                <a:gd name="connsiteY388" fmla="*/ 667759 h 1648590"/>
                <a:gd name="connsiteX389" fmla="*/ 5790940 w 6512821"/>
                <a:gd name="connsiteY389" fmla="*/ 186527 h 1648590"/>
                <a:gd name="connsiteX390" fmla="*/ 5911232 w 6512821"/>
                <a:gd name="connsiteY390" fmla="*/ 186527 h 1648590"/>
                <a:gd name="connsiteX391" fmla="*/ 5911232 w 6512821"/>
                <a:gd name="connsiteY391" fmla="*/ 220198 h 1648590"/>
                <a:gd name="connsiteX392" fmla="*/ 6012181 w 6512821"/>
                <a:gd name="connsiteY392" fmla="*/ 176367 h 1648590"/>
                <a:gd name="connsiteX393" fmla="*/ 6100885 w 6512821"/>
                <a:gd name="connsiteY393" fmla="*/ 208996 h 1648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</a:cxnLst>
              <a:rect l="l" t="t" r="r" b="b"/>
              <a:pathLst>
                <a:path w="6512821" h="1648590">
                  <a:moveTo>
                    <a:pt x="5071143" y="1396740"/>
                  </a:moveTo>
                  <a:cubicBezTo>
                    <a:pt x="5071143" y="1412045"/>
                    <a:pt x="5070101" y="1431388"/>
                    <a:pt x="5069124" y="1438552"/>
                  </a:cubicBezTo>
                  <a:lnTo>
                    <a:pt x="4777545" y="1438552"/>
                  </a:lnTo>
                  <a:cubicBezTo>
                    <a:pt x="4782625" y="1505829"/>
                    <a:pt x="4828541" y="1533378"/>
                    <a:pt x="4880513" y="1533378"/>
                  </a:cubicBezTo>
                  <a:cubicBezTo>
                    <a:pt x="4911123" y="1533378"/>
                    <a:pt x="4939649" y="1524196"/>
                    <a:pt x="4964137" y="1499707"/>
                  </a:cubicBezTo>
                  <a:lnTo>
                    <a:pt x="5049781" y="1572065"/>
                  </a:lnTo>
                  <a:cubicBezTo>
                    <a:pt x="5004908" y="1628140"/>
                    <a:pt x="4936588" y="1648525"/>
                    <a:pt x="4875433" y="1648525"/>
                  </a:cubicBezTo>
                  <a:cubicBezTo>
                    <a:pt x="4734756" y="1648525"/>
                    <a:pt x="4654192" y="1540478"/>
                    <a:pt x="4654192" y="1398759"/>
                  </a:cubicBezTo>
                  <a:cubicBezTo>
                    <a:pt x="4654192" y="1244795"/>
                    <a:pt x="4749019" y="1146908"/>
                    <a:pt x="4867292" y="1146908"/>
                  </a:cubicBezTo>
                  <a:cubicBezTo>
                    <a:pt x="4993706" y="1146908"/>
                    <a:pt x="5071208" y="1258016"/>
                    <a:pt x="5071208" y="1396675"/>
                  </a:cubicBezTo>
                  <a:close/>
                  <a:moveTo>
                    <a:pt x="4779564" y="1344767"/>
                  </a:moveTo>
                  <a:lnTo>
                    <a:pt x="4950851" y="1344767"/>
                  </a:lnTo>
                  <a:cubicBezTo>
                    <a:pt x="4946748" y="1290711"/>
                    <a:pt x="4912100" y="1254044"/>
                    <a:pt x="4863189" y="1254044"/>
                  </a:cubicBezTo>
                  <a:cubicBezTo>
                    <a:pt x="4805094" y="1254044"/>
                    <a:pt x="4782625" y="1305039"/>
                    <a:pt x="4779564" y="1344767"/>
                  </a:cubicBezTo>
                  <a:close/>
                  <a:moveTo>
                    <a:pt x="6512756" y="1396740"/>
                  </a:moveTo>
                  <a:cubicBezTo>
                    <a:pt x="6512756" y="1412045"/>
                    <a:pt x="6511714" y="1431388"/>
                    <a:pt x="6510737" y="1438552"/>
                  </a:cubicBezTo>
                  <a:lnTo>
                    <a:pt x="6219158" y="1438552"/>
                  </a:lnTo>
                  <a:cubicBezTo>
                    <a:pt x="6224238" y="1505829"/>
                    <a:pt x="6270154" y="1533378"/>
                    <a:pt x="6322126" y="1533378"/>
                  </a:cubicBezTo>
                  <a:cubicBezTo>
                    <a:pt x="6352736" y="1533378"/>
                    <a:pt x="6381262" y="1524196"/>
                    <a:pt x="6405751" y="1499707"/>
                  </a:cubicBezTo>
                  <a:lnTo>
                    <a:pt x="6491394" y="1572065"/>
                  </a:lnTo>
                  <a:cubicBezTo>
                    <a:pt x="6446521" y="1628140"/>
                    <a:pt x="6378201" y="1648525"/>
                    <a:pt x="6317046" y="1648525"/>
                  </a:cubicBezTo>
                  <a:cubicBezTo>
                    <a:pt x="6176369" y="1648525"/>
                    <a:pt x="6095805" y="1540478"/>
                    <a:pt x="6095805" y="1398759"/>
                  </a:cubicBezTo>
                  <a:cubicBezTo>
                    <a:pt x="6095805" y="1244795"/>
                    <a:pt x="6190632" y="1146908"/>
                    <a:pt x="6308905" y="1146908"/>
                  </a:cubicBezTo>
                  <a:cubicBezTo>
                    <a:pt x="6435319" y="1146908"/>
                    <a:pt x="6512821" y="1258016"/>
                    <a:pt x="6512821" y="1396675"/>
                  </a:cubicBezTo>
                  <a:close/>
                  <a:moveTo>
                    <a:pt x="6221177" y="1344767"/>
                  </a:moveTo>
                  <a:lnTo>
                    <a:pt x="6392465" y="1344767"/>
                  </a:lnTo>
                  <a:cubicBezTo>
                    <a:pt x="6388361" y="1290711"/>
                    <a:pt x="6353713" y="1254044"/>
                    <a:pt x="6304802" y="1254044"/>
                  </a:cubicBezTo>
                  <a:cubicBezTo>
                    <a:pt x="6246708" y="1254044"/>
                    <a:pt x="6224238" y="1305039"/>
                    <a:pt x="6221177" y="1344767"/>
                  </a:cubicBezTo>
                  <a:close/>
                  <a:moveTo>
                    <a:pt x="5978509" y="1467143"/>
                  </a:moveTo>
                  <a:lnTo>
                    <a:pt x="6058031" y="1542561"/>
                  </a:lnTo>
                  <a:cubicBezTo>
                    <a:pt x="6017261" y="1594534"/>
                    <a:pt x="5961185" y="1648590"/>
                    <a:pt x="5866359" y="1648590"/>
                  </a:cubicBezTo>
                  <a:cubicBezTo>
                    <a:pt x="5734865" y="1648590"/>
                    <a:pt x="5637954" y="1543604"/>
                    <a:pt x="5637954" y="1398823"/>
                  </a:cubicBezTo>
                  <a:cubicBezTo>
                    <a:pt x="5637954" y="1266288"/>
                    <a:pt x="5718518" y="1146973"/>
                    <a:pt x="5868378" y="1146973"/>
                  </a:cubicBezTo>
                  <a:cubicBezTo>
                    <a:pt x="5954021" y="1146973"/>
                    <a:pt x="6013157" y="1185724"/>
                    <a:pt x="6056989" y="1250983"/>
                  </a:cubicBezTo>
                  <a:lnTo>
                    <a:pt x="5975448" y="1333565"/>
                  </a:lnTo>
                  <a:cubicBezTo>
                    <a:pt x="5946922" y="1295856"/>
                    <a:pt x="5916312" y="1266288"/>
                    <a:pt x="5867401" y="1266288"/>
                  </a:cubicBezTo>
                  <a:cubicBezTo>
                    <a:pt x="5801100" y="1266288"/>
                    <a:pt x="5766452" y="1322363"/>
                    <a:pt x="5766452" y="1396804"/>
                  </a:cubicBezTo>
                  <a:cubicBezTo>
                    <a:pt x="5766452" y="1466101"/>
                    <a:pt x="5797062" y="1528299"/>
                    <a:pt x="5868378" y="1528299"/>
                  </a:cubicBezTo>
                  <a:cubicBezTo>
                    <a:pt x="5912209" y="1528299"/>
                    <a:pt x="5948941" y="1504852"/>
                    <a:pt x="5978509" y="1467143"/>
                  </a:cubicBezTo>
                  <a:close/>
                  <a:moveTo>
                    <a:pt x="4869246" y="667825"/>
                  </a:moveTo>
                  <a:lnTo>
                    <a:pt x="4750973" y="667825"/>
                  </a:lnTo>
                  <a:lnTo>
                    <a:pt x="4750973" y="634153"/>
                  </a:lnTo>
                  <a:cubicBezTo>
                    <a:pt x="4724466" y="663721"/>
                    <a:pt x="4681676" y="677984"/>
                    <a:pt x="4638822" y="677984"/>
                  </a:cubicBezTo>
                  <a:cubicBezTo>
                    <a:pt x="4514427" y="677984"/>
                    <a:pt x="4467535" y="588238"/>
                    <a:pt x="4467535" y="458763"/>
                  </a:cubicBezTo>
                  <a:lnTo>
                    <a:pt x="4467535" y="186527"/>
                  </a:lnTo>
                  <a:lnTo>
                    <a:pt x="4587827" y="186527"/>
                  </a:lnTo>
                  <a:lnTo>
                    <a:pt x="4587827" y="448538"/>
                  </a:lnTo>
                  <a:cubicBezTo>
                    <a:pt x="4587827" y="513797"/>
                    <a:pt x="4601113" y="562708"/>
                    <a:pt x="4668390" y="562708"/>
                  </a:cubicBezTo>
                  <a:cubicBezTo>
                    <a:pt x="4735668" y="562708"/>
                    <a:pt x="4748954" y="511712"/>
                    <a:pt x="4748954" y="452576"/>
                  </a:cubicBezTo>
                  <a:lnTo>
                    <a:pt x="4748954" y="186462"/>
                  </a:lnTo>
                  <a:lnTo>
                    <a:pt x="4869246" y="186462"/>
                  </a:lnTo>
                  <a:lnTo>
                    <a:pt x="4869246" y="667695"/>
                  </a:lnTo>
                  <a:close/>
                  <a:moveTo>
                    <a:pt x="5244449" y="527083"/>
                  </a:moveTo>
                  <a:lnTo>
                    <a:pt x="5227125" y="649458"/>
                  </a:lnTo>
                  <a:cubicBezTo>
                    <a:pt x="5202637" y="668802"/>
                    <a:pt x="5157829" y="677984"/>
                    <a:pt x="5128261" y="677984"/>
                  </a:cubicBezTo>
                  <a:cubicBezTo>
                    <a:pt x="5054861" y="677984"/>
                    <a:pt x="4997744" y="622951"/>
                    <a:pt x="4997744" y="535224"/>
                  </a:cubicBezTo>
                  <a:lnTo>
                    <a:pt x="4997744" y="301739"/>
                  </a:lnTo>
                  <a:lnTo>
                    <a:pt x="4928447" y="301739"/>
                  </a:lnTo>
                  <a:lnTo>
                    <a:pt x="4928447" y="186527"/>
                  </a:lnTo>
                  <a:lnTo>
                    <a:pt x="4997744" y="186527"/>
                  </a:lnTo>
                  <a:lnTo>
                    <a:pt x="4997744" y="61155"/>
                  </a:lnTo>
                  <a:lnTo>
                    <a:pt x="5118035" y="0"/>
                  </a:lnTo>
                  <a:lnTo>
                    <a:pt x="5118035" y="186592"/>
                  </a:lnTo>
                  <a:lnTo>
                    <a:pt x="5232205" y="186592"/>
                  </a:lnTo>
                  <a:lnTo>
                    <a:pt x="5232205" y="301804"/>
                  </a:lnTo>
                  <a:lnTo>
                    <a:pt x="5118035" y="301804"/>
                  </a:lnTo>
                  <a:lnTo>
                    <a:pt x="5118035" y="503701"/>
                  </a:lnTo>
                  <a:cubicBezTo>
                    <a:pt x="5118035" y="545514"/>
                    <a:pt x="5135360" y="560819"/>
                    <a:pt x="5164928" y="560819"/>
                  </a:cubicBezTo>
                  <a:cubicBezTo>
                    <a:pt x="5194496" y="560819"/>
                    <a:pt x="5225106" y="545514"/>
                    <a:pt x="5244449" y="527148"/>
                  </a:cubicBezTo>
                  <a:close/>
                  <a:moveTo>
                    <a:pt x="3417407" y="667825"/>
                  </a:moveTo>
                  <a:lnTo>
                    <a:pt x="3297116" y="667825"/>
                  </a:lnTo>
                  <a:lnTo>
                    <a:pt x="3297116" y="405814"/>
                  </a:lnTo>
                  <a:cubicBezTo>
                    <a:pt x="3297116" y="340555"/>
                    <a:pt x="3282853" y="292621"/>
                    <a:pt x="3215575" y="292621"/>
                  </a:cubicBezTo>
                  <a:cubicBezTo>
                    <a:pt x="3148298" y="292621"/>
                    <a:pt x="3132993" y="336452"/>
                    <a:pt x="3132993" y="402753"/>
                  </a:cubicBezTo>
                  <a:lnTo>
                    <a:pt x="3132993" y="667825"/>
                  </a:lnTo>
                  <a:lnTo>
                    <a:pt x="3012701" y="667825"/>
                  </a:lnTo>
                  <a:lnTo>
                    <a:pt x="3012701" y="61221"/>
                  </a:lnTo>
                  <a:lnTo>
                    <a:pt x="3132993" y="65"/>
                  </a:lnTo>
                  <a:lnTo>
                    <a:pt x="3132993" y="220264"/>
                  </a:lnTo>
                  <a:cubicBezTo>
                    <a:pt x="3159500" y="193756"/>
                    <a:pt x="3192129" y="176432"/>
                    <a:pt x="3246186" y="176432"/>
                  </a:cubicBezTo>
                  <a:cubicBezTo>
                    <a:pt x="3373641" y="176432"/>
                    <a:pt x="3417473" y="274320"/>
                    <a:pt x="3417473" y="396631"/>
                  </a:cubicBezTo>
                  <a:lnTo>
                    <a:pt x="3417473" y="667825"/>
                  </a:lnTo>
                  <a:close/>
                  <a:moveTo>
                    <a:pt x="5564554" y="1638365"/>
                  </a:moveTo>
                  <a:lnTo>
                    <a:pt x="5440160" y="1638365"/>
                  </a:lnTo>
                  <a:lnTo>
                    <a:pt x="5440160" y="1376355"/>
                  </a:lnTo>
                  <a:cubicBezTo>
                    <a:pt x="5440160" y="1309077"/>
                    <a:pt x="5424855" y="1264204"/>
                    <a:pt x="5357577" y="1264204"/>
                  </a:cubicBezTo>
                  <a:cubicBezTo>
                    <a:pt x="5294337" y="1264204"/>
                    <a:pt x="5273952" y="1301913"/>
                    <a:pt x="5273952" y="1373293"/>
                  </a:cubicBezTo>
                  <a:lnTo>
                    <a:pt x="5273952" y="1638365"/>
                  </a:lnTo>
                  <a:lnTo>
                    <a:pt x="5149558" y="1638365"/>
                  </a:lnTo>
                  <a:lnTo>
                    <a:pt x="5149558" y="1157133"/>
                  </a:lnTo>
                  <a:lnTo>
                    <a:pt x="5273952" y="1157133"/>
                  </a:lnTo>
                  <a:lnTo>
                    <a:pt x="5273952" y="1189762"/>
                  </a:lnTo>
                  <a:cubicBezTo>
                    <a:pt x="5299418" y="1164297"/>
                    <a:pt x="5337192" y="1146973"/>
                    <a:pt x="5391183" y="1146973"/>
                  </a:cubicBezTo>
                  <a:cubicBezTo>
                    <a:pt x="5521700" y="1146973"/>
                    <a:pt x="5564490" y="1247922"/>
                    <a:pt x="5564490" y="1366195"/>
                  </a:cubicBezTo>
                  <a:lnTo>
                    <a:pt x="5564490" y="1638430"/>
                  </a:lnTo>
                  <a:close/>
                  <a:moveTo>
                    <a:pt x="4008772" y="1115386"/>
                  </a:moveTo>
                  <a:cubicBezTo>
                    <a:pt x="4048565" y="1115386"/>
                    <a:pt x="4080152" y="1083798"/>
                    <a:pt x="4080152" y="1044005"/>
                  </a:cubicBezTo>
                  <a:cubicBezTo>
                    <a:pt x="4080152" y="1004212"/>
                    <a:pt x="4048565" y="972624"/>
                    <a:pt x="4008772" y="972624"/>
                  </a:cubicBezTo>
                  <a:cubicBezTo>
                    <a:pt x="3968978" y="972624"/>
                    <a:pt x="3937391" y="1004212"/>
                    <a:pt x="3937391" y="1044005"/>
                  </a:cubicBezTo>
                  <a:cubicBezTo>
                    <a:pt x="3937391" y="1083798"/>
                    <a:pt x="3968978" y="1115386"/>
                    <a:pt x="4008772" y="1115386"/>
                  </a:cubicBezTo>
                  <a:close/>
                  <a:moveTo>
                    <a:pt x="829864" y="1115386"/>
                  </a:moveTo>
                  <a:cubicBezTo>
                    <a:pt x="869657" y="1115386"/>
                    <a:pt x="901244" y="1083798"/>
                    <a:pt x="901244" y="1044005"/>
                  </a:cubicBezTo>
                  <a:cubicBezTo>
                    <a:pt x="901244" y="1004212"/>
                    <a:pt x="869657" y="972624"/>
                    <a:pt x="829864" y="972624"/>
                  </a:cubicBezTo>
                  <a:cubicBezTo>
                    <a:pt x="790070" y="972624"/>
                    <a:pt x="758483" y="1004212"/>
                    <a:pt x="758483" y="1044005"/>
                  </a:cubicBezTo>
                  <a:cubicBezTo>
                    <a:pt x="758483" y="1083798"/>
                    <a:pt x="790070" y="1115386"/>
                    <a:pt x="829864" y="1115386"/>
                  </a:cubicBezTo>
                  <a:close/>
                  <a:moveTo>
                    <a:pt x="6512756" y="426134"/>
                  </a:moveTo>
                  <a:cubicBezTo>
                    <a:pt x="6512756" y="441439"/>
                    <a:pt x="6511714" y="460782"/>
                    <a:pt x="6510737" y="467946"/>
                  </a:cubicBezTo>
                  <a:lnTo>
                    <a:pt x="6219158" y="467946"/>
                  </a:lnTo>
                  <a:cubicBezTo>
                    <a:pt x="6224238" y="535224"/>
                    <a:pt x="6270154" y="562773"/>
                    <a:pt x="6322126" y="562773"/>
                  </a:cubicBezTo>
                  <a:cubicBezTo>
                    <a:pt x="6352736" y="562773"/>
                    <a:pt x="6381262" y="553590"/>
                    <a:pt x="6405751" y="529102"/>
                  </a:cubicBezTo>
                  <a:lnTo>
                    <a:pt x="6491394" y="601459"/>
                  </a:lnTo>
                  <a:cubicBezTo>
                    <a:pt x="6446521" y="657535"/>
                    <a:pt x="6378201" y="677919"/>
                    <a:pt x="6317046" y="677919"/>
                  </a:cubicBezTo>
                  <a:cubicBezTo>
                    <a:pt x="6176369" y="677919"/>
                    <a:pt x="6095805" y="569872"/>
                    <a:pt x="6095805" y="428153"/>
                  </a:cubicBezTo>
                  <a:cubicBezTo>
                    <a:pt x="6095805" y="274190"/>
                    <a:pt x="6190632" y="176302"/>
                    <a:pt x="6308905" y="176302"/>
                  </a:cubicBezTo>
                  <a:cubicBezTo>
                    <a:pt x="6435319" y="176302"/>
                    <a:pt x="6512821" y="287411"/>
                    <a:pt x="6512821" y="426069"/>
                  </a:cubicBezTo>
                  <a:close/>
                  <a:moveTo>
                    <a:pt x="6221177" y="374162"/>
                  </a:moveTo>
                  <a:lnTo>
                    <a:pt x="6392465" y="374162"/>
                  </a:lnTo>
                  <a:cubicBezTo>
                    <a:pt x="6388361" y="320105"/>
                    <a:pt x="6353713" y="283438"/>
                    <a:pt x="6304802" y="283438"/>
                  </a:cubicBezTo>
                  <a:cubicBezTo>
                    <a:pt x="6246708" y="283438"/>
                    <a:pt x="6224238" y="334433"/>
                    <a:pt x="6221177" y="374162"/>
                  </a:cubicBezTo>
                  <a:close/>
                  <a:moveTo>
                    <a:pt x="5702235" y="667825"/>
                  </a:moveTo>
                  <a:lnTo>
                    <a:pt x="5583963" y="667825"/>
                  </a:lnTo>
                  <a:lnTo>
                    <a:pt x="5583963" y="634153"/>
                  </a:lnTo>
                  <a:cubicBezTo>
                    <a:pt x="5557456" y="663721"/>
                    <a:pt x="5514666" y="677984"/>
                    <a:pt x="5471812" y="677984"/>
                  </a:cubicBezTo>
                  <a:cubicBezTo>
                    <a:pt x="5347417" y="677984"/>
                    <a:pt x="5300525" y="588238"/>
                    <a:pt x="5300525" y="458763"/>
                  </a:cubicBezTo>
                  <a:lnTo>
                    <a:pt x="5300525" y="186527"/>
                  </a:lnTo>
                  <a:lnTo>
                    <a:pt x="5420817" y="186527"/>
                  </a:lnTo>
                  <a:lnTo>
                    <a:pt x="5420817" y="448538"/>
                  </a:lnTo>
                  <a:cubicBezTo>
                    <a:pt x="5420817" y="513797"/>
                    <a:pt x="5434103" y="562708"/>
                    <a:pt x="5501380" y="562708"/>
                  </a:cubicBezTo>
                  <a:cubicBezTo>
                    <a:pt x="5568657" y="562708"/>
                    <a:pt x="5581944" y="511712"/>
                    <a:pt x="5581944" y="452576"/>
                  </a:cubicBezTo>
                  <a:lnTo>
                    <a:pt x="5581944" y="186462"/>
                  </a:lnTo>
                  <a:lnTo>
                    <a:pt x="5702235" y="186462"/>
                  </a:lnTo>
                  <a:lnTo>
                    <a:pt x="5702235" y="667695"/>
                  </a:lnTo>
                  <a:close/>
                  <a:moveTo>
                    <a:pt x="3895579" y="426134"/>
                  </a:moveTo>
                  <a:cubicBezTo>
                    <a:pt x="3895579" y="441439"/>
                    <a:pt x="3894537" y="460782"/>
                    <a:pt x="3893560" y="467946"/>
                  </a:cubicBezTo>
                  <a:lnTo>
                    <a:pt x="3601981" y="467946"/>
                  </a:lnTo>
                  <a:cubicBezTo>
                    <a:pt x="3607061" y="535224"/>
                    <a:pt x="3652976" y="562773"/>
                    <a:pt x="3704949" y="562773"/>
                  </a:cubicBezTo>
                  <a:cubicBezTo>
                    <a:pt x="3735559" y="562773"/>
                    <a:pt x="3764085" y="553590"/>
                    <a:pt x="3788573" y="529102"/>
                  </a:cubicBezTo>
                  <a:lnTo>
                    <a:pt x="3874217" y="601459"/>
                  </a:lnTo>
                  <a:cubicBezTo>
                    <a:pt x="3829343" y="657535"/>
                    <a:pt x="3761024" y="677919"/>
                    <a:pt x="3699868" y="677919"/>
                  </a:cubicBezTo>
                  <a:cubicBezTo>
                    <a:pt x="3559192" y="677919"/>
                    <a:pt x="3478628" y="569872"/>
                    <a:pt x="3478628" y="428153"/>
                  </a:cubicBezTo>
                  <a:cubicBezTo>
                    <a:pt x="3478628" y="274190"/>
                    <a:pt x="3573455" y="176302"/>
                    <a:pt x="3691727" y="176302"/>
                  </a:cubicBezTo>
                  <a:cubicBezTo>
                    <a:pt x="3818141" y="176302"/>
                    <a:pt x="3895644" y="287411"/>
                    <a:pt x="3895644" y="426069"/>
                  </a:cubicBezTo>
                  <a:close/>
                  <a:moveTo>
                    <a:pt x="3604000" y="374162"/>
                  </a:moveTo>
                  <a:lnTo>
                    <a:pt x="3775287" y="374162"/>
                  </a:lnTo>
                  <a:cubicBezTo>
                    <a:pt x="3771184" y="320105"/>
                    <a:pt x="3736536" y="283438"/>
                    <a:pt x="3687624" y="283438"/>
                  </a:cubicBezTo>
                  <a:cubicBezTo>
                    <a:pt x="3629530" y="283438"/>
                    <a:pt x="3607061" y="334433"/>
                    <a:pt x="3604000" y="374162"/>
                  </a:cubicBezTo>
                  <a:close/>
                  <a:moveTo>
                    <a:pt x="4579686" y="1638365"/>
                  </a:moveTo>
                  <a:lnTo>
                    <a:pt x="4455291" y="1638365"/>
                  </a:lnTo>
                  <a:lnTo>
                    <a:pt x="4455291" y="1606778"/>
                  </a:lnTo>
                  <a:cubicBezTo>
                    <a:pt x="4414521" y="1636346"/>
                    <a:pt x="4390032" y="1648590"/>
                    <a:pt x="4346201" y="1648590"/>
                  </a:cubicBezTo>
                  <a:cubicBezTo>
                    <a:pt x="4207543" y="1648590"/>
                    <a:pt x="4148406" y="1528299"/>
                    <a:pt x="4148406" y="1393678"/>
                  </a:cubicBezTo>
                  <a:cubicBezTo>
                    <a:pt x="4148406" y="1247856"/>
                    <a:pt x="4217703" y="1146973"/>
                    <a:pt x="4343140" y="1146973"/>
                  </a:cubicBezTo>
                  <a:cubicBezTo>
                    <a:pt x="4384952" y="1146973"/>
                    <a:pt x="4424681" y="1158175"/>
                    <a:pt x="4455291" y="1185724"/>
                  </a:cubicBezTo>
                  <a:lnTo>
                    <a:pt x="4455291" y="1031761"/>
                  </a:lnTo>
                  <a:lnTo>
                    <a:pt x="4579686" y="969564"/>
                  </a:lnTo>
                  <a:lnTo>
                    <a:pt x="4579686" y="1638365"/>
                  </a:lnTo>
                  <a:close/>
                  <a:moveTo>
                    <a:pt x="4455356" y="1489547"/>
                  </a:moveTo>
                  <a:lnTo>
                    <a:pt x="4455356" y="1306016"/>
                  </a:lnTo>
                  <a:cubicBezTo>
                    <a:pt x="4428849" y="1277490"/>
                    <a:pt x="4403384" y="1264204"/>
                    <a:pt x="4368670" y="1264204"/>
                  </a:cubicBezTo>
                  <a:cubicBezTo>
                    <a:pt x="4296313" y="1264204"/>
                    <a:pt x="4278924" y="1321321"/>
                    <a:pt x="4278924" y="1389575"/>
                  </a:cubicBezTo>
                  <a:cubicBezTo>
                    <a:pt x="4278924" y="1467078"/>
                    <a:pt x="4301328" y="1531294"/>
                    <a:pt x="4371731" y="1531294"/>
                  </a:cubicBezTo>
                  <a:cubicBezTo>
                    <a:pt x="4406380" y="1531294"/>
                    <a:pt x="4430868" y="1515989"/>
                    <a:pt x="4455356" y="1489482"/>
                  </a:cubicBezTo>
                  <a:close/>
                  <a:moveTo>
                    <a:pt x="3945532" y="1157198"/>
                  </a:moveTo>
                  <a:lnTo>
                    <a:pt x="3945532" y="1638430"/>
                  </a:lnTo>
                  <a:lnTo>
                    <a:pt x="4069927" y="1638430"/>
                  </a:lnTo>
                  <a:lnTo>
                    <a:pt x="4069927" y="1157198"/>
                  </a:lnTo>
                  <a:lnTo>
                    <a:pt x="3945532" y="1157198"/>
                  </a:lnTo>
                  <a:close/>
                  <a:moveTo>
                    <a:pt x="3873175" y="985911"/>
                  </a:moveTo>
                  <a:lnTo>
                    <a:pt x="3873175" y="1085817"/>
                  </a:lnTo>
                  <a:cubicBezTo>
                    <a:pt x="3854809" y="1079695"/>
                    <a:pt x="3830386" y="1076634"/>
                    <a:pt x="3812019" y="1076634"/>
                  </a:cubicBezTo>
                  <a:cubicBezTo>
                    <a:pt x="3776329" y="1076634"/>
                    <a:pt x="3760047" y="1087836"/>
                    <a:pt x="3760047" y="1118447"/>
                  </a:cubicBezTo>
                  <a:lnTo>
                    <a:pt x="3760047" y="1157198"/>
                  </a:lnTo>
                  <a:lnTo>
                    <a:pt x="3863015" y="1157198"/>
                  </a:lnTo>
                  <a:lnTo>
                    <a:pt x="3863015" y="1273452"/>
                  </a:lnTo>
                  <a:lnTo>
                    <a:pt x="3760047" y="1273452"/>
                  </a:lnTo>
                  <a:lnTo>
                    <a:pt x="3760047" y="1638430"/>
                  </a:lnTo>
                  <a:lnTo>
                    <a:pt x="3635652" y="1638430"/>
                  </a:lnTo>
                  <a:lnTo>
                    <a:pt x="3635652" y="1273452"/>
                  </a:lnTo>
                  <a:lnTo>
                    <a:pt x="3568375" y="1273452"/>
                  </a:lnTo>
                  <a:lnTo>
                    <a:pt x="3568375" y="1157198"/>
                  </a:lnTo>
                  <a:lnTo>
                    <a:pt x="3635652" y="1157198"/>
                  </a:lnTo>
                  <a:lnTo>
                    <a:pt x="3635652" y="1099104"/>
                  </a:lnTo>
                  <a:cubicBezTo>
                    <a:pt x="3635652" y="1009357"/>
                    <a:pt x="3691727" y="972690"/>
                    <a:pt x="3782451" y="972690"/>
                  </a:cubicBezTo>
                  <a:cubicBezTo>
                    <a:pt x="3808958" y="972690"/>
                    <a:pt x="3847710" y="975751"/>
                    <a:pt x="3873175" y="985976"/>
                  </a:cubicBezTo>
                  <a:close/>
                  <a:moveTo>
                    <a:pt x="3507154" y="1638365"/>
                  </a:moveTo>
                  <a:lnTo>
                    <a:pt x="3382759" y="1638365"/>
                  </a:lnTo>
                  <a:lnTo>
                    <a:pt x="3382759" y="1376355"/>
                  </a:lnTo>
                  <a:cubicBezTo>
                    <a:pt x="3382759" y="1309077"/>
                    <a:pt x="3367454" y="1264204"/>
                    <a:pt x="3300177" y="1264204"/>
                  </a:cubicBezTo>
                  <a:cubicBezTo>
                    <a:pt x="3236937" y="1264204"/>
                    <a:pt x="3216552" y="1301913"/>
                    <a:pt x="3216552" y="1373293"/>
                  </a:cubicBezTo>
                  <a:lnTo>
                    <a:pt x="3216552" y="1638365"/>
                  </a:lnTo>
                  <a:lnTo>
                    <a:pt x="3092157" y="1638365"/>
                  </a:lnTo>
                  <a:lnTo>
                    <a:pt x="3092157" y="1157133"/>
                  </a:lnTo>
                  <a:lnTo>
                    <a:pt x="3216552" y="1157133"/>
                  </a:lnTo>
                  <a:lnTo>
                    <a:pt x="3216552" y="1189762"/>
                  </a:lnTo>
                  <a:cubicBezTo>
                    <a:pt x="3242017" y="1164297"/>
                    <a:pt x="3279792" y="1146973"/>
                    <a:pt x="3333783" y="1146973"/>
                  </a:cubicBezTo>
                  <a:cubicBezTo>
                    <a:pt x="3464300" y="1146973"/>
                    <a:pt x="3507089" y="1247922"/>
                    <a:pt x="3507089" y="1366195"/>
                  </a:cubicBezTo>
                  <a:lnTo>
                    <a:pt x="3507089" y="1638430"/>
                  </a:lnTo>
                  <a:close/>
                  <a:moveTo>
                    <a:pt x="2792437" y="1146973"/>
                  </a:moveTo>
                  <a:cubicBezTo>
                    <a:pt x="2653779" y="1146973"/>
                    <a:pt x="2567094" y="1256063"/>
                    <a:pt x="2567094" y="1397782"/>
                  </a:cubicBezTo>
                  <a:cubicBezTo>
                    <a:pt x="2567094" y="1546665"/>
                    <a:pt x="2661920" y="1648590"/>
                    <a:pt x="2792437" y="1648590"/>
                  </a:cubicBezTo>
                  <a:cubicBezTo>
                    <a:pt x="2922954" y="1648590"/>
                    <a:pt x="3017781" y="1546665"/>
                    <a:pt x="3017781" y="1397782"/>
                  </a:cubicBezTo>
                  <a:cubicBezTo>
                    <a:pt x="3017781" y="1248899"/>
                    <a:pt x="2931095" y="1146973"/>
                    <a:pt x="2792437" y="1146973"/>
                  </a:cubicBezTo>
                  <a:close/>
                  <a:moveTo>
                    <a:pt x="2792437" y="1528299"/>
                  </a:moveTo>
                  <a:cubicBezTo>
                    <a:pt x="2712916" y="1528299"/>
                    <a:pt x="2695592" y="1451838"/>
                    <a:pt x="2695592" y="1397782"/>
                  </a:cubicBezTo>
                  <a:cubicBezTo>
                    <a:pt x="2695592" y="1323340"/>
                    <a:pt x="2726202" y="1266288"/>
                    <a:pt x="2792437" y="1266288"/>
                  </a:cubicBezTo>
                  <a:cubicBezTo>
                    <a:pt x="2858673" y="1266288"/>
                    <a:pt x="2889283" y="1323405"/>
                    <a:pt x="2889283" y="1397782"/>
                  </a:cubicBezTo>
                  <a:cubicBezTo>
                    <a:pt x="2889283" y="1451838"/>
                    <a:pt x="2871959" y="1528299"/>
                    <a:pt x="2792437" y="1528299"/>
                  </a:cubicBezTo>
                  <a:close/>
                  <a:moveTo>
                    <a:pt x="2446802" y="1467143"/>
                  </a:moveTo>
                  <a:lnTo>
                    <a:pt x="2526323" y="1542561"/>
                  </a:lnTo>
                  <a:cubicBezTo>
                    <a:pt x="2485553" y="1594534"/>
                    <a:pt x="2429478" y="1648590"/>
                    <a:pt x="2334651" y="1648590"/>
                  </a:cubicBezTo>
                  <a:cubicBezTo>
                    <a:pt x="2203157" y="1648590"/>
                    <a:pt x="2106246" y="1543604"/>
                    <a:pt x="2106246" y="1398823"/>
                  </a:cubicBezTo>
                  <a:cubicBezTo>
                    <a:pt x="2106246" y="1266288"/>
                    <a:pt x="2186810" y="1146973"/>
                    <a:pt x="2336670" y="1146973"/>
                  </a:cubicBezTo>
                  <a:cubicBezTo>
                    <a:pt x="2422314" y="1146973"/>
                    <a:pt x="2481450" y="1185724"/>
                    <a:pt x="2525281" y="1250983"/>
                  </a:cubicBezTo>
                  <a:lnTo>
                    <a:pt x="2443741" y="1333565"/>
                  </a:lnTo>
                  <a:cubicBezTo>
                    <a:pt x="2415215" y="1295856"/>
                    <a:pt x="2384604" y="1266288"/>
                    <a:pt x="2335693" y="1266288"/>
                  </a:cubicBezTo>
                  <a:cubicBezTo>
                    <a:pt x="2269393" y="1266288"/>
                    <a:pt x="2234744" y="1322363"/>
                    <a:pt x="2234744" y="1396804"/>
                  </a:cubicBezTo>
                  <a:cubicBezTo>
                    <a:pt x="2234744" y="1466101"/>
                    <a:pt x="2265355" y="1528299"/>
                    <a:pt x="2336670" y="1528299"/>
                  </a:cubicBezTo>
                  <a:cubicBezTo>
                    <a:pt x="2380501" y="1528299"/>
                    <a:pt x="2417234" y="1504852"/>
                    <a:pt x="2446802" y="1467143"/>
                  </a:cubicBezTo>
                  <a:close/>
                  <a:moveTo>
                    <a:pt x="1803530" y="1638365"/>
                  </a:moveTo>
                  <a:lnTo>
                    <a:pt x="1679135" y="1638365"/>
                  </a:lnTo>
                  <a:lnTo>
                    <a:pt x="1679135" y="1376355"/>
                  </a:lnTo>
                  <a:cubicBezTo>
                    <a:pt x="1679135" y="1309077"/>
                    <a:pt x="1663830" y="1264204"/>
                    <a:pt x="1596553" y="1264204"/>
                  </a:cubicBezTo>
                  <a:cubicBezTo>
                    <a:pt x="1533314" y="1264204"/>
                    <a:pt x="1511951" y="1301913"/>
                    <a:pt x="1511951" y="1373293"/>
                  </a:cubicBezTo>
                  <a:lnTo>
                    <a:pt x="1511951" y="1638365"/>
                  </a:lnTo>
                  <a:lnTo>
                    <a:pt x="1387557" y="1638365"/>
                  </a:lnTo>
                  <a:lnTo>
                    <a:pt x="1387557" y="1031761"/>
                  </a:lnTo>
                  <a:lnTo>
                    <a:pt x="1511951" y="969564"/>
                  </a:lnTo>
                  <a:lnTo>
                    <a:pt x="1511951" y="1189762"/>
                  </a:lnTo>
                  <a:cubicBezTo>
                    <a:pt x="1535398" y="1161236"/>
                    <a:pt x="1584309" y="1146973"/>
                    <a:pt x="1632243" y="1146973"/>
                  </a:cubicBezTo>
                  <a:cubicBezTo>
                    <a:pt x="1758657" y="1146973"/>
                    <a:pt x="1803530" y="1246880"/>
                    <a:pt x="1803530" y="1366195"/>
                  </a:cubicBezTo>
                  <a:lnTo>
                    <a:pt x="1803530" y="1638430"/>
                  </a:lnTo>
                  <a:close/>
                  <a:moveTo>
                    <a:pt x="1311031" y="1493650"/>
                  </a:moveTo>
                  <a:lnTo>
                    <a:pt x="1292665" y="1619022"/>
                  </a:lnTo>
                  <a:cubicBezTo>
                    <a:pt x="1267200" y="1639407"/>
                    <a:pt x="1205979" y="1648590"/>
                    <a:pt x="1173350" y="1648590"/>
                  </a:cubicBezTo>
                  <a:cubicBezTo>
                    <a:pt x="1097931" y="1648590"/>
                    <a:pt x="1043875" y="1588412"/>
                    <a:pt x="1043875" y="1504852"/>
                  </a:cubicBezTo>
                  <a:lnTo>
                    <a:pt x="1043875" y="1273387"/>
                  </a:lnTo>
                  <a:lnTo>
                    <a:pt x="960250" y="1273387"/>
                  </a:lnTo>
                  <a:lnTo>
                    <a:pt x="960250" y="1157133"/>
                  </a:lnTo>
                  <a:lnTo>
                    <a:pt x="1043875" y="1157133"/>
                  </a:lnTo>
                  <a:lnTo>
                    <a:pt x="1043875" y="1031761"/>
                  </a:lnTo>
                  <a:lnTo>
                    <a:pt x="1168270" y="969564"/>
                  </a:lnTo>
                  <a:lnTo>
                    <a:pt x="1168270" y="1157133"/>
                  </a:lnTo>
                  <a:lnTo>
                    <a:pt x="1308947" y="1157133"/>
                  </a:lnTo>
                  <a:lnTo>
                    <a:pt x="1308947" y="1273387"/>
                  </a:lnTo>
                  <a:lnTo>
                    <a:pt x="1168270" y="1273387"/>
                  </a:lnTo>
                  <a:lnTo>
                    <a:pt x="1168270" y="1471181"/>
                  </a:lnTo>
                  <a:cubicBezTo>
                    <a:pt x="1168270" y="1515012"/>
                    <a:pt x="1184552" y="1529275"/>
                    <a:pt x="1214120" y="1529275"/>
                  </a:cubicBezTo>
                  <a:cubicBezTo>
                    <a:pt x="1243688" y="1529275"/>
                    <a:pt x="1289539" y="1513970"/>
                    <a:pt x="1310966" y="1493585"/>
                  </a:cubicBezTo>
                  <a:close/>
                  <a:moveTo>
                    <a:pt x="767666" y="1157198"/>
                  </a:moveTo>
                  <a:lnTo>
                    <a:pt x="767666" y="1638430"/>
                  </a:lnTo>
                  <a:lnTo>
                    <a:pt x="892061" y="1638430"/>
                  </a:lnTo>
                  <a:lnTo>
                    <a:pt x="892061" y="1157198"/>
                  </a:lnTo>
                  <a:lnTo>
                    <a:pt x="767666" y="1157198"/>
                  </a:lnTo>
                  <a:close/>
                  <a:moveTo>
                    <a:pt x="702408" y="1157198"/>
                  </a:moveTo>
                  <a:lnTo>
                    <a:pt x="550529" y="1638430"/>
                  </a:lnTo>
                  <a:lnTo>
                    <a:pt x="436359" y="1638430"/>
                  </a:lnTo>
                  <a:lnTo>
                    <a:pt x="354819" y="1345809"/>
                  </a:lnTo>
                  <a:lnTo>
                    <a:pt x="272236" y="1638430"/>
                  </a:lnTo>
                  <a:lnTo>
                    <a:pt x="158066" y="1638430"/>
                  </a:lnTo>
                  <a:lnTo>
                    <a:pt x="7099" y="1157198"/>
                  </a:lnTo>
                  <a:lnTo>
                    <a:pt x="145757" y="1157198"/>
                  </a:lnTo>
                  <a:lnTo>
                    <a:pt x="218114" y="1436533"/>
                  </a:lnTo>
                  <a:lnTo>
                    <a:pt x="299655" y="1157198"/>
                  </a:lnTo>
                  <a:lnTo>
                    <a:pt x="412848" y="1157198"/>
                  </a:lnTo>
                  <a:lnTo>
                    <a:pt x="494388" y="1436533"/>
                  </a:lnTo>
                  <a:lnTo>
                    <a:pt x="567788" y="1157198"/>
                  </a:lnTo>
                  <a:lnTo>
                    <a:pt x="702343" y="1157198"/>
                  </a:lnTo>
                  <a:close/>
                  <a:moveTo>
                    <a:pt x="4436990" y="16282"/>
                  </a:moveTo>
                  <a:lnTo>
                    <a:pt x="4436990" y="115147"/>
                  </a:lnTo>
                  <a:cubicBezTo>
                    <a:pt x="4409441" y="107983"/>
                    <a:pt x="4391139" y="104921"/>
                    <a:pt x="4374792" y="104921"/>
                  </a:cubicBezTo>
                  <a:cubicBezTo>
                    <a:pt x="4332003" y="104921"/>
                    <a:pt x="4322820" y="120227"/>
                    <a:pt x="4322820" y="144715"/>
                  </a:cubicBezTo>
                  <a:lnTo>
                    <a:pt x="4322820" y="186527"/>
                  </a:lnTo>
                  <a:lnTo>
                    <a:pt x="4404361" y="186527"/>
                  </a:lnTo>
                  <a:lnTo>
                    <a:pt x="4404361" y="302781"/>
                  </a:lnTo>
                  <a:lnTo>
                    <a:pt x="4322820" y="302781"/>
                  </a:lnTo>
                  <a:lnTo>
                    <a:pt x="4322820" y="667759"/>
                  </a:lnTo>
                  <a:lnTo>
                    <a:pt x="4202528" y="667759"/>
                  </a:lnTo>
                  <a:lnTo>
                    <a:pt x="4202528" y="302781"/>
                  </a:lnTo>
                  <a:lnTo>
                    <a:pt x="4143392" y="302781"/>
                  </a:lnTo>
                  <a:lnTo>
                    <a:pt x="4143392" y="186527"/>
                  </a:lnTo>
                  <a:lnTo>
                    <a:pt x="4202528" y="186527"/>
                  </a:lnTo>
                  <a:lnTo>
                    <a:pt x="4202528" y="128433"/>
                  </a:lnTo>
                  <a:cubicBezTo>
                    <a:pt x="4202528" y="44808"/>
                    <a:pt x="4246360" y="2019"/>
                    <a:pt x="4348350" y="2019"/>
                  </a:cubicBezTo>
                  <a:cubicBezTo>
                    <a:pt x="4380980" y="2019"/>
                    <a:pt x="4407487" y="8141"/>
                    <a:pt x="4437055" y="16282"/>
                  </a:cubicBezTo>
                  <a:close/>
                  <a:moveTo>
                    <a:pt x="2957602" y="527083"/>
                  </a:moveTo>
                  <a:lnTo>
                    <a:pt x="2940278" y="649458"/>
                  </a:lnTo>
                  <a:cubicBezTo>
                    <a:pt x="2915790" y="668802"/>
                    <a:pt x="2873001" y="677984"/>
                    <a:pt x="2843433" y="677984"/>
                  </a:cubicBezTo>
                  <a:cubicBezTo>
                    <a:pt x="2770033" y="677984"/>
                    <a:pt x="2712916" y="622951"/>
                    <a:pt x="2712916" y="535224"/>
                  </a:cubicBezTo>
                  <a:lnTo>
                    <a:pt x="2712916" y="301739"/>
                  </a:lnTo>
                  <a:lnTo>
                    <a:pt x="2629291" y="301739"/>
                  </a:lnTo>
                  <a:lnTo>
                    <a:pt x="2629291" y="186527"/>
                  </a:lnTo>
                  <a:lnTo>
                    <a:pt x="2712916" y="186527"/>
                  </a:lnTo>
                  <a:lnTo>
                    <a:pt x="2712916" y="61155"/>
                  </a:lnTo>
                  <a:lnTo>
                    <a:pt x="2833208" y="0"/>
                  </a:lnTo>
                  <a:lnTo>
                    <a:pt x="2833208" y="186592"/>
                  </a:lnTo>
                  <a:lnTo>
                    <a:pt x="2945358" y="186592"/>
                  </a:lnTo>
                  <a:lnTo>
                    <a:pt x="2945358" y="301804"/>
                  </a:lnTo>
                  <a:lnTo>
                    <a:pt x="2833208" y="301804"/>
                  </a:lnTo>
                  <a:lnTo>
                    <a:pt x="2833208" y="503701"/>
                  </a:lnTo>
                  <a:cubicBezTo>
                    <a:pt x="2833208" y="545514"/>
                    <a:pt x="2850532" y="560819"/>
                    <a:pt x="2880100" y="560819"/>
                  </a:cubicBezTo>
                  <a:cubicBezTo>
                    <a:pt x="2909668" y="560819"/>
                    <a:pt x="2938194" y="545514"/>
                    <a:pt x="2957602" y="527148"/>
                  </a:cubicBezTo>
                  <a:close/>
                  <a:moveTo>
                    <a:pt x="2397891" y="426134"/>
                  </a:moveTo>
                  <a:cubicBezTo>
                    <a:pt x="2397891" y="441439"/>
                    <a:pt x="2396849" y="460782"/>
                    <a:pt x="2395872" y="467946"/>
                  </a:cubicBezTo>
                  <a:lnTo>
                    <a:pt x="2114453" y="467946"/>
                  </a:lnTo>
                  <a:cubicBezTo>
                    <a:pt x="2119533" y="535224"/>
                    <a:pt x="2166425" y="562773"/>
                    <a:pt x="2218462" y="562773"/>
                  </a:cubicBezTo>
                  <a:cubicBezTo>
                    <a:pt x="2249073" y="562773"/>
                    <a:pt x="2276557" y="553590"/>
                    <a:pt x="2301045" y="529102"/>
                  </a:cubicBezTo>
                  <a:lnTo>
                    <a:pt x="2386689" y="601459"/>
                  </a:lnTo>
                  <a:cubicBezTo>
                    <a:pt x="2346895" y="654473"/>
                    <a:pt x="2274538" y="677919"/>
                    <a:pt x="2210321" y="677919"/>
                  </a:cubicBezTo>
                  <a:cubicBezTo>
                    <a:pt x="2072705" y="677919"/>
                    <a:pt x="1991100" y="569872"/>
                    <a:pt x="1991100" y="429130"/>
                  </a:cubicBezTo>
                  <a:cubicBezTo>
                    <a:pt x="1991100" y="288388"/>
                    <a:pt x="2079804" y="176302"/>
                    <a:pt x="2205176" y="176302"/>
                  </a:cubicBezTo>
                  <a:cubicBezTo>
                    <a:pt x="2339731" y="176302"/>
                    <a:pt x="2397891" y="298678"/>
                    <a:pt x="2397891" y="426069"/>
                  </a:cubicBezTo>
                  <a:close/>
                  <a:moveTo>
                    <a:pt x="2116472" y="374162"/>
                  </a:moveTo>
                  <a:lnTo>
                    <a:pt x="2287759" y="374162"/>
                  </a:lnTo>
                  <a:cubicBezTo>
                    <a:pt x="2282679" y="320105"/>
                    <a:pt x="2251027" y="283438"/>
                    <a:pt x="2199054" y="283438"/>
                  </a:cubicBezTo>
                  <a:cubicBezTo>
                    <a:pt x="2144021" y="283438"/>
                    <a:pt x="2119533" y="334433"/>
                    <a:pt x="2116472" y="374162"/>
                  </a:cubicBezTo>
                  <a:close/>
                  <a:moveTo>
                    <a:pt x="1933982" y="428218"/>
                  </a:moveTo>
                  <a:cubicBezTo>
                    <a:pt x="1933982" y="551571"/>
                    <a:pt x="1882987" y="677984"/>
                    <a:pt x="1746413" y="677984"/>
                  </a:cubicBezTo>
                  <a:cubicBezTo>
                    <a:pt x="1693399" y="677984"/>
                    <a:pt x="1660769" y="658642"/>
                    <a:pt x="1639342" y="638191"/>
                  </a:cubicBezTo>
                  <a:lnTo>
                    <a:pt x="1639342" y="784990"/>
                  </a:lnTo>
                  <a:lnTo>
                    <a:pt x="1519050" y="845169"/>
                  </a:lnTo>
                  <a:lnTo>
                    <a:pt x="1519050" y="186527"/>
                  </a:lnTo>
                  <a:lnTo>
                    <a:pt x="1639342" y="186527"/>
                  </a:lnTo>
                  <a:lnTo>
                    <a:pt x="1639342" y="219157"/>
                  </a:lnTo>
                  <a:cubicBezTo>
                    <a:pt x="1670929" y="190630"/>
                    <a:pt x="1703559" y="176367"/>
                    <a:pt x="1748432" y="176367"/>
                  </a:cubicBezTo>
                  <a:cubicBezTo>
                    <a:pt x="1877907" y="176367"/>
                    <a:pt x="1933982" y="298743"/>
                    <a:pt x="1933982" y="428218"/>
                  </a:cubicBezTo>
                  <a:close/>
                  <a:moveTo>
                    <a:pt x="1809587" y="434340"/>
                  </a:moveTo>
                  <a:cubicBezTo>
                    <a:pt x="1809587" y="364002"/>
                    <a:pt x="1791221" y="292621"/>
                    <a:pt x="1718864" y="292621"/>
                  </a:cubicBezTo>
                  <a:cubicBezTo>
                    <a:pt x="1685193" y="292621"/>
                    <a:pt x="1658685" y="307926"/>
                    <a:pt x="1639342" y="335410"/>
                  </a:cubicBezTo>
                  <a:lnTo>
                    <a:pt x="1639342" y="518942"/>
                  </a:lnTo>
                  <a:cubicBezTo>
                    <a:pt x="1658685" y="546491"/>
                    <a:pt x="1691315" y="562773"/>
                    <a:pt x="1726028" y="562773"/>
                  </a:cubicBezTo>
                  <a:cubicBezTo>
                    <a:pt x="1793305" y="562773"/>
                    <a:pt x="1809652" y="501618"/>
                    <a:pt x="1809652" y="434340"/>
                  </a:cubicBezTo>
                  <a:close/>
                  <a:moveTo>
                    <a:pt x="1435426" y="667825"/>
                  </a:moveTo>
                  <a:lnTo>
                    <a:pt x="1315134" y="667825"/>
                  </a:lnTo>
                  <a:lnTo>
                    <a:pt x="1315134" y="634153"/>
                  </a:lnTo>
                  <a:cubicBezTo>
                    <a:pt x="1286608" y="662680"/>
                    <a:pt x="1249876" y="677984"/>
                    <a:pt x="1202983" y="677984"/>
                  </a:cubicBezTo>
                  <a:cubicBezTo>
                    <a:pt x="1108157" y="677984"/>
                    <a:pt x="1033715" y="616829"/>
                    <a:pt x="1033715" y="510800"/>
                  </a:cubicBezTo>
                  <a:cubicBezTo>
                    <a:pt x="1033715" y="404772"/>
                    <a:pt x="1106072" y="348696"/>
                    <a:pt x="1221284" y="348696"/>
                  </a:cubicBezTo>
                  <a:cubicBezTo>
                    <a:pt x="1251894" y="348696"/>
                    <a:pt x="1283482" y="352799"/>
                    <a:pt x="1315069" y="368040"/>
                  </a:cubicBezTo>
                  <a:lnTo>
                    <a:pt x="1315069" y="342574"/>
                  </a:lnTo>
                  <a:cubicBezTo>
                    <a:pt x="1315069" y="297701"/>
                    <a:pt x="1285501" y="279335"/>
                    <a:pt x="1232486" y="279335"/>
                  </a:cubicBezTo>
                  <a:cubicBezTo>
                    <a:pt x="1194777" y="279335"/>
                    <a:pt x="1159087" y="288518"/>
                    <a:pt x="1121378" y="310922"/>
                  </a:cubicBezTo>
                  <a:lnTo>
                    <a:pt x="1073443" y="225278"/>
                  </a:lnTo>
                  <a:cubicBezTo>
                    <a:pt x="1125416" y="192649"/>
                    <a:pt x="1175369" y="176367"/>
                    <a:pt x="1239650" y="176367"/>
                  </a:cubicBezTo>
                  <a:cubicBezTo>
                    <a:pt x="1360984" y="176367"/>
                    <a:pt x="1435426" y="235503"/>
                    <a:pt x="1435426" y="344593"/>
                  </a:cubicBezTo>
                  <a:lnTo>
                    <a:pt x="1435426" y="667759"/>
                  </a:lnTo>
                  <a:close/>
                  <a:moveTo>
                    <a:pt x="1315134" y="527083"/>
                  </a:moveTo>
                  <a:lnTo>
                    <a:pt x="1315134" y="465927"/>
                  </a:lnTo>
                  <a:cubicBezTo>
                    <a:pt x="1290646" y="450622"/>
                    <a:pt x="1259059" y="445542"/>
                    <a:pt x="1234570" y="445542"/>
                  </a:cubicBezTo>
                  <a:cubicBezTo>
                    <a:pt x="1181556" y="445542"/>
                    <a:pt x="1156091" y="468988"/>
                    <a:pt x="1156091" y="507740"/>
                  </a:cubicBezTo>
                  <a:cubicBezTo>
                    <a:pt x="1156091" y="544472"/>
                    <a:pt x="1179537" y="574040"/>
                    <a:pt x="1224410" y="574040"/>
                  </a:cubicBezTo>
                  <a:cubicBezTo>
                    <a:pt x="1247857" y="574040"/>
                    <a:pt x="1288627" y="565899"/>
                    <a:pt x="1315134" y="527148"/>
                  </a:cubicBezTo>
                  <a:close/>
                  <a:moveTo>
                    <a:pt x="967480" y="667825"/>
                  </a:moveTo>
                  <a:lnTo>
                    <a:pt x="847188" y="667825"/>
                  </a:lnTo>
                  <a:lnTo>
                    <a:pt x="847188" y="405814"/>
                  </a:lnTo>
                  <a:cubicBezTo>
                    <a:pt x="847188" y="340555"/>
                    <a:pt x="832925" y="292621"/>
                    <a:pt x="765647" y="292621"/>
                  </a:cubicBezTo>
                  <a:cubicBezTo>
                    <a:pt x="698370" y="292621"/>
                    <a:pt x="683065" y="336452"/>
                    <a:pt x="683065" y="402753"/>
                  </a:cubicBezTo>
                  <a:lnTo>
                    <a:pt x="683065" y="667825"/>
                  </a:lnTo>
                  <a:lnTo>
                    <a:pt x="562773" y="667825"/>
                  </a:lnTo>
                  <a:lnTo>
                    <a:pt x="562773" y="61221"/>
                  </a:lnTo>
                  <a:lnTo>
                    <a:pt x="683065" y="65"/>
                  </a:lnTo>
                  <a:lnTo>
                    <a:pt x="683065" y="220264"/>
                  </a:lnTo>
                  <a:cubicBezTo>
                    <a:pt x="709572" y="193756"/>
                    <a:pt x="742201" y="176432"/>
                    <a:pt x="796258" y="176432"/>
                  </a:cubicBezTo>
                  <a:cubicBezTo>
                    <a:pt x="923713" y="176432"/>
                    <a:pt x="967545" y="274320"/>
                    <a:pt x="967545" y="396631"/>
                  </a:cubicBezTo>
                  <a:lnTo>
                    <a:pt x="967545" y="667825"/>
                  </a:lnTo>
                  <a:close/>
                  <a:moveTo>
                    <a:pt x="496472" y="475110"/>
                  </a:moveTo>
                  <a:cubicBezTo>
                    <a:pt x="496472" y="619890"/>
                    <a:pt x="386341" y="677984"/>
                    <a:pt x="255889" y="677984"/>
                  </a:cubicBezTo>
                  <a:cubicBezTo>
                    <a:pt x="162104" y="677984"/>
                    <a:pt x="58094" y="648416"/>
                    <a:pt x="0" y="562773"/>
                  </a:cubicBezTo>
                  <a:lnTo>
                    <a:pt x="89747" y="483251"/>
                  </a:lnTo>
                  <a:cubicBezTo>
                    <a:pt x="131559" y="533205"/>
                    <a:pt x="191672" y="556651"/>
                    <a:pt x="252893" y="556651"/>
                  </a:cubicBezTo>
                  <a:cubicBezTo>
                    <a:pt x="325250" y="556651"/>
                    <a:pt x="367063" y="524022"/>
                    <a:pt x="367063" y="478171"/>
                  </a:cubicBezTo>
                  <a:cubicBezTo>
                    <a:pt x="367063" y="459805"/>
                    <a:pt x="359899" y="441439"/>
                    <a:pt x="329353" y="426199"/>
                  </a:cubicBezTo>
                  <a:cubicBezTo>
                    <a:pt x="306949" y="414997"/>
                    <a:pt x="279400" y="407833"/>
                    <a:pt x="225344" y="394612"/>
                  </a:cubicBezTo>
                  <a:cubicBezTo>
                    <a:pt x="191672" y="386471"/>
                    <a:pt x="122376" y="370124"/>
                    <a:pt x="79522" y="335475"/>
                  </a:cubicBezTo>
                  <a:cubicBezTo>
                    <a:pt x="36732" y="300827"/>
                    <a:pt x="24488" y="250874"/>
                    <a:pt x="24488" y="207042"/>
                  </a:cubicBezTo>
                  <a:cubicBezTo>
                    <a:pt x="24488" y="71445"/>
                    <a:pt x="140742" y="16412"/>
                    <a:pt x="254912" y="16412"/>
                  </a:cubicBezTo>
                  <a:cubicBezTo>
                    <a:pt x="353776" y="16412"/>
                    <a:pt x="425157" y="57182"/>
                    <a:pt x="482274" y="115277"/>
                  </a:cubicBezTo>
                  <a:lnTo>
                    <a:pt x="392528" y="202939"/>
                  </a:lnTo>
                  <a:cubicBezTo>
                    <a:pt x="350715" y="161127"/>
                    <a:pt x="309945" y="137681"/>
                    <a:pt x="246706" y="137681"/>
                  </a:cubicBezTo>
                  <a:cubicBezTo>
                    <a:pt x="192649" y="137681"/>
                    <a:pt x="152921" y="155005"/>
                    <a:pt x="152921" y="199878"/>
                  </a:cubicBezTo>
                  <a:cubicBezTo>
                    <a:pt x="152921" y="219221"/>
                    <a:pt x="160085" y="232508"/>
                    <a:pt x="179428" y="243710"/>
                  </a:cubicBezTo>
                  <a:cubicBezTo>
                    <a:pt x="201832" y="255954"/>
                    <a:pt x="233485" y="265137"/>
                    <a:pt x="282396" y="277381"/>
                  </a:cubicBezTo>
                  <a:cubicBezTo>
                    <a:pt x="340490" y="292686"/>
                    <a:pt x="394547" y="305907"/>
                    <a:pt x="438378" y="341598"/>
                  </a:cubicBezTo>
                  <a:cubicBezTo>
                    <a:pt x="477129" y="373185"/>
                    <a:pt x="496472" y="414997"/>
                    <a:pt x="496472" y="475176"/>
                  </a:cubicBezTo>
                  <a:close/>
                  <a:moveTo>
                    <a:pt x="6100885" y="208996"/>
                  </a:moveTo>
                  <a:lnTo>
                    <a:pt x="6051778" y="329288"/>
                  </a:lnTo>
                  <a:cubicBezTo>
                    <a:pt x="6033413" y="311964"/>
                    <a:pt x="6011985" y="299720"/>
                    <a:pt x="5982482" y="299720"/>
                  </a:cubicBezTo>
                  <a:cubicBezTo>
                    <a:pt x="5925365" y="299720"/>
                    <a:pt x="5911232" y="347654"/>
                    <a:pt x="5911232" y="405749"/>
                  </a:cubicBezTo>
                  <a:lnTo>
                    <a:pt x="5911232" y="667759"/>
                  </a:lnTo>
                  <a:lnTo>
                    <a:pt x="5790940" y="667759"/>
                  </a:lnTo>
                  <a:lnTo>
                    <a:pt x="5790940" y="186527"/>
                  </a:lnTo>
                  <a:lnTo>
                    <a:pt x="5911232" y="186527"/>
                  </a:lnTo>
                  <a:lnTo>
                    <a:pt x="5911232" y="220198"/>
                  </a:lnTo>
                  <a:cubicBezTo>
                    <a:pt x="5938781" y="192649"/>
                    <a:pt x="5973429" y="176367"/>
                    <a:pt x="6012181" y="176367"/>
                  </a:cubicBezTo>
                  <a:cubicBezTo>
                    <a:pt x="6045852" y="176367"/>
                    <a:pt x="6075420" y="186592"/>
                    <a:pt x="6100885" y="208996"/>
                  </a:cubicBezTo>
                  <a:close/>
                </a:path>
              </a:pathLst>
            </a:custGeom>
            <a:solidFill>
              <a:srgbClr val="FFFFFF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1494786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Spectru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bright light in the dark&#10;&#10;Description automatically generated">
            <a:extLst>
              <a:ext uri="{FF2B5EF4-FFF2-40B4-BE49-F238E27FC236}">
                <a16:creationId xmlns:a16="http://schemas.microsoft.com/office/drawing/2014/main" id="{963FEC0B-473D-E3B8-1E1E-E29DFA66AD11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3200" cy="6858000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A1220A54-6882-53B1-3380-1A61010197C4}"/>
              </a:ext>
            </a:extLst>
          </p:cNvPr>
          <p:cNvGrpSpPr/>
          <p:nvPr userDrawn="1"/>
        </p:nvGrpSpPr>
        <p:grpSpPr>
          <a:xfrm>
            <a:off x="485775" y="6164633"/>
            <a:ext cx="4940935" cy="318770"/>
            <a:chOff x="485775" y="6164633"/>
            <a:chExt cx="4940935" cy="318770"/>
          </a:xfrm>
        </p:grpSpPr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4788DF65-E85A-7EA9-F2BB-B439D5C7EB16}"/>
                </a:ext>
              </a:extLst>
            </p:cNvPr>
            <p:cNvSpPr/>
            <p:nvPr userDrawn="1"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DB6421F7-1BA7-70C3-4C7B-0694CD3F9A63}"/>
                </a:ext>
              </a:extLst>
            </p:cNvPr>
            <p:cNvSpPr/>
            <p:nvPr userDrawn="1"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068E9B09-FE70-E913-490B-27400CDE026B}"/>
              </a:ext>
            </a:extLst>
          </p:cNvPr>
          <p:cNvGrpSpPr/>
          <p:nvPr userDrawn="1"/>
        </p:nvGrpSpPr>
        <p:grpSpPr>
          <a:xfrm>
            <a:off x="485774" y="1291008"/>
            <a:ext cx="5706110" cy="4360545"/>
            <a:chOff x="485774" y="1291008"/>
            <a:chExt cx="5706110" cy="4360545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B4038A11-FAB8-DE3A-2D5D-3D1F11925688}"/>
                </a:ext>
              </a:extLst>
            </p:cNvPr>
            <p:cNvSpPr/>
            <p:nvPr userDrawn="1"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FD45E8E5-E623-933A-074B-D3B9860ABECB}"/>
                </a:ext>
              </a:extLst>
            </p:cNvPr>
            <p:cNvSpPr/>
            <p:nvPr userDrawn="1"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gradFill flip="none" rotWithShape="1">
              <a:gsLst>
                <a:gs pos="39000">
                  <a:srgbClr val="FFE600"/>
                </a:gs>
                <a:gs pos="68000">
                  <a:srgbClr val="A420F8"/>
                </a:gs>
                <a:gs pos="100000">
                  <a:srgbClr val="5C94F9"/>
                </a:gs>
              </a:gsLst>
              <a:lin ang="18720000" scaled="0"/>
              <a:tileRect/>
            </a:gradFill>
            <a:ln w="8181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</p:grpSp>
      <p:sp>
        <p:nvSpPr>
          <p:cNvPr id="28" name="Subtitle 2">
            <a:extLst>
              <a:ext uri="{FF2B5EF4-FFF2-40B4-BE49-F238E27FC236}">
                <a16:creationId xmlns:a16="http://schemas.microsoft.com/office/drawing/2014/main" id="{4CE2B77E-5DDA-CC5C-A575-69779E57947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89762" y="4436485"/>
            <a:ext cx="4907628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tx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edit master subtitle style</a:t>
            </a:r>
            <a:endParaRPr lang="en-US" dirty="0"/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2C2EB3B4-62C2-DB27-F905-7B5310DF5C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9762" y="2698751"/>
            <a:ext cx="4906009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tx1"/>
                </a:solidFill>
                <a:latin typeface="EYInterstate" panose="02000503020000020004" pitchFamily="2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0" name="Text Placeholder 288">
            <a:extLst>
              <a:ext uri="{FF2B5EF4-FFF2-40B4-BE49-F238E27FC236}">
                <a16:creationId xmlns:a16="http://schemas.microsoft.com/office/drawing/2014/main" id="{41B1F747-977A-C01C-9182-B92C691E57F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89762" y="5047485"/>
            <a:ext cx="4906010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  <a:latin typeface="EYInterstate" panose="02000503020000020004" pitchFamily="2" charset="0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8F9C0FF-258E-8363-A5DF-DBEE8F7DBB3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562024" y="5167683"/>
            <a:ext cx="1220400" cy="1285398"/>
            <a:chOff x="3913438" y="-99392"/>
            <a:chExt cx="6512821" cy="6859693"/>
          </a:xfrm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9C512783-0C4C-5151-CAE6-146AA9E6F5CD}"/>
                </a:ext>
              </a:extLst>
            </p:cNvPr>
            <p:cNvSpPr/>
            <p:nvPr/>
          </p:nvSpPr>
          <p:spPr>
            <a:xfrm>
              <a:off x="5319751" y="-99392"/>
              <a:ext cx="4303606" cy="1570696"/>
            </a:xfrm>
            <a:custGeom>
              <a:avLst/>
              <a:gdLst>
                <a:gd name="connsiteX0" fmla="*/ 4303607 w 4303606"/>
                <a:gd name="connsiteY0" fmla="*/ 0 h 1570696"/>
                <a:gd name="connsiteX1" fmla="*/ 0 w 4303606"/>
                <a:gd name="connsiteY1" fmla="*/ 1570697 h 1570696"/>
                <a:gd name="connsiteX2" fmla="*/ 4303607 w 4303606"/>
                <a:gd name="connsiteY2" fmla="*/ 810521 h 1570696"/>
                <a:gd name="connsiteX3" fmla="*/ 4303607 w 4303606"/>
                <a:gd name="connsiteY3" fmla="*/ 0 h 1570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03606" h="1570696">
                  <a:moveTo>
                    <a:pt x="4303607" y="0"/>
                  </a:moveTo>
                  <a:lnTo>
                    <a:pt x="0" y="1570697"/>
                  </a:lnTo>
                  <a:lnTo>
                    <a:pt x="4303607" y="810521"/>
                  </a:lnTo>
                  <a:lnTo>
                    <a:pt x="4303607" y="0"/>
                  </a:lnTo>
                  <a:close/>
                </a:path>
              </a:pathLst>
            </a:custGeom>
            <a:solidFill>
              <a:srgbClr val="FFE600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C6DF74BF-1D17-9014-1B6E-93895F45C989}"/>
                </a:ext>
              </a:extLst>
            </p:cNvPr>
            <p:cNvSpPr/>
            <p:nvPr/>
          </p:nvSpPr>
          <p:spPr>
            <a:xfrm>
              <a:off x="5357395" y="2124345"/>
              <a:ext cx="3613052" cy="2176910"/>
            </a:xfrm>
            <a:custGeom>
              <a:avLst/>
              <a:gdLst>
                <a:gd name="connsiteX0" fmla="*/ 652845 w 3613052"/>
                <a:gd name="connsiteY0" fmla="*/ 1676205 h 2176910"/>
                <a:gd name="connsiteX1" fmla="*/ 1741463 w 3613052"/>
                <a:gd name="connsiteY1" fmla="*/ 1676205 h 2176910"/>
                <a:gd name="connsiteX2" fmla="*/ 1741463 w 3613052"/>
                <a:gd name="connsiteY2" fmla="*/ 2176910 h 2176910"/>
                <a:gd name="connsiteX3" fmla="*/ 0 w 3613052"/>
                <a:gd name="connsiteY3" fmla="*/ 2176910 h 2176910"/>
                <a:gd name="connsiteX4" fmla="*/ 0 w 3613052"/>
                <a:gd name="connsiteY4" fmla="*/ 0 h 2176910"/>
                <a:gd name="connsiteX5" fmla="*/ 1234766 w 3613052"/>
                <a:gd name="connsiteY5" fmla="*/ 0 h 2176910"/>
                <a:gd name="connsiteX6" fmla="*/ 1523675 w 3613052"/>
                <a:gd name="connsiteY6" fmla="*/ 500706 h 2176910"/>
                <a:gd name="connsiteX7" fmla="*/ 652910 w 3613052"/>
                <a:gd name="connsiteY7" fmla="*/ 500706 h 2176910"/>
                <a:gd name="connsiteX8" fmla="*/ 652910 w 3613052"/>
                <a:gd name="connsiteY8" fmla="*/ 859953 h 2176910"/>
                <a:gd name="connsiteX9" fmla="*/ 1440050 w 3613052"/>
                <a:gd name="connsiteY9" fmla="*/ 859953 h 2176910"/>
                <a:gd name="connsiteX10" fmla="*/ 1440050 w 3613052"/>
                <a:gd name="connsiteY10" fmla="*/ 1317022 h 2176910"/>
                <a:gd name="connsiteX11" fmla="*/ 652910 w 3613052"/>
                <a:gd name="connsiteY11" fmla="*/ 1317022 h 2176910"/>
                <a:gd name="connsiteX12" fmla="*/ 652910 w 3613052"/>
                <a:gd name="connsiteY12" fmla="*/ 1676205 h 2176910"/>
                <a:gd name="connsiteX13" fmla="*/ 2900485 w 3613052"/>
                <a:gd name="connsiteY13" fmla="*/ 0 h 2176910"/>
                <a:gd name="connsiteX14" fmla="*/ 2530687 w 3613052"/>
                <a:gd name="connsiteY14" fmla="*/ 710418 h 2176910"/>
                <a:gd name="connsiteX15" fmla="*/ 2161801 w 3613052"/>
                <a:gd name="connsiteY15" fmla="*/ 0 h 2176910"/>
                <a:gd name="connsiteX16" fmla="*/ 1439985 w 3613052"/>
                <a:gd name="connsiteY16" fmla="*/ 0 h 2176910"/>
                <a:gd name="connsiteX17" fmla="*/ 2200552 w 3613052"/>
                <a:gd name="connsiteY17" fmla="*/ 1317022 h 2176910"/>
                <a:gd name="connsiteX18" fmla="*/ 2200552 w 3613052"/>
                <a:gd name="connsiteY18" fmla="*/ 2176910 h 2176910"/>
                <a:gd name="connsiteX19" fmla="*/ 2851443 w 3613052"/>
                <a:gd name="connsiteY19" fmla="*/ 2176910 h 2176910"/>
                <a:gd name="connsiteX20" fmla="*/ 2851443 w 3613052"/>
                <a:gd name="connsiteY20" fmla="*/ 1317022 h 2176910"/>
                <a:gd name="connsiteX21" fmla="*/ 3613053 w 3613052"/>
                <a:gd name="connsiteY21" fmla="*/ 0 h 2176910"/>
                <a:gd name="connsiteX22" fmla="*/ 2900485 w 3613052"/>
                <a:gd name="connsiteY22" fmla="*/ 0 h 2176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613052" h="2176910">
                  <a:moveTo>
                    <a:pt x="652845" y="1676205"/>
                  </a:moveTo>
                  <a:lnTo>
                    <a:pt x="1741463" y="1676205"/>
                  </a:lnTo>
                  <a:lnTo>
                    <a:pt x="1741463" y="2176910"/>
                  </a:lnTo>
                  <a:lnTo>
                    <a:pt x="0" y="2176910"/>
                  </a:lnTo>
                  <a:lnTo>
                    <a:pt x="0" y="0"/>
                  </a:lnTo>
                  <a:lnTo>
                    <a:pt x="1234766" y="0"/>
                  </a:lnTo>
                  <a:lnTo>
                    <a:pt x="1523675" y="500706"/>
                  </a:lnTo>
                  <a:lnTo>
                    <a:pt x="652910" y="500706"/>
                  </a:lnTo>
                  <a:lnTo>
                    <a:pt x="652910" y="859953"/>
                  </a:lnTo>
                  <a:lnTo>
                    <a:pt x="1440050" y="859953"/>
                  </a:lnTo>
                  <a:lnTo>
                    <a:pt x="1440050" y="1317022"/>
                  </a:lnTo>
                  <a:lnTo>
                    <a:pt x="652910" y="1317022"/>
                  </a:lnTo>
                  <a:lnTo>
                    <a:pt x="652910" y="1676205"/>
                  </a:lnTo>
                  <a:close/>
                  <a:moveTo>
                    <a:pt x="2900485" y="0"/>
                  </a:moveTo>
                  <a:lnTo>
                    <a:pt x="2530687" y="710418"/>
                  </a:lnTo>
                  <a:lnTo>
                    <a:pt x="2161801" y="0"/>
                  </a:lnTo>
                  <a:lnTo>
                    <a:pt x="1439985" y="0"/>
                  </a:lnTo>
                  <a:lnTo>
                    <a:pt x="2200552" y="1317022"/>
                  </a:lnTo>
                  <a:lnTo>
                    <a:pt x="2200552" y="2176910"/>
                  </a:lnTo>
                  <a:lnTo>
                    <a:pt x="2851443" y="2176910"/>
                  </a:lnTo>
                  <a:lnTo>
                    <a:pt x="2851443" y="1317022"/>
                  </a:lnTo>
                  <a:lnTo>
                    <a:pt x="3613053" y="0"/>
                  </a:lnTo>
                  <a:lnTo>
                    <a:pt x="2900485" y="0"/>
                  </a:lnTo>
                  <a:close/>
                </a:path>
              </a:pathLst>
            </a:custGeom>
            <a:solidFill>
              <a:srgbClr val="FFFFFF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8F9AC3AF-EFC6-BFFC-C56B-6DCC6CC17E82}"/>
                </a:ext>
              </a:extLst>
            </p:cNvPr>
            <p:cNvSpPr/>
            <p:nvPr/>
          </p:nvSpPr>
          <p:spPr>
            <a:xfrm>
              <a:off x="3913438" y="5111711"/>
              <a:ext cx="6512821" cy="1648590"/>
            </a:xfrm>
            <a:custGeom>
              <a:avLst/>
              <a:gdLst>
                <a:gd name="connsiteX0" fmla="*/ 5071143 w 6512821"/>
                <a:gd name="connsiteY0" fmla="*/ 1396740 h 1648590"/>
                <a:gd name="connsiteX1" fmla="*/ 5069124 w 6512821"/>
                <a:gd name="connsiteY1" fmla="*/ 1438552 h 1648590"/>
                <a:gd name="connsiteX2" fmla="*/ 4777545 w 6512821"/>
                <a:gd name="connsiteY2" fmla="*/ 1438552 h 1648590"/>
                <a:gd name="connsiteX3" fmla="*/ 4880513 w 6512821"/>
                <a:gd name="connsiteY3" fmla="*/ 1533378 h 1648590"/>
                <a:gd name="connsiteX4" fmla="*/ 4964137 w 6512821"/>
                <a:gd name="connsiteY4" fmla="*/ 1499707 h 1648590"/>
                <a:gd name="connsiteX5" fmla="*/ 5049781 w 6512821"/>
                <a:gd name="connsiteY5" fmla="*/ 1572065 h 1648590"/>
                <a:gd name="connsiteX6" fmla="*/ 4875433 w 6512821"/>
                <a:gd name="connsiteY6" fmla="*/ 1648525 h 1648590"/>
                <a:gd name="connsiteX7" fmla="*/ 4654192 w 6512821"/>
                <a:gd name="connsiteY7" fmla="*/ 1398759 h 1648590"/>
                <a:gd name="connsiteX8" fmla="*/ 4867292 w 6512821"/>
                <a:gd name="connsiteY8" fmla="*/ 1146908 h 1648590"/>
                <a:gd name="connsiteX9" fmla="*/ 5071208 w 6512821"/>
                <a:gd name="connsiteY9" fmla="*/ 1396675 h 1648590"/>
                <a:gd name="connsiteX10" fmla="*/ 4779564 w 6512821"/>
                <a:gd name="connsiteY10" fmla="*/ 1344767 h 1648590"/>
                <a:gd name="connsiteX11" fmla="*/ 4950851 w 6512821"/>
                <a:gd name="connsiteY11" fmla="*/ 1344767 h 1648590"/>
                <a:gd name="connsiteX12" fmla="*/ 4863189 w 6512821"/>
                <a:gd name="connsiteY12" fmla="*/ 1254044 h 1648590"/>
                <a:gd name="connsiteX13" fmla="*/ 4779564 w 6512821"/>
                <a:gd name="connsiteY13" fmla="*/ 1344767 h 1648590"/>
                <a:gd name="connsiteX14" fmla="*/ 6512756 w 6512821"/>
                <a:gd name="connsiteY14" fmla="*/ 1396740 h 1648590"/>
                <a:gd name="connsiteX15" fmla="*/ 6510737 w 6512821"/>
                <a:gd name="connsiteY15" fmla="*/ 1438552 h 1648590"/>
                <a:gd name="connsiteX16" fmla="*/ 6219158 w 6512821"/>
                <a:gd name="connsiteY16" fmla="*/ 1438552 h 1648590"/>
                <a:gd name="connsiteX17" fmla="*/ 6322126 w 6512821"/>
                <a:gd name="connsiteY17" fmla="*/ 1533378 h 1648590"/>
                <a:gd name="connsiteX18" fmla="*/ 6405751 w 6512821"/>
                <a:gd name="connsiteY18" fmla="*/ 1499707 h 1648590"/>
                <a:gd name="connsiteX19" fmla="*/ 6491394 w 6512821"/>
                <a:gd name="connsiteY19" fmla="*/ 1572065 h 1648590"/>
                <a:gd name="connsiteX20" fmla="*/ 6317046 w 6512821"/>
                <a:gd name="connsiteY20" fmla="*/ 1648525 h 1648590"/>
                <a:gd name="connsiteX21" fmla="*/ 6095805 w 6512821"/>
                <a:gd name="connsiteY21" fmla="*/ 1398759 h 1648590"/>
                <a:gd name="connsiteX22" fmla="*/ 6308905 w 6512821"/>
                <a:gd name="connsiteY22" fmla="*/ 1146908 h 1648590"/>
                <a:gd name="connsiteX23" fmla="*/ 6512821 w 6512821"/>
                <a:gd name="connsiteY23" fmla="*/ 1396675 h 1648590"/>
                <a:gd name="connsiteX24" fmla="*/ 6221177 w 6512821"/>
                <a:gd name="connsiteY24" fmla="*/ 1344767 h 1648590"/>
                <a:gd name="connsiteX25" fmla="*/ 6392465 w 6512821"/>
                <a:gd name="connsiteY25" fmla="*/ 1344767 h 1648590"/>
                <a:gd name="connsiteX26" fmla="*/ 6304802 w 6512821"/>
                <a:gd name="connsiteY26" fmla="*/ 1254044 h 1648590"/>
                <a:gd name="connsiteX27" fmla="*/ 6221177 w 6512821"/>
                <a:gd name="connsiteY27" fmla="*/ 1344767 h 1648590"/>
                <a:gd name="connsiteX28" fmla="*/ 5978509 w 6512821"/>
                <a:gd name="connsiteY28" fmla="*/ 1467143 h 1648590"/>
                <a:gd name="connsiteX29" fmla="*/ 6058031 w 6512821"/>
                <a:gd name="connsiteY29" fmla="*/ 1542561 h 1648590"/>
                <a:gd name="connsiteX30" fmla="*/ 5866359 w 6512821"/>
                <a:gd name="connsiteY30" fmla="*/ 1648590 h 1648590"/>
                <a:gd name="connsiteX31" fmla="*/ 5637954 w 6512821"/>
                <a:gd name="connsiteY31" fmla="*/ 1398823 h 1648590"/>
                <a:gd name="connsiteX32" fmla="*/ 5868378 w 6512821"/>
                <a:gd name="connsiteY32" fmla="*/ 1146973 h 1648590"/>
                <a:gd name="connsiteX33" fmla="*/ 6056989 w 6512821"/>
                <a:gd name="connsiteY33" fmla="*/ 1250983 h 1648590"/>
                <a:gd name="connsiteX34" fmla="*/ 5975448 w 6512821"/>
                <a:gd name="connsiteY34" fmla="*/ 1333565 h 1648590"/>
                <a:gd name="connsiteX35" fmla="*/ 5867401 w 6512821"/>
                <a:gd name="connsiteY35" fmla="*/ 1266288 h 1648590"/>
                <a:gd name="connsiteX36" fmla="*/ 5766452 w 6512821"/>
                <a:gd name="connsiteY36" fmla="*/ 1396804 h 1648590"/>
                <a:gd name="connsiteX37" fmla="*/ 5868378 w 6512821"/>
                <a:gd name="connsiteY37" fmla="*/ 1528299 h 1648590"/>
                <a:gd name="connsiteX38" fmla="*/ 5978509 w 6512821"/>
                <a:gd name="connsiteY38" fmla="*/ 1467143 h 1648590"/>
                <a:gd name="connsiteX39" fmla="*/ 4869246 w 6512821"/>
                <a:gd name="connsiteY39" fmla="*/ 667825 h 1648590"/>
                <a:gd name="connsiteX40" fmla="*/ 4750973 w 6512821"/>
                <a:gd name="connsiteY40" fmla="*/ 667825 h 1648590"/>
                <a:gd name="connsiteX41" fmla="*/ 4750973 w 6512821"/>
                <a:gd name="connsiteY41" fmla="*/ 634153 h 1648590"/>
                <a:gd name="connsiteX42" fmla="*/ 4638822 w 6512821"/>
                <a:gd name="connsiteY42" fmla="*/ 677984 h 1648590"/>
                <a:gd name="connsiteX43" fmla="*/ 4467535 w 6512821"/>
                <a:gd name="connsiteY43" fmla="*/ 458763 h 1648590"/>
                <a:gd name="connsiteX44" fmla="*/ 4467535 w 6512821"/>
                <a:gd name="connsiteY44" fmla="*/ 186527 h 1648590"/>
                <a:gd name="connsiteX45" fmla="*/ 4587827 w 6512821"/>
                <a:gd name="connsiteY45" fmla="*/ 186527 h 1648590"/>
                <a:gd name="connsiteX46" fmla="*/ 4587827 w 6512821"/>
                <a:gd name="connsiteY46" fmla="*/ 448538 h 1648590"/>
                <a:gd name="connsiteX47" fmla="*/ 4668390 w 6512821"/>
                <a:gd name="connsiteY47" fmla="*/ 562708 h 1648590"/>
                <a:gd name="connsiteX48" fmla="*/ 4748954 w 6512821"/>
                <a:gd name="connsiteY48" fmla="*/ 452576 h 1648590"/>
                <a:gd name="connsiteX49" fmla="*/ 4748954 w 6512821"/>
                <a:gd name="connsiteY49" fmla="*/ 186462 h 1648590"/>
                <a:gd name="connsiteX50" fmla="*/ 4869246 w 6512821"/>
                <a:gd name="connsiteY50" fmla="*/ 186462 h 1648590"/>
                <a:gd name="connsiteX51" fmla="*/ 4869246 w 6512821"/>
                <a:gd name="connsiteY51" fmla="*/ 667695 h 1648590"/>
                <a:gd name="connsiteX52" fmla="*/ 5244449 w 6512821"/>
                <a:gd name="connsiteY52" fmla="*/ 527083 h 1648590"/>
                <a:gd name="connsiteX53" fmla="*/ 5227125 w 6512821"/>
                <a:gd name="connsiteY53" fmla="*/ 649458 h 1648590"/>
                <a:gd name="connsiteX54" fmla="*/ 5128261 w 6512821"/>
                <a:gd name="connsiteY54" fmla="*/ 677984 h 1648590"/>
                <a:gd name="connsiteX55" fmla="*/ 4997744 w 6512821"/>
                <a:gd name="connsiteY55" fmla="*/ 535224 h 1648590"/>
                <a:gd name="connsiteX56" fmla="*/ 4997744 w 6512821"/>
                <a:gd name="connsiteY56" fmla="*/ 301739 h 1648590"/>
                <a:gd name="connsiteX57" fmla="*/ 4928447 w 6512821"/>
                <a:gd name="connsiteY57" fmla="*/ 301739 h 1648590"/>
                <a:gd name="connsiteX58" fmla="*/ 4928447 w 6512821"/>
                <a:gd name="connsiteY58" fmla="*/ 186527 h 1648590"/>
                <a:gd name="connsiteX59" fmla="*/ 4997744 w 6512821"/>
                <a:gd name="connsiteY59" fmla="*/ 186527 h 1648590"/>
                <a:gd name="connsiteX60" fmla="*/ 4997744 w 6512821"/>
                <a:gd name="connsiteY60" fmla="*/ 61155 h 1648590"/>
                <a:gd name="connsiteX61" fmla="*/ 5118035 w 6512821"/>
                <a:gd name="connsiteY61" fmla="*/ 0 h 1648590"/>
                <a:gd name="connsiteX62" fmla="*/ 5118035 w 6512821"/>
                <a:gd name="connsiteY62" fmla="*/ 186592 h 1648590"/>
                <a:gd name="connsiteX63" fmla="*/ 5232205 w 6512821"/>
                <a:gd name="connsiteY63" fmla="*/ 186592 h 1648590"/>
                <a:gd name="connsiteX64" fmla="*/ 5232205 w 6512821"/>
                <a:gd name="connsiteY64" fmla="*/ 301804 h 1648590"/>
                <a:gd name="connsiteX65" fmla="*/ 5118035 w 6512821"/>
                <a:gd name="connsiteY65" fmla="*/ 301804 h 1648590"/>
                <a:gd name="connsiteX66" fmla="*/ 5118035 w 6512821"/>
                <a:gd name="connsiteY66" fmla="*/ 503701 h 1648590"/>
                <a:gd name="connsiteX67" fmla="*/ 5164928 w 6512821"/>
                <a:gd name="connsiteY67" fmla="*/ 560819 h 1648590"/>
                <a:gd name="connsiteX68" fmla="*/ 5244449 w 6512821"/>
                <a:gd name="connsiteY68" fmla="*/ 527148 h 1648590"/>
                <a:gd name="connsiteX69" fmla="*/ 3417407 w 6512821"/>
                <a:gd name="connsiteY69" fmla="*/ 667825 h 1648590"/>
                <a:gd name="connsiteX70" fmla="*/ 3297116 w 6512821"/>
                <a:gd name="connsiteY70" fmla="*/ 667825 h 1648590"/>
                <a:gd name="connsiteX71" fmla="*/ 3297116 w 6512821"/>
                <a:gd name="connsiteY71" fmla="*/ 405814 h 1648590"/>
                <a:gd name="connsiteX72" fmla="*/ 3215575 w 6512821"/>
                <a:gd name="connsiteY72" fmla="*/ 292621 h 1648590"/>
                <a:gd name="connsiteX73" fmla="*/ 3132993 w 6512821"/>
                <a:gd name="connsiteY73" fmla="*/ 402753 h 1648590"/>
                <a:gd name="connsiteX74" fmla="*/ 3132993 w 6512821"/>
                <a:gd name="connsiteY74" fmla="*/ 667825 h 1648590"/>
                <a:gd name="connsiteX75" fmla="*/ 3012701 w 6512821"/>
                <a:gd name="connsiteY75" fmla="*/ 667825 h 1648590"/>
                <a:gd name="connsiteX76" fmla="*/ 3012701 w 6512821"/>
                <a:gd name="connsiteY76" fmla="*/ 61221 h 1648590"/>
                <a:gd name="connsiteX77" fmla="*/ 3132993 w 6512821"/>
                <a:gd name="connsiteY77" fmla="*/ 65 h 1648590"/>
                <a:gd name="connsiteX78" fmla="*/ 3132993 w 6512821"/>
                <a:gd name="connsiteY78" fmla="*/ 220264 h 1648590"/>
                <a:gd name="connsiteX79" fmla="*/ 3246186 w 6512821"/>
                <a:gd name="connsiteY79" fmla="*/ 176432 h 1648590"/>
                <a:gd name="connsiteX80" fmla="*/ 3417473 w 6512821"/>
                <a:gd name="connsiteY80" fmla="*/ 396631 h 1648590"/>
                <a:gd name="connsiteX81" fmla="*/ 3417473 w 6512821"/>
                <a:gd name="connsiteY81" fmla="*/ 667825 h 1648590"/>
                <a:gd name="connsiteX82" fmla="*/ 5564554 w 6512821"/>
                <a:gd name="connsiteY82" fmla="*/ 1638365 h 1648590"/>
                <a:gd name="connsiteX83" fmla="*/ 5440160 w 6512821"/>
                <a:gd name="connsiteY83" fmla="*/ 1638365 h 1648590"/>
                <a:gd name="connsiteX84" fmla="*/ 5440160 w 6512821"/>
                <a:gd name="connsiteY84" fmla="*/ 1376355 h 1648590"/>
                <a:gd name="connsiteX85" fmla="*/ 5357577 w 6512821"/>
                <a:gd name="connsiteY85" fmla="*/ 1264204 h 1648590"/>
                <a:gd name="connsiteX86" fmla="*/ 5273952 w 6512821"/>
                <a:gd name="connsiteY86" fmla="*/ 1373293 h 1648590"/>
                <a:gd name="connsiteX87" fmla="*/ 5273952 w 6512821"/>
                <a:gd name="connsiteY87" fmla="*/ 1638365 h 1648590"/>
                <a:gd name="connsiteX88" fmla="*/ 5149558 w 6512821"/>
                <a:gd name="connsiteY88" fmla="*/ 1638365 h 1648590"/>
                <a:gd name="connsiteX89" fmla="*/ 5149558 w 6512821"/>
                <a:gd name="connsiteY89" fmla="*/ 1157133 h 1648590"/>
                <a:gd name="connsiteX90" fmla="*/ 5273952 w 6512821"/>
                <a:gd name="connsiteY90" fmla="*/ 1157133 h 1648590"/>
                <a:gd name="connsiteX91" fmla="*/ 5273952 w 6512821"/>
                <a:gd name="connsiteY91" fmla="*/ 1189762 h 1648590"/>
                <a:gd name="connsiteX92" fmla="*/ 5391183 w 6512821"/>
                <a:gd name="connsiteY92" fmla="*/ 1146973 h 1648590"/>
                <a:gd name="connsiteX93" fmla="*/ 5564490 w 6512821"/>
                <a:gd name="connsiteY93" fmla="*/ 1366195 h 1648590"/>
                <a:gd name="connsiteX94" fmla="*/ 5564490 w 6512821"/>
                <a:gd name="connsiteY94" fmla="*/ 1638430 h 1648590"/>
                <a:gd name="connsiteX95" fmla="*/ 4008772 w 6512821"/>
                <a:gd name="connsiteY95" fmla="*/ 1115386 h 1648590"/>
                <a:gd name="connsiteX96" fmla="*/ 4080152 w 6512821"/>
                <a:gd name="connsiteY96" fmla="*/ 1044005 h 1648590"/>
                <a:gd name="connsiteX97" fmla="*/ 4008772 w 6512821"/>
                <a:gd name="connsiteY97" fmla="*/ 972624 h 1648590"/>
                <a:gd name="connsiteX98" fmla="*/ 3937391 w 6512821"/>
                <a:gd name="connsiteY98" fmla="*/ 1044005 h 1648590"/>
                <a:gd name="connsiteX99" fmla="*/ 4008772 w 6512821"/>
                <a:gd name="connsiteY99" fmla="*/ 1115386 h 1648590"/>
                <a:gd name="connsiteX100" fmla="*/ 829864 w 6512821"/>
                <a:gd name="connsiteY100" fmla="*/ 1115386 h 1648590"/>
                <a:gd name="connsiteX101" fmla="*/ 901244 w 6512821"/>
                <a:gd name="connsiteY101" fmla="*/ 1044005 h 1648590"/>
                <a:gd name="connsiteX102" fmla="*/ 829864 w 6512821"/>
                <a:gd name="connsiteY102" fmla="*/ 972624 h 1648590"/>
                <a:gd name="connsiteX103" fmla="*/ 758483 w 6512821"/>
                <a:gd name="connsiteY103" fmla="*/ 1044005 h 1648590"/>
                <a:gd name="connsiteX104" fmla="*/ 829864 w 6512821"/>
                <a:gd name="connsiteY104" fmla="*/ 1115386 h 1648590"/>
                <a:gd name="connsiteX105" fmla="*/ 6512756 w 6512821"/>
                <a:gd name="connsiteY105" fmla="*/ 426134 h 1648590"/>
                <a:gd name="connsiteX106" fmla="*/ 6510737 w 6512821"/>
                <a:gd name="connsiteY106" fmla="*/ 467946 h 1648590"/>
                <a:gd name="connsiteX107" fmla="*/ 6219158 w 6512821"/>
                <a:gd name="connsiteY107" fmla="*/ 467946 h 1648590"/>
                <a:gd name="connsiteX108" fmla="*/ 6322126 w 6512821"/>
                <a:gd name="connsiteY108" fmla="*/ 562773 h 1648590"/>
                <a:gd name="connsiteX109" fmla="*/ 6405751 w 6512821"/>
                <a:gd name="connsiteY109" fmla="*/ 529102 h 1648590"/>
                <a:gd name="connsiteX110" fmla="*/ 6491394 w 6512821"/>
                <a:gd name="connsiteY110" fmla="*/ 601459 h 1648590"/>
                <a:gd name="connsiteX111" fmla="*/ 6317046 w 6512821"/>
                <a:gd name="connsiteY111" fmla="*/ 677919 h 1648590"/>
                <a:gd name="connsiteX112" fmla="*/ 6095805 w 6512821"/>
                <a:gd name="connsiteY112" fmla="*/ 428153 h 1648590"/>
                <a:gd name="connsiteX113" fmla="*/ 6308905 w 6512821"/>
                <a:gd name="connsiteY113" fmla="*/ 176302 h 1648590"/>
                <a:gd name="connsiteX114" fmla="*/ 6512821 w 6512821"/>
                <a:gd name="connsiteY114" fmla="*/ 426069 h 1648590"/>
                <a:gd name="connsiteX115" fmla="*/ 6221177 w 6512821"/>
                <a:gd name="connsiteY115" fmla="*/ 374162 h 1648590"/>
                <a:gd name="connsiteX116" fmla="*/ 6392465 w 6512821"/>
                <a:gd name="connsiteY116" fmla="*/ 374162 h 1648590"/>
                <a:gd name="connsiteX117" fmla="*/ 6304802 w 6512821"/>
                <a:gd name="connsiteY117" fmla="*/ 283438 h 1648590"/>
                <a:gd name="connsiteX118" fmla="*/ 6221177 w 6512821"/>
                <a:gd name="connsiteY118" fmla="*/ 374162 h 1648590"/>
                <a:gd name="connsiteX119" fmla="*/ 5702235 w 6512821"/>
                <a:gd name="connsiteY119" fmla="*/ 667825 h 1648590"/>
                <a:gd name="connsiteX120" fmla="*/ 5583963 w 6512821"/>
                <a:gd name="connsiteY120" fmla="*/ 667825 h 1648590"/>
                <a:gd name="connsiteX121" fmla="*/ 5583963 w 6512821"/>
                <a:gd name="connsiteY121" fmla="*/ 634153 h 1648590"/>
                <a:gd name="connsiteX122" fmla="*/ 5471812 w 6512821"/>
                <a:gd name="connsiteY122" fmla="*/ 677984 h 1648590"/>
                <a:gd name="connsiteX123" fmla="*/ 5300525 w 6512821"/>
                <a:gd name="connsiteY123" fmla="*/ 458763 h 1648590"/>
                <a:gd name="connsiteX124" fmla="*/ 5300525 w 6512821"/>
                <a:gd name="connsiteY124" fmla="*/ 186527 h 1648590"/>
                <a:gd name="connsiteX125" fmla="*/ 5420817 w 6512821"/>
                <a:gd name="connsiteY125" fmla="*/ 186527 h 1648590"/>
                <a:gd name="connsiteX126" fmla="*/ 5420817 w 6512821"/>
                <a:gd name="connsiteY126" fmla="*/ 448538 h 1648590"/>
                <a:gd name="connsiteX127" fmla="*/ 5501380 w 6512821"/>
                <a:gd name="connsiteY127" fmla="*/ 562708 h 1648590"/>
                <a:gd name="connsiteX128" fmla="*/ 5581944 w 6512821"/>
                <a:gd name="connsiteY128" fmla="*/ 452576 h 1648590"/>
                <a:gd name="connsiteX129" fmla="*/ 5581944 w 6512821"/>
                <a:gd name="connsiteY129" fmla="*/ 186462 h 1648590"/>
                <a:gd name="connsiteX130" fmla="*/ 5702235 w 6512821"/>
                <a:gd name="connsiteY130" fmla="*/ 186462 h 1648590"/>
                <a:gd name="connsiteX131" fmla="*/ 5702235 w 6512821"/>
                <a:gd name="connsiteY131" fmla="*/ 667695 h 1648590"/>
                <a:gd name="connsiteX132" fmla="*/ 3895579 w 6512821"/>
                <a:gd name="connsiteY132" fmla="*/ 426134 h 1648590"/>
                <a:gd name="connsiteX133" fmla="*/ 3893560 w 6512821"/>
                <a:gd name="connsiteY133" fmla="*/ 467946 h 1648590"/>
                <a:gd name="connsiteX134" fmla="*/ 3601981 w 6512821"/>
                <a:gd name="connsiteY134" fmla="*/ 467946 h 1648590"/>
                <a:gd name="connsiteX135" fmla="*/ 3704949 w 6512821"/>
                <a:gd name="connsiteY135" fmla="*/ 562773 h 1648590"/>
                <a:gd name="connsiteX136" fmla="*/ 3788573 w 6512821"/>
                <a:gd name="connsiteY136" fmla="*/ 529102 h 1648590"/>
                <a:gd name="connsiteX137" fmla="*/ 3874217 w 6512821"/>
                <a:gd name="connsiteY137" fmla="*/ 601459 h 1648590"/>
                <a:gd name="connsiteX138" fmla="*/ 3699868 w 6512821"/>
                <a:gd name="connsiteY138" fmla="*/ 677919 h 1648590"/>
                <a:gd name="connsiteX139" fmla="*/ 3478628 w 6512821"/>
                <a:gd name="connsiteY139" fmla="*/ 428153 h 1648590"/>
                <a:gd name="connsiteX140" fmla="*/ 3691727 w 6512821"/>
                <a:gd name="connsiteY140" fmla="*/ 176302 h 1648590"/>
                <a:gd name="connsiteX141" fmla="*/ 3895644 w 6512821"/>
                <a:gd name="connsiteY141" fmla="*/ 426069 h 1648590"/>
                <a:gd name="connsiteX142" fmla="*/ 3604000 w 6512821"/>
                <a:gd name="connsiteY142" fmla="*/ 374162 h 1648590"/>
                <a:gd name="connsiteX143" fmla="*/ 3775287 w 6512821"/>
                <a:gd name="connsiteY143" fmla="*/ 374162 h 1648590"/>
                <a:gd name="connsiteX144" fmla="*/ 3687624 w 6512821"/>
                <a:gd name="connsiteY144" fmla="*/ 283438 h 1648590"/>
                <a:gd name="connsiteX145" fmla="*/ 3604000 w 6512821"/>
                <a:gd name="connsiteY145" fmla="*/ 374162 h 1648590"/>
                <a:gd name="connsiteX146" fmla="*/ 4579686 w 6512821"/>
                <a:gd name="connsiteY146" fmla="*/ 1638365 h 1648590"/>
                <a:gd name="connsiteX147" fmla="*/ 4455291 w 6512821"/>
                <a:gd name="connsiteY147" fmla="*/ 1638365 h 1648590"/>
                <a:gd name="connsiteX148" fmla="*/ 4455291 w 6512821"/>
                <a:gd name="connsiteY148" fmla="*/ 1606778 h 1648590"/>
                <a:gd name="connsiteX149" fmla="*/ 4346201 w 6512821"/>
                <a:gd name="connsiteY149" fmla="*/ 1648590 h 1648590"/>
                <a:gd name="connsiteX150" fmla="*/ 4148406 w 6512821"/>
                <a:gd name="connsiteY150" fmla="*/ 1393678 h 1648590"/>
                <a:gd name="connsiteX151" fmla="*/ 4343140 w 6512821"/>
                <a:gd name="connsiteY151" fmla="*/ 1146973 h 1648590"/>
                <a:gd name="connsiteX152" fmla="*/ 4455291 w 6512821"/>
                <a:gd name="connsiteY152" fmla="*/ 1185724 h 1648590"/>
                <a:gd name="connsiteX153" fmla="*/ 4455291 w 6512821"/>
                <a:gd name="connsiteY153" fmla="*/ 1031761 h 1648590"/>
                <a:gd name="connsiteX154" fmla="*/ 4579686 w 6512821"/>
                <a:gd name="connsiteY154" fmla="*/ 969564 h 1648590"/>
                <a:gd name="connsiteX155" fmla="*/ 4579686 w 6512821"/>
                <a:gd name="connsiteY155" fmla="*/ 1638365 h 1648590"/>
                <a:gd name="connsiteX156" fmla="*/ 4455356 w 6512821"/>
                <a:gd name="connsiteY156" fmla="*/ 1489547 h 1648590"/>
                <a:gd name="connsiteX157" fmla="*/ 4455356 w 6512821"/>
                <a:gd name="connsiteY157" fmla="*/ 1306016 h 1648590"/>
                <a:gd name="connsiteX158" fmla="*/ 4368670 w 6512821"/>
                <a:gd name="connsiteY158" fmla="*/ 1264204 h 1648590"/>
                <a:gd name="connsiteX159" fmla="*/ 4278924 w 6512821"/>
                <a:gd name="connsiteY159" fmla="*/ 1389575 h 1648590"/>
                <a:gd name="connsiteX160" fmla="*/ 4371731 w 6512821"/>
                <a:gd name="connsiteY160" fmla="*/ 1531294 h 1648590"/>
                <a:gd name="connsiteX161" fmla="*/ 4455356 w 6512821"/>
                <a:gd name="connsiteY161" fmla="*/ 1489482 h 1648590"/>
                <a:gd name="connsiteX162" fmla="*/ 3945532 w 6512821"/>
                <a:gd name="connsiteY162" fmla="*/ 1157198 h 1648590"/>
                <a:gd name="connsiteX163" fmla="*/ 3945532 w 6512821"/>
                <a:gd name="connsiteY163" fmla="*/ 1638430 h 1648590"/>
                <a:gd name="connsiteX164" fmla="*/ 4069927 w 6512821"/>
                <a:gd name="connsiteY164" fmla="*/ 1638430 h 1648590"/>
                <a:gd name="connsiteX165" fmla="*/ 4069927 w 6512821"/>
                <a:gd name="connsiteY165" fmla="*/ 1157198 h 1648590"/>
                <a:gd name="connsiteX166" fmla="*/ 3945532 w 6512821"/>
                <a:gd name="connsiteY166" fmla="*/ 1157198 h 1648590"/>
                <a:gd name="connsiteX167" fmla="*/ 3873175 w 6512821"/>
                <a:gd name="connsiteY167" fmla="*/ 985911 h 1648590"/>
                <a:gd name="connsiteX168" fmla="*/ 3873175 w 6512821"/>
                <a:gd name="connsiteY168" fmla="*/ 1085817 h 1648590"/>
                <a:gd name="connsiteX169" fmla="*/ 3812019 w 6512821"/>
                <a:gd name="connsiteY169" fmla="*/ 1076634 h 1648590"/>
                <a:gd name="connsiteX170" fmla="*/ 3760047 w 6512821"/>
                <a:gd name="connsiteY170" fmla="*/ 1118447 h 1648590"/>
                <a:gd name="connsiteX171" fmla="*/ 3760047 w 6512821"/>
                <a:gd name="connsiteY171" fmla="*/ 1157198 h 1648590"/>
                <a:gd name="connsiteX172" fmla="*/ 3863015 w 6512821"/>
                <a:gd name="connsiteY172" fmla="*/ 1157198 h 1648590"/>
                <a:gd name="connsiteX173" fmla="*/ 3863015 w 6512821"/>
                <a:gd name="connsiteY173" fmla="*/ 1273452 h 1648590"/>
                <a:gd name="connsiteX174" fmla="*/ 3760047 w 6512821"/>
                <a:gd name="connsiteY174" fmla="*/ 1273452 h 1648590"/>
                <a:gd name="connsiteX175" fmla="*/ 3760047 w 6512821"/>
                <a:gd name="connsiteY175" fmla="*/ 1638430 h 1648590"/>
                <a:gd name="connsiteX176" fmla="*/ 3635652 w 6512821"/>
                <a:gd name="connsiteY176" fmla="*/ 1638430 h 1648590"/>
                <a:gd name="connsiteX177" fmla="*/ 3635652 w 6512821"/>
                <a:gd name="connsiteY177" fmla="*/ 1273452 h 1648590"/>
                <a:gd name="connsiteX178" fmla="*/ 3568375 w 6512821"/>
                <a:gd name="connsiteY178" fmla="*/ 1273452 h 1648590"/>
                <a:gd name="connsiteX179" fmla="*/ 3568375 w 6512821"/>
                <a:gd name="connsiteY179" fmla="*/ 1157198 h 1648590"/>
                <a:gd name="connsiteX180" fmla="*/ 3635652 w 6512821"/>
                <a:gd name="connsiteY180" fmla="*/ 1157198 h 1648590"/>
                <a:gd name="connsiteX181" fmla="*/ 3635652 w 6512821"/>
                <a:gd name="connsiteY181" fmla="*/ 1099104 h 1648590"/>
                <a:gd name="connsiteX182" fmla="*/ 3782451 w 6512821"/>
                <a:gd name="connsiteY182" fmla="*/ 972690 h 1648590"/>
                <a:gd name="connsiteX183" fmla="*/ 3873175 w 6512821"/>
                <a:gd name="connsiteY183" fmla="*/ 985976 h 1648590"/>
                <a:gd name="connsiteX184" fmla="*/ 3507154 w 6512821"/>
                <a:gd name="connsiteY184" fmla="*/ 1638365 h 1648590"/>
                <a:gd name="connsiteX185" fmla="*/ 3382759 w 6512821"/>
                <a:gd name="connsiteY185" fmla="*/ 1638365 h 1648590"/>
                <a:gd name="connsiteX186" fmla="*/ 3382759 w 6512821"/>
                <a:gd name="connsiteY186" fmla="*/ 1376355 h 1648590"/>
                <a:gd name="connsiteX187" fmla="*/ 3300177 w 6512821"/>
                <a:gd name="connsiteY187" fmla="*/ 1264204 h 1648590"/>
                <a:gd name="connsiteX188" fmla="*/ 3216552 w 6512821"/>
                <a:gd name="connsiteY188" fmla="*/ 1373293 h 1648590"/>
                <a:gd name="connsiteX189" fmla="*/ 3216552 w 6512821"/>
                <a:gd name="connsiteY189" fmla="*/ 1638365 h 1648590"/>
                <a:gd name="connsiteX190" fmla="*/ 3092157 w 6512821"/>
                <a:gd name="connsiteY190" fmla="*/ 1638365 h 1648590"/>
                <a:gd name="connsiteX191" fmla="*/ 3092157 w 6512821"/>
                <a:gd name="connsiteY191" fmla="*/ 1157133 h 1648590"/>
                <a:gd name="connsiteX192" fmla="*/ 3216552 w 6512821"/>
                <a:gd name="connsiteY192" fmla="*/ 1157133 h 1648590"/>
                <a:gd name="connsiteX193" fmla="*/ 3216552 w 6512821"/>
                <a:gd name="connsiteY193" fmla="*/ 1189762 h 1648590"/>
                <a:gd name="connsiteX194" fmla="*/ 3333783 w 6512821"/>
                <a:gd name="connsiteY194" fmla="*/ 1146973 h 1648590"/>
                <a:gd name="connsiteX195" fmla="*/ 3507089 w 6512821"/>
                <a:gd name="connsiteY195" fmla="*/ 1366195 h 1648590"/>
                <a:gd name="connsiteX196" fmla="*/ 3507089 w 6512821"/>
                <a:gd name="connsiteY196" fmla="*/ 1638430 h 1648590"/>
                <a:gd name="connsiteX197" fmla="*/ 2792437 w 6512821"/>
                <a:gd name="connsiteY197" fmla="*/ 1146973 h 1648590"/>
                <a:gd name="connsiteX198" fmla="*/ 2567094 w 6512821"/>
                <a:gd name="connsiteY198" fmla="*/ 1397782 h 1648590"/>
                <a:gd name="connsiteX199" fmla="*/ 2792437 w 6512821"/>
                <a:gd name="connsiteY199" fmla="*/ 1648590 h 1648590"/>
                <a:gd name="connsiteX200" fmla="*/ 3017781 w 6512821"/>
                <a:gd name="connsiteY200" fmla="*/ 1397782 h 1648590"/>
                <a:gd name="connsiteX201" fmla="*/ 2792437 w 6512821"/>
                <a:gd name="connsiteY201" fmla="*/ 1146973 h 1648590"/>
                <a:gd name="connsiteX202" fmla="*/ 2792437 w 6512821"/>
                <a:gd name="connsiteY202" fmla="*/ 1528299 h 1648590"/>
                <a:gd name="connsiteX203" fmla="*/ 2695592 w 6512821"/>
                <a:gd name="connsiteY203" fmla="*/ 1397782 h 1648590"/>
                <a:gd name="connsiteX204" fmla="*/ 2792437 w 6512821"/>
                <a:gd name="connsiteY204" fmla="*/ 1266288 h 1648590"/>
                <a:gd name="connsiteX205" fmla="*/ 2889283 w 6512821"/>
                <a:gd name="connsiteY205" fmla="*/ 1397782 h 1648590"/>
                <a:gd name="connsiteX206" fmla="*/ 2792437 w 6512821"/>
                <a:gd name="connsiteY206" fmla="*/ 1528299 h 1648590"/>
                <a:gd name="connsiteX207" fmla="*/ 2446802 w 6512821"/>
                <a:gd name="connsiteY207" fmla="*/ 1467143 h 1648590"/>
                <a:gd name="connsiteX208" fmla="*/ 2526323 w 6512821"/>
                <a:gd name="connsiteY208" fmla="*/ 1542561 h 1648590"/>
                <a:gd name="connsiteX209" fmla="*/ 2334651 w 6512821"/>
                <a:gd name="connsiteY209" fmla="*/ 1648590 h 1648590"/>
                <a:gd name="connsiteX210" fmla="*/ 2106246 w 6512821"/>
                <a:gd name="connsiteY210" fmla="*/ 1398823 h 1648590"/>
                <a:gd name="connsiteX211" fmla="*/ 2336670 w 6512821"/>
                <a:gd name="connsiteY211" fmla="*/ 1146973 h 1648590"/>
                <a:gd name="connsiteX212" fmla="*/ 2525281 w 6512821"/>
                <a:gd name="connsiteY212" fmla="*/ 1250983 h 1648590"/>
                <a:gd name="connsiteX213" fmla="*/ 2443741 w 6512821"/>
                <a:gd name="connsiteY213" fmla="*/ 1333565 h 1648590"/>
                <a:gd name="connsiteX214" fmla="*/ 2335693 w 6512821"/>
                <a:gd name="connsiteY214" fmla="*/ 1266288 h 1648590"/>
                <a:gd name="connsiteX215" fmla="*/ 2234744 w 6512821"/>
                <a:gd name="connsiteY215" fmla="*/ 1396804 h 1648590"/>
                <a:gd name="connsiteX216" fmla="*/ 2336670 w 6512821"/>
                <a:gd name="connsiteY216" fmla="*/ 1528299 h 1648590"/>
                <a:gd name="connsiteX217" fmla="*/ 2446802 w 6512821"/>
                <a:gd name="connsiteY217" fmla="*/ 1467143 h 1648590"/>
                <a:gd name="connsiteX218" fmla="*/ 1803530 w 6512821"/>
                <a:gd name="connsiteY218" fmla="*/ 1638365 h 1648590"/>
                <a:gd name="connsiteX219" fmla="*/ 1679135 w 6512821"/>
                <a:gd name="connsiteY219" fmla="*/ 1638365 h 1648590"/>
                <a:gd name="connsiteX220" fmla="*/ 1679135 w 6512821"/>
                <a:gd name="connsiteY220" fmla="*/ 1376355 h 1648590"/>
                <a:gd name="connsiteX221" fmla="*/ 1596553 w 6512821"/>
                <a:gd name="connsiteY221" fmla="*/ 1264204 h 1648590"/>
                <a:gd name="connsiteX222" fmla="*/ 1511951 w 6512821"/>
                <a:gd name="connsiteY222" fmla="*/ 1373293 h 1648590"/>
                <a:gd name="connsiteX223" fmla="*/ 1511951 w 6512821"/>
                <a:gd name="connsiteY223" fmla="*/ 1638365 h 1648590"/>
                <a:gd name="connsiteX224" fmla="*/ 1387557 w 6512821"/>
                <a:gd name="connsiteY224" fmla="*/ 1638365 h 1648590"/>
                <a:gd name="connsiteX225" fmla="*/ 1387557 w 6512821"/>
                <a:gd name="connsiteY225" fmla="*/ 1031761 h 1648590"/>
                <a:gd name="connsiteX226" fmla="*/ 1511951 w 6512821"/>
                <a:gd name="connsiteY226" fmla="*/ 969564 h 1648590"/>
                <a:gd name="connsiteX227" fmla="*/ 1511951 w 6512821"/>
                <a:gd name="connsiteY227" fmla="*/ 1189762 h 1648590"/>
                <a:gd name="connsiteX228" fmla="*/ 1632243 w 6512821"/>
                <a:gd name="connsiteY228" fmla="*/ 1146973 h 1648590"/>
                <a:gd name="connsiteX229" fmla="*/ 1803530 w 6512821"/>
                <a:gd name="connsiteY229" fmla="*/ 1366195 h 1648590"/>
                <a:gd name="connsiteX230" fmla="*/ 1803530 w 6512821"/>
                <a:gd name="connsiteY230" fmla="*/ 1638430 h 1648590"/>
                <a:gd name="connsiteX231" fmla="*/ 1311031 w 6512821"/>
                <a:gd name="connsiteY231" fmla="*/ 1493650 h 1648590"/>
                <a:gd name="connsiteX232" fmla="*/ 1292665 w 6512821"/>
                <a:gd name="connsiteY232" fmla="*/ 1619022 h 1648590"/>
                <a:gd name="connsiteX233" fmla="*/ 1173350 w 6512821"/>
                <a:gd name="connsiteY233" fmla="*/ 1648590 h 1648590"/>
                <a:gd name="connsiteX234" fmla="*/ 1043875 w 6512821"/>
                <a:gd name="connsiteY234" fmla="*/ 1504852 h 1648590"/>
                <a:gd name="connsiteX235" fmla="*/ 1043875 w 6512821"/>
                <a:gd name="connsiteY235" fmla="*/ 1273387 h 1648590"/>
                <a:gd name="connsiteX236" fmla="*/ 960250 w 6512821"/>
                <a:gd name="connsiteY236" fmla="*/ 1273387 h 1648590"/>
                <a:gd name="connsiteX237" fmla="*/ 960250 w 6512821"/>
                <a:gd name="connsiteY237" fmla="*/ 1157133 h 1648590"/>
                <a:gd name="connsiteX238" fmla="*/ 1043875 w 6512821"/>
                <a:gd name="connsiteY238" fmla="*/ 1157133 h 1648590"/>
                <a:gd name="connsiteX239" fmla="*/ 1043875 w 6512821"/>
                <a:gd name="connsiteY239" fmla="*/ 1031761 h 1648590"/>
                <a:gd name="connsiteX240" fmla="*/ 1168270 w 6512821"/>
                <a:gd name="connsiteY240" fmla="*/ 969564 h 1648590"/>
                <a:gd name="connsiteX241" fmla="*/ 1168270 w 6512821"/>
                <a:gd name="connsiteY241" fmla="*/ 1157133 h 1648590"/>
                <a:gd name="connsiteX242" fmla="*/ 1308947 w 6512821"/>
                <a:gd name="connsiteY242" fmla="*/ 1157133 h 1648590"/>
                <a:gd name="connsiteX243" fmla="*/ 1308947 w 6512821"/>
                <a:gd name="connsiteY243" fmla="*/ 1273387 h 1648590"/>
                <a:gd name="connsiteX244" fmla="*/ 1168270 w 6512821"/>
                <a:gd name="connsiteY244" fmla="*/ 1273387 h 1648590"/>
                <a:gd name="connsiteX245" fmla="*/ 1168270 w 6512821"/>
                <a:gd name="connsiteY245" fmla="*/ 1471181 h 1648590"/>
                <a:gd name="connsiteX246" fmla="*/ 1214120 w 6512821"/>
                <a:gd name="connsiteY246" fmla="*/ 1529275 h 1648590"/>
                <a:gd name="connsiteX247" fmla="*/ 1310966 w 6512821"/>
                <a:gd name="connsiteY247" fmla="*/ 1493585 h 1648590"/>
                <a:gd name="connsiteX248" fmla="*/ 767666 w 6512821"/>
                <a:gd name="connsiteY248" fmla="*/ 1157198 h 1648590"/>
                <a:gd name="connsiteX249" fmla="*/ 767666 w 6512821"/>
                <a:gd name="connsiteY249" fmla="*/ 1638430 h 1648590"/>
                <a:gd name="connsiteX250" fmla="*/ 892061 w 6512821"/>
                <a:gd name="connsiteY250" fmla="*/ 1638430 h 1648590"/>
                <a:gd name="connsiteX251" fmla="*/ 892061 w 6512821"/>
                <a:gd name="connsiteY251" fmla="*/ 1157198 h 1648590"/>
                <a:gd name="connsiteX252" fmla="*/ 767666 w 6512821"/>
                <a:gd name="connsiteY252" fmla="*/ 1157198 h 1648590"/>
                <a:gd name="connsiteX253" fmla="*/ 702408 w 6512821"/>
                <a:gd name="connsiteY253" fmla="*/ 1157198 h 1648590"/>
                <a:gd name="connsiteX254" fmla="*/ 550529 w 6512821"/>
                <a:gd name="connsiteY254" fmla="*/ 1638430 h 1648590"/>
                <a:gd name="connsiteX255" fmla="*/ 436359 w 6512821"/>
                <a:gd name="connsiteY255" fmla="*/ 1638430 h 1648590"/>
                <a:gd name="connsiteX256" fmla="*/ 354819 w 6512821"/>
                <a:gd name="connsiteY256" fmla="*/ 1345809 h 1648590"/>
                <a:gd name="connsiteX257" fmla="*/ 272236 w 6512821"/>
                <a:gd name="connsiteY257" fmla="*/ 1638430 h 1648590"/>
                <a:gd name="connsiteX258" fmla="*/ 158066 w 6512821"/>
                <a:gd name="connsiteY258" fmla="*/ 1638430 h 1648590"/>
                <a:gd name="connsiteX259" fmla="*/ 7099 w 6512821"/>
                <a:gd name="connsiteY259" fmla="*/ 1157198 h 1648590"/>
                <a:gd name="connsiteX260" fmla="*/ 145757 w 6512821"/>
                <a:gd name="connsiteY260" fmla="*/ 1157198 h 1648590"/>
                <a:gd name="connsiteX261" fmla="*/ 218114 w 6512821"/>
                <a:gd name="connsiteY261" fmla="*/ 1436533 h 1648590"/>
                <a:gd name="connsiteX262" fmla="*/ 299655 w 6512821"/>
                <a:gd name="connsiteY262" fmla="*/ 1157198 h 1648590"/>
                <a:gd name="connsiteX263" fmla="*/ 412848 w 6512821"/>
                <a:gd name="connsiteY263" fmla="*/ 1157198 h 1648590"/>
                <a:gd name="connsiteX264" fmla="*/ 494388 w 6512821"/>
                <a:gd name="connsiteY264" fmla="*/ 1436533 h 1648590"/>
                <a:gd name="connsiteX265" fmla="*/ 567788 w 6512821"/>
                <a:gd name="connsiteY265" fmla="*/ 1157198 h 1648590"/>
                <a:gd name="connsiteX266" fmla="*/ 702343 w 6512821"/>
                <a:gd name="connsiteY266" fmla="*/ 1157198 h 1648590"/>
                <a:gd name="connsiteX267" fmla="*/ 4436990 w 6512821"/>
                <a:gd name="connsiteY267" fmla="*/ 16282 h 1648590"/>
                <a:gd name="connsiteX268" fmla="*/ 4436990 w 6512821"/>
                <a:gd name="connsiteY268" fmla="*/ 115147 h 1648590"/>
                <a:gd name="connsiteX269" fmla="*/ 4374792 w 6512821"/>
                <a:gd name="connsiteY269" fmla="*/ 104921 h 1648590"/>
                <a:gd name="connsiteX270" fmla="*/ 4322820 w 6512821"/>
                <a:gd name="connsiteY270" fmla="*/ 144715 h 1648590"/>
                <a:gd name="connsiteX271" fmla="*/ 4322820 w 6512821"/>
                <a:gd name="connsiteY271" fmla="*/ 186527 h 1648590"/>
                <a:gd name="connsiteX272" fmla="*/ 4404361 w 6512821"/>
                <a:gd name="connsiteY272" fmla="*/ 186527 h 1648590"/>
                <a:gd name="connsiteX273" fmla="*/ 4404361 w 6512821"/>
                <a:gd name="connsiteY273" fmla="*/ 302781 h 1648590"/>
                <a:gd name="connsiteX274" fmla="*/ 4322820 w 6512821"/>
                <a:gd name="connsiteY274" fmla="*/ 302781 h 1648590"/>
                <a:gd name="connsiteX275" fmla="*/ 4322820 w 6512821"/>
                <a:gd name="connsiteY275" fmla="*/ 667759 h 1648590"/>
                <a:gd name="connsiteX276" fmla="*/ 4202528 w 6512821"/>
                <a:gd name="connsiteY276" fmla="*/ 667759 h 1648590"/>
                <a:gd name="connsiteX277" fmla="*/ 4202528 w 6512821"/>
                <a:gd name="connsiteY277" fmla="*/ 302781 h 1648590"/>
                <a:gd name="connsiteX278" fmla="*/ 4143392 w 6512821"/>
                <a:gd name="connsiteY278" fmla="*/ 302781 h 1648590"/>
                <a:gd name="connsiteX279" fmla="*/ 4143392 w 6512821"/>
                <a:gd name="connsiteY279" fmla="*/ 186527 h 1648590"/>
                <a:gd name="connsiteX280" fmla="*/ 4202528 w 6512821"/>
                <a:gd name="connsiteY280" fmla="*/ 186527 h 1648590"/>
                <a:gd name="connsiteX281" fmla="*/ 4202528 w 6512821"/>
                <a:gd name="connsiteY281" fmla="*/ 128433 h 1648590"/>
                <a:gd name="connsiteX282" fmla="*/ 4348350 w 6512821"/>
                <a:gd name="connsiteY282" fmla="*/ 2019 h 1648590"/>
                <a:gd name="connsiteX283" fmla="*/ 4437055 w 6512821"/>
                <a:gd name="connsiteY283" fmla="*/ 16282 h 1648590"/>
                <a:gd name="connsiteX284" fmla="*/ 2957602 w 6512821"/>
                <a:gd name="connsiteY284" fmla="*/ 527083 h 1648590"/>
                <a:gd name="connsiteX285" fmla="*/ 2940278 w 6512821"/>
                <a:gd name="connsiteY285" fmla="*/ 649458 h 1648590"/>
                <a:gd name="connsiteX286" fmla="*/ 2843433 w 6512821"/>
                <a:gd name="connsiteY286" fmla="*/ 677984 h 1648590"/>
                <a:gd name="connsiteX287" fmla="*/ 2712916 w 6512821"/>
                <a:gd name="connsiteY287" fmla="*/ 535224 h 1648590"/>
                <a:gd name="connsiteX288" fmla="*/ 2712916 w 6512821"/>
                <a:gd name="connsiteY288" fmla="*/ 301739 h 1648590"/>
                <a:gd name="connsiteX289" fmla="*/ 2629291 w 6512821"/>
                <a:gd name="connsiteY289" fmla="*/ 301739 h 1648590"/>
                <a:gd name="connsiteX290" fmla="*/ 2629291 w 6512821"/>
                <a:gd name="connsiteY290" fmla="*/ 186527 h 1648590"/>
                <a:gd name="connsiteX291" fmla="*/ 2712916 w 6512821"/>
                <a:gd name="connsiteY291" fmla="*/ 186527 h 1648590"/>
                <a:gd name="connsiteX292" fmla="*/ 2712916 w 6512821"/>
                <a:gd name="connsiteY292" fmla="*/ 61155 h 1648590"/>
                <a:gd name="connsiteX293" fmla="*/ 2833208 w 6512821"/>
                <a:gd name="connsiteY293" fmla="*/ 0 h 1648590"/>
                <a:gd name="connsiteX294" fmla="*/ 2833208 w 6512821"/>
                <a:gd name="connsiteY294" fmla="*/ 186592 h 1648590"/>
                <a:gd name="connsiteX295" fmla="*/ 2945358 w 6512821"/>
                <a:gd name="connsiteY295" fmla="*/ 186592 h 1648590"/>
                <a:gd name="connsiteX296" fmla="*/ 2945358 w 6512821"/>
                <a:gd name="connsiteY296" fmla="*/ 301804 h 1648590"/>
                <a:gd name="connsiteX297" fmla="*/ 2833208 w 6512821"/>
                <a:gd name="connsiteY297" fmla="*/ 301804 h 1648590"/>
                <a:gd name="connsiteX298" fmla="*/ 2833208 w 6512821"/>
                <a:gd name="connsiteY298" fmla="*/ 503701 h 1648590"/>
                <a:gd name="connsiteX299" fmla="*/ 2880100 w 6512821"/>
                <a:gd name="connsiteY299" fmla="*/ 560819 h 1648590"/>
                <a:gd name="connsiteX300" fmla="*/ 2957602 w 6512821"/>
                <a:gd name="connsiteY300" fmla="*/ 527148 h 1648590"/>
                <a:gd name="connsiteX301" fmla="*/ 2397891 w 6512821"/>
                <a:gd name="connsiteY301" fmla="*/ 426134 h 1648590"/>
                <a:gd name="connsiteX302" fmla="*/ 2395872 w 6512821"/>
                <a:gd name="connsiteY302" fmla="*/ 467946 h 1648590"/>
                <a:gd name="connsiteX303" fmla="*/ 2114453 w 6512821"/>
                <a:gd name="connsiteY303" fmla="*/ 467946 h 1648590"/>
                <a:gd name="connsiteX304" fmla="*/ 2218462 w 6512821"/>
                <a:gd name="connsiteY304" fmla="*/ 562773 h 1648590"/>
                <a:gd name="connsiteX305" fmla="*/ 2301045 w 6512821"/>
                <a:gd name="connsiteY305" fmla="*/ 529102 h 1648590"/>
                <a:gd name="connsiteX306" fmla="*/ 2386689 w 6512821"/>
                <a:gd name="connsiteY306" fmla="*/ 601459 h 1648590"/>
                <a:gd name="connsiteX307" fmla="*/ 2210321 w 6512821"/>
                <a:gd name="connsiteY307" fmla="*/ 677919 h 1648590"/>
                <a:gd name="connsiteX308" fmla="*/ 1991100 w 6512821"/>
                <a:gd name="connsiteY308" fmla="*/ 429130 h 1648590"/>
                <a:gd name="connsiteX309" fmla="*/ 2205176 w 6512821"/>
                <a:gd name="connsiteY309" fmla="*/ 176302 h 1648590"/>
                <a:gd name="connsiteX310" fmla="*/ 2397891 w 6512821"/>
                <a:gd name="connsiteY310" fmla="*/ 426069 h 1648590"/>
                <a:gd name="connsiteX311" fmla="*/ 2116472 w 6512821"/>
                <a:gd name="connsiteY311" fmla="*/ 374162 h 1648590"/>
                <a:gd name="connsiteX312" fmla="*/ 2287759 w 6512821"/>
                <a:gd name="connsiteY312" fmla="*/ 374162 h 1648590"/>
                <a:gd name="connsiteX313" fmla="*/ 2199054 w 6512821"/>
                <a:gd name="connsiteY313" fmla="*/ 283438 h 1648590"/>
                <a:gd name="connsiteX314" fmla="*/ 2116472 w 6512821"/>
                <a:gd name="connsiteY314" fmla="*/ 374162 h 1648590"/>
                <a:gd name="connsiteX315" fmla="*/ 1933982 w 6512821"/>
                <a:gd name="connsiteY315" fmla="*/ 428218 h 1648590"/>
                <a:gd name="connsiteX316" fmla="*/ 1746413 w 6512821"/>
                <a:gd name="connsiteY316" fmla="*/ 677984 h 1648590"/>
                <a:gd name="connsiteX317" fmla="*/ 1639342 w 6512821"/>
                <a:gd name="connsiteY317" fmla="*/ 638191 h 1648590"/>
                <a:gd name="connsiteX318" fmla="*/ 1639342 w 6512821"/>
                <a:gd name="connsiteY318" fmla="*/ 784990 h 1648590"/>
                <a:gd name="connsiteX319" fmla="*/ 1519050 w 6512821"/>
                <a:gd name="connsiteY319" fmla="*/ 845169 h 1648590"/>
                <a:gd name="connsiteX320" fmla="*/ 1519050 w 6512821"/>
                <a:gd name="connsiteY320" fmla="*/ 186527 h 1648590"/>
                <a:gd name="connsiteX321" fmla="*/ 1639342 w 6512821"/>
                <a:gd name="connsiteY321" fmla="*/ 186527 h 1648590"/>
                <a:gd name="connsiteX322" fmla="*/ 1639342 w 6512821"/>
                <a:gd name="connsiteY322" fmla="*/ 219157 h 1648590"/>
                <a:gd name="connsiteX323" fmla="*/ 1748432 w 6512821"/>
                <a:gd name="connsiteY323" fmla="*/ 176367 h 1648590"/>
                <a:gd name="connsiteX324" fmla="*/ 1933982 w 6512821"/>
                <a:gd name="connsiteY324" fmla="*/ 428218 h 1648590"/>
                <a:gd name="connsiteX325" fmla="*/ 1809587 w 6512821"/>
                <a:gd name="connsiteY325" fmla="*/ 434340 h 1648590"/>
                <a:gd name="connsiteX326" fmla="*/ 1718864 w 6512821"/>
                <a:gd name="connsiteY326" fmla="*/ 292621 h 1648590"/>
                <a:gd name="connsiteX327" fmla="*/ 1639342 w 6512821"/>
                <a:gd name="connsiteY327" fmla="*/ 335410 h 1648590"/>
                <a:gd name="connsiteX328" fmla="*/ 1639342 w 6512821"/>
                <a:gd name="connsiteY328" fmla="*/ 518942 h 1648590"/>
                <a:gd name="connsiteX329" fmla="*/ 1726028 w 6512821"/>
                <a:gd name="connsiteY329" fmla="*/ 562773 h 1648590"/>
                <a:gd name="connsiteX330" fmla="*/ 1809652 w 6512821"/>
                <a:gd name="connsiteY330" fmla="*/ 434340 h 1648590"/>
                <a:gd name="connsiteX331" fmla="*/ 1435426 w 6512821"/>
                <a:gd name="connsiteY331" fmla="*/ 667825 h 1648590"/>
                <a:gd name="connsiteX332" fmla="*/ 1315134 w 6512821"/>
                <a:gd name="connsiteY332" fmla="*/ 667825 h 1648590"/>
                <a:gd name="connsiteX333" fmla="*/ 1315134 w 6512821"/>
                <a:gd name="connsiteY333" fmla="*/ 634153 h 1648590"/>
                <a:gd name="connsiteX334" fmla="*/ 1202983 w 6512821"/>
                <a:gd name="connsiteY334" fmla="*/ 677984 h 1648590"/>
                <a:gd name="connsiteX335" fmla="*/ 1033715 w 6512821"/>
                <a:gd name="connsiteY335" fmla="*/ 510800 h 1648590"/>
                <a:gd name="connsiteX336" fmla="*/ 1221284 w 6512821"/>
                <a:gd name="connsiteY336" fmla="*/ 348696 h 1648590"/>
                <a:gd name="connsiteX337" fmla="*/ 1315069 w 6512821"/>
                <a:gd name="connsiteY337" fmla="*/ 368040 h 1648590"/>
                <a:gd name="connsiteX338" fmla="*/ 1315069 w 6512821"/>
                <a:gd name="connsiteY338" fmla="*/ 342574 h 1648590"/>
                <a:gd name="connsiteX339" fmla="*/ 1232486 w 6512821"/>
                <a:gd name="connsiteY339" fmla="*/ 279335 h 1648590"/>
                <a:gd name="connsiteX340" fmla="*/ 1121378 w 6512821"/>
                <a:gd name="connsiteY340" fmla="*/ 310922 h 1648590"/>
                <a:gd name="connsiteX341" fmla="*/ 1073443 w 6512821"/>
                <a:gd name="connsiteY341" fmla="*/ 225278 h 1648590"/>
                <a:gd name="connsiteX342" fmla="*/ 1239650 w 6512821"/>
                <a:gd name="connsiteY342" fmla="*/ 176367 h 1648590"/>
                <a:gd name="connsiteX343" fmla="*/ 1435426 w 6512821"/>
                <a:gd name="connsiteY343" fmla="*/ 344593 h 1648590"/>
                <a:gd name="connsiteX344" fmla="*/ 1435426 w 6512821"/>
                <a:gd name="connsiteY344" fmla="*/ 667759 h 1648590"/>
                <a:gd name="connsiteX345" fmla="*/ 1315134 w 6512821"/>
                <a:gd name="connsiteY345" fmla="*/ 527083 h 1648590"/>
                <a:gd name="connsiteX346" fmla="*/ 1315134 w 6512821"/>
                <a:gd name="connsiteY346" fmla="*/ 465927 h 1648590"/>
                <a:gd name="connsiteX347" fmla="*/ 1234570 w 6512821"/>
                <a:gd name="connsiteY347" fmla="*/ 445542 h 1648590"/>
                <a:gd name="connsiteX348" fmla="*/ 1156091 w 6512821"/>
                <a:gd name="connsiteY348" fmla="*/ 507740 h 1648590"/>
                <a:gd name="connsiteX349" fmla="*/ 1224410 w 6512821"/>
                <a:gd name="connsiteY349" fmla="*/ 574040 h 1648590"/>
                <a:gd name="connsiteX350" fmla="*/ 1315134 w 6512821"/>
                <a:gd name="connsiteY350" fmla="*/ 527148 h 1648590"/>
                <a:gd name="connsiteX351" fmla="*/ 967480 w 6512821"/>
                <a:gd name="connsiteY351" fmla="*/ 667825 h 1648590"/>
                <a:gd name="connsiteX352" fmla="*/ 847188 w 6512821"/>
                <a:gd name="connsiteY352" fmla="*/ 667825 h 1648590"/>
                <a:gd name="connsiteX353" fmla="*/ 847188 w 6512821"/>
                <a:gd name="connsiteY353" fmla="*/ 405814 h 1648590"/>
                <a:gd name="connsiteX354" fmla="*/ 765647 w 6512821"/>
                <a:gd name="connsiteY354" fmla="*/ 292621 h 1648590"/>
                <a:gd name="connsiteX355" fmla="*/ 683065 w 6512821"/>
                <a:gd name="connsiteY355" fmla="*/ 402753 h 1648590"/>
                <a:gd name="connsiteX356" fmla="*/ 683065 w 6512821"/>
                <a:gd name="connsiteY356" fmla="*/ 667825 h 1648590"/>
                <a:gd name="connsiteX357" fmla="*/ 562773 w 6512821"/>
                <a:gd name="connsiteY357" fmla="*/ 667825 h 1648590"/>
                <a:gd name="connsiteX358" fmla="*/ 562773 w 6512821"/>
                <a:gd name="connsiteY358" fmla="*/ 61221 h 1648590"/>
                <a:gd name="connsiteX359" fmla="*/ 683065 w 6512821"/>
                <a:gd name="connsiteY359" fmla="*/ 65 h 1648590"/>
                <a:gd name="connsiteX360" fmla="*/ 683065 w 6512821"/>
                <a:gd name="connsiteY360" fmla="*/ 220264 h 1648590"/>
                <a:gd name="connsiteX361" fmla="*/ 796258 w 6512821"/>
                <a:gd name="connsiteY361" fmla="*/ 176432 h 1648590"/>
                <a:gd name="connsiteX362" fmla="*/ 967545 w 6512821"/>
                <a:gd name="connsiteY362" fmla="*/ 396631 h 1648590"/>
                <a:gd name="connsiteX363" fmla="*/ 967545 w 6512821"/>
                <a:gd name="connsiteY363" fmla="*/ 667825 h 1648590"/>
                <a:gd name="connsiteX364" fmla="*/ 496472 w 6512821"/>
                <a:gd name="connsiteY364" fmla="*/ 475110 h 1648590"/>
                <a:gd name="connsiteX365" fmla="*/ 255889 w 6512821"/>
                <a:gd name="connsiteY365" fmla="*/ 677984 h 1648590"/>
                <a:gd name="connsiteX366" fmla="*/ 0 w 6512821"/>
                <a:gd name="connsiteY366" fmla="*/ 562773 h 1648590"/>
                <a:gd name="connsiteX367" fmla="*/ 89747 w 6512821"/>
                <a:gd name="connsiteY367" fmla="*/ 483251 h 1648590"/>
                <a:gd name="connsiteX368" fmla="*/ 252893 w 6512821"/>
                <a:gd name="connsiteY368" fmla="*/ 556651 h 1648590"/>
                <a:gd name="connsiteX369" fmla="*/ 367063 w 6512821"/>
                <a:gd name="connsiteY369" fmla="*/ 478171 h 1648590"/>
                <a:gd name="connsiteX370" fmla="*/ 329353 w 6512821"/>
                <a:gd name="connsiteY370" fmla="*/ 426199 h 1648590"/>
                <a:gd name="connsiteX371" fmla="*/ 225344 w 6512821"/>
                <a:gd name="connsiteY371" fmla="*/ 394612 h 1648590"/>
                <a:gd name="connsiteX372" fmla="*/ 79522 w 6512821"/>
                <a:gd name="connsiteY372" fmla="*/ 335475 h 1648590"/>
                <a:gd name="connsiteX373" fmla="*/ 24488 w 6512821"/>
                <a:gd name="connsiteY373" fmla="*/ 207042 h 1648590"/>
                <a:gd name="connsiteX374" fmla="*/ 254912 w 6512821"/>
                <a:gd name="connsiteY374" fmla="*/ 16412 h 1648590"/>
                <a:gd name="connsiteX375" fmla="*/ 482274 w 6512821"/>
                <a:gd name="connsiteY375" fmla="*/ 115277 h 1648590"/>
                <a:gd name="connsiteX376" fmla="*/ 392528 w 6512821"/>
                <a:gd name="connsiteY376" fmla="*/ 202939 h 1648590"/>
                <a:gd name="connsiteX377" fmla="*/ 246706 w 6512821"/>
                <a:gd name="connsiteY377" fmla="*/ 137681 h 1648590"/>
                <a:gd name="connsiteX378" fmla="*/ 152921 w 6512821"/>
                <a:gd name="connsiteY378" fmla="*/ 199878 h 1648590"/>
                <a:gd name="connsiteX379" fmla="*/ 179428 w 6512821"/>
                <a:gd name="connsiteY379" fmla="*/ 243710 h 1648590"/>
                <a:gd name="connsiteX380" fmla="*/ 282396 w 6512821"/>
                <a:gd name="connsiteY380" fmla="*/ 277381 h 1648590"/>
                <a:gd name="connsiteX381" fmla="*/ 438378 w 6512821"/>
                <a:gd name="connsiteY381" fmla="*/ 341598 h 1648590"/>
                <a:gd name="connsiteX382" fmla="*/ 496472 w 6512821"/>
                <a:gd name="connsiteY382" fmla="*/ 475176 h 1648590"/>
                <a:gd name="connsiteX383" fmla="*/ 6100885 w 6512821"/>
                <a:gd name="connsiteY383" fmla="*/ 208996 h 1648590"/>
                <a:gd name="connsiteX384" fmla="*/ 6051778 w 6512821"/>
                <a:gd name="connsiteY384" fmla="*/ 329288 h 1648590"/>
                <a:gd name="connsiteX385" fmla="*/ 5982482 w 6512821"/>
                <a:gd name="connsiteY385" fmla="*/ 299720 h 1648590"/>
                <a:gd name="connsiteX386" fmla="*/ 5911232 w 6512821"/>
                <a:gd name="connsiteY386" fmla="*/ 405749 h 1648590"/>
                <a:gd name="connsiteX387" fmla="*/ 5911232 w 6512821"/>
                <a:gd name="connsiteY387" fmla="*/ 667759 h 1648590"/>
                <a:gd name="connsiteX388" fmla="*/ 5790940 w 6512821"/>
                <a:gd name="connsiteY388" fmla="*/ 667759 h 1648590"/>
                <a:gd name="connsiteX389" fmla="*/ 5790940 w 6512821"/>
                <a:gd name="connsiteY389" fmla="*/ 186527 h 1648590"/>
                <a:gd name="connsiteX390" fmla="*/ 5911232 w 6512821"/>
                <a:gd name="connsiteY390" fmla="*/ 186527 h 1648590"/>
                <a:gd name="connsiteX391" fmla="*/ 5911232 w 6512821"/>
                <a:gd name="connsiteY391" fmla="*/ 220198 h 1648590"/>
                <a:gd name="connsiteX392" fmla="*/ 6012181 w 6512821"/>
                <a:gd name="connsiteY392" fmla="*/ 176367 h 1648590"/>
                <a:gd name="connsiteX393" fmla="*/ 6100885 w 6512821"/>
                <a:gd name="connsiteY393" fmla="*/ 208996 h 1648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</a:cxnLst>
              <a:rect l="l" t="t" r="r" b="b"/>
              <a:pathLst>
                <a:path w="6512821" h="1648590">
                  <a:moveTo>
                    <a:pt x="5071143" y="1396740"/>
                  </a:moveTo>
                  <a:cubicBezTo>
                    <a:pt x="5071143" y="1412045"/>
                    <a:pt x="5070101" y="1431388"/>
                    <a:pt x="5069124" y="1438552"/>
                  </a:cubicBezTo>
                  <a:lnTo>
                    <a:pt x="4777545" y="1438552"/>
                  </a:lnTo>
                  <a:cubicBezTo>
                    <a:pt x="4782625" y="1505829"/>
                    <a:pt x="4828541" y="1533378"/>
                    <a:pt x="4880513" y="1533378"/>
                  </a:cubicBezTo>
                  <a:cubicBezTo>
                    <a:pt x="4911123" y="1533378"/>
                    <a:pt x="4939649" y="1524196"/>
                    <a:pt x="4964137" y="1499707"/>
                  </a:cubicBezTo>
                  <a:lnTo>
                    <a:pt x="5049781" y="1572065"/>
                  </a:lnTo>
                  <a:cubicBezTo>
                    <a:pt x="5004908" y="1628140"/>
                    <a:pt x="4936588" y="1648525"/>
                    <a:pt x="4875433" y="1648525"/>
                  </a:cubicBezTo>
                  <a:cubicBezTo>
                    <a:pt x="4734756" y="1648525"/>
                    <a:pt x="4654192" y="1540478"/>
                    <a:pt x="4654192" y="1398759"/>
                  </a:cubicBezTo>
                  <a:cubicBezTo>
                    <a:pt x="4654192" y="1244795"/>
                    <a:pt x="4749019" y="1146908"/>
                    <a:pt x="4867292" y="1146908"/>
                  </a:cubicBezTo>
                  <a:cubicBezTo>
                    <a:pt x="4993706" y="1146908"/>
                    <a:pt x="5071208" y="1258016"/>
                    <a:pt x="5071208" y="1396675"/>
                  </a:cubicBezTo>
                  <a:close/>
                  <a:moveTo>
                    <a:pt x="4779564" y="1344767"/>
                  </a:moveTo>
                  <a:lnTo>
                    <a:pt x="4950851" y="1344767"/>
                  </a:lnTo>
                  <a:cubicBezTo>
                    <a:pt x="4946748" y="1290711"/>
                    <a:pt x="4912100" y="1254044"/>
                    <a:pt x="4863189" y="1254044"/>
                  </a:cubicBezTo>
                  <a:cubicBezTo>
                    <a:pt x="4805094" y="1254044"/>
                    <a:pt x="4782625" y="1305039"/>
                    <a:pt x="4779564" y="1344767"/>
                  </a:cubicBezTo>
                  <a:close/>
                  <a:moveTo>
                    <a:pt x="6512756" y="1396740"/>
                  </a:moveTo>
                  <a:cubicBezTo>
                    <a:pt x="6512756" y="1412045"/>
                    <a:pt x="6511714" y="1431388"/>
                    <a:pt x="6510737" y="1438552"/>
                  </a:cubicBezTo>
                  <a:lnTo>
                    <a:pt x="6219158" y="1438552"/>
                  </a:lnTo>
                  <a:cubicBezTo>
                    <a:pt x="6224238" y="1505829"/>
                    <a:pt x="6270154" y="1533378"/>
                    <a:pt x="6322126" y="1533378"/>
                  </a:cubicBezTo>
                  <a:cubicBezTo>
                    <a:pt x="6352736" y="1533378"/>
                    <a:pt x="6381262" y="1524196"/>
                    <a:pt x="6405751" y="1499707"/>
                  </a:cubicBezTo>
                  <a:lnTo>
                    <a:pt x="6491394" y="1572065"/>
                  </a:lnTo>
                  <a:cubicBezTo>
                    <a:pt x="6446521" y="1628140"/>
                    <a:pt x="6378201" y="1648525"/>
                    <a:pt x="6317046" y="1648525"/>
                  </a:cubicBezTo>
                  <a:cubicBezTo>
                    <a:pt x="6176369" y="1648525"/>
                    <a:pt x="6095805" y="1540478"/>
                    <a:pt x="6095805" y="1398759"/>
                  </a:cubicBezTo>
                  <a:cubicBezTo>
                    <a:pt x="6095805" y="1244795"/>
                    <a:pt x="6190632" y="1146908"/>
                    <a:pt x="6308905" y="1146908"/>
                  </a:cubicBezTo>
                  <a:cubicBezTo>
                    <a:pt x="6435319" y="1146908"/>
                    <a:pt x="6512821" y="1258016"/>
                    <a:pt x="6512821" y="1396675"/>
                  </a:cubicBezTo>
                  <a:close/>
                  <a:moveTo>
                    <a:pt x="6221177" y="1344767"/>
                  </a:moveTo>
                  <a:lnTo>
                    <a:pt x="6392465" y="1344767"/>
                  </a:lnTo>
                  <a:cubicBezTo>
                    <a:pt x="6388361" y="1290711"/>
                    <a:pt x="6353713" y="1254044"/>
                    <a:pt x="6304802" y="1254044"/>
                  </a:cubicBezTo>
                  <a:cubicBezTo>
                    <a:pt x="6246708" y="1254044"/>
                    <a:pt x="6224238" y="1305039"/>
                    <a:pt x="6221177" y="1344767"/>
                  </a:cubicBezTo>
                  <a:close/>
                  <a:moveTo>
                    <a:pt x="5978509" y="1467143"/>
                  </a:moveTo>
                  <a:lnTo>
                    <a:pt x="6058031" y="1542561"/>
                  </a:lnTo>
                  <a:cubicBezTo>
                    <a:pt x="6017261" y="1594534"/>
                    <a:pt x="5961185" y="1648590"/>
                    <a:pt x="5866359" y="1648590"/>
                  </a:cubicBezTo>
                  <a:cubicBezTo>
                    <a:pt x="5734865" y="1648590"/>
                    <a:pt x="5637954" y="1543604"/>
                    <a:pt x="5637954" y="1398823"/>
                  </a:cubicBezTo>
                  <a:cubicBezTo>
                    <a:pt x="5637954" y="1266288"/>
                    <a:pt x="5718518" y="1146973"/>
                    <a:pt x="5868378" y="1146973"/>
                  </a:cubicBezTo>
                  <a:cubicBezTo>
                    <a:pt x="5954021" y="1146973"/>
                    <a:pt x="6013157" y="1185724"/>
                    <a:pt x="6056989" y="1250983"/>
                  </a:cubicBezTo>
                  <a:lnTo>
                    <a:pt x="5975448" y="1333565"/>
                  </a:lnTo>
                  <a:cubicBezTo>
                    <a:pt x="5946922" y="1295856"/>
                    <a:pt x="5916312" y="1266288"/>
                    <a:pt x="5867401" y="1266288"/>
                  </a:cubicBezTo>
                  <a:cubicBezTo>
                    <a:pt x="5801100" y="1266288"/>
                    <a:pt x="5766452" y="1322363"/>
                    <a:pt x="5766452" y="1396804"/>
                  </a:cubicBezTo>
                  <a:cubicBezTo>
                    <a:pt x="5766452" y="1466101"/>
                    <a:pt x="5797062" y="1528299"/>
                    <a:pt x="5868378" y="1528299"/>
                  </a:cubicBezTo>
                  <a:cubicBezTo>
                    <a:pt x="5912209" y="1528299"/>
                    <a:pt x="5948941" y="1504852"/>
                    <a:pt x="5978509" y="1467143"/>
                  </a:cubicBezTo>
                  <a:close/>
                  <a:moveTo>
                    <a:pt x="4869246" y="667825"/>
                  </a:moveTo>
                  <a:lnTo>
                    <a:pt x="4750973" y="667825"/>
                  </a:lnTo>
                  <a:lnTo>
                    <a:pt x="4750973" y="634153"/>
                  </a:lnTo>
                  <a:cubicBezTo>
                    <a:pt x="4724466" y="663721"/>
                    <a:pt x="4681676" y="677984"/>
                    <a:pt x="4638822" y="677984"/>
                  </a:cubicBezTo>
                  <a:cubicBezTo>
                    <a:pt x="4514427" y="677984"/>
                    <a:pt x="4467535" y="588238"/>
                    <a:pt x="4467535" y="458763"/>
                  </a:cubicBezTo>
                  <a:lnTo>
                    <a:pt x="4467535" y="186527"/>
                  </a:lnTo>
                  <a:lnTo>
                    <a:pt x="4587827" y="186527"/>
                  </a:lnTo>
                  <a:lnTo>
                    <a:pt x="4587827" y="448538"/>
                  </a:lnTo>
                  <a:cubicBezTo>
                    <a:pt x="4587827" y="513797"/>
                    <a:pt x="4601113" y="562708"/>
                    <a:pt x="4668390" y="562708"/>
                  </a:cubicBezTo>
                  <a:cubicBezTo>
                    <a:pt x="4735668" y="562708"/>
                    <a:pt x="4748954" y="511712"/>
                    <a:pt x="4748954" y="452576"/>
                  </a:cubicBezTo>
                  <a:lnTo>
                    <a:pt x="4748954" y="186462"/>
                  </a:lnTo>
                  <a:lnTo>
                    <a:pt x="4869246" y="186462"/>
                  </a:lnTo>
                  <a:lnTo>
                    <a:pt x="4869246" y="667695"/>
                  </a:lnTo>
                  <a:close/>
                  <a:moveTo>
                    <a:pt x="5244449" y="527083"/>
                  </a:moveTo>
                  <a:lnTo>
                    <a:pt x="5227125" y="649458"/>
                  </a:lnTo>
                  <a:cubicBezTo>
                    <a:pt x="5202637" y="668802"/>
                    <a:pt x="5157829" y="677984"/>
                    <a:pt x="5128261" y="677984"/>
                  </a:cubicBezTo>
                  <a:cubicBezTo>
                    <a:pt x="5054861" y="677984"/>
                    <a:pt x="4997744" y="622951"/>
                    <a:pt x="4997744" y="535224"/>
                  </a:cubicBezTo>
                  <a:lnTo>
                    <a:pt x="4997744" y="301739"/>
                  </a:lnTo>
                  <a:lnTo>
                    <a:pt x="4928447" y="301739"/>
                  </a:lnTo>
                  <a:lnTo>
                    <a:pt x="4928447" y="186527"/>
                  </a:lnTo>
                  <a:lnTo>
                    <a:pt x="4997744" y="186527"/>
                  </a:lnTo>
                  <a:lnTo>
                    <a:pt x="4997744" y="61155"/>
                  </a:lnTo>
                  <a:lnTo>
                    <a:pt x="5118035" y="0"/>
                  </a:lnTo>
                  <a:lnTo>
                    <a:pt x="5118035" y="186592"/>
                  </a:lnTo>
                  <a:lnTo>
                    <a:pt x="5232205" y="186592"/>
                  </a:lnTo>
                  <a:lnTo>
                    <a:pt x="5232205" y="301804"/>
                  </a:lnTo>
                  <a:lnTo>
                    <a:pt x="5118035" y="301804"/>
                  </a:lnTo>
                  <a:lnTo>
                    <a:pt x="5118035" y="503701"/>
                  </a:lnTo>
                  <a:cubicBezTo>
                    <a:pt x="5118035" y="545514"/>
                    <a:pt x="5135360" y="560819"/>
                    <a:pt x="5164928" y="560819"/>
                  </a:cubicBezTo>
                  <a:cubicBezTo>
                    <a:pt x="5194496" y="560819"/>
                    <a:pt x="5225106" y="545514"/>
                    <a:pt x="5244449" y="527148"/>
                  </a:cubicBezTo>
                  <a:close/>
                  <a:moveTo>
                    <a:pt x="3417407" y="667825"/>
                  </a:moveTo>
                  <a:lnTo>
                    <a:pt x="3297116" y="667825"/>
                  </a:lnTo>
                  <a:lnTo>
                    <a:pt x="3297116" y="405814"/>
                  </a:lnTo>
                  <a:cubicBezTo>
                    <a:pt x="3297116" y="340555"/>
                    <a:pt x="3282853" y="292621"/>
                    <a:pt x="3215575" y="292621"/>
                  </a:cubicBezTo>
                  <a:cubicBezTo>
                    <a:pt x="3148298" y="292621"/>
                    <a:pt x="3132993" y="336452"/>
                    <a:pt x="3132993" y="402753"/>
                  </a:cubicBezTo>
                  <a:lnTo>
                    <a:pt x="3132993" y="667825"/>
                  </a:lnTo>
                  <a:lnTo>
                    <a:pt x="3012701" y="667825"/>
                  </a:lnTo>
                  <a:lnTo>
                    <a:pt x="3012701" y="61221"/>
                  </a:lnTo>
                  <a:lnTo>
                    <a:pt x="3132993" y="65"/>
                  </a:lnTo>
                  <a:lnTo>
                    <a:pt x="3132993" y="220264"/>
                  </a:lnTo>
                  <a:cubicBezTo>
                    <a:pt x="3159500" y="193756"/>
                    <a:pt x="3192129" y="176432"/>
                    <a:pt x="3246186" y="176432"/>
                  </a:cubicBezTo>
                  <a:cubicBezTo>
                    <a:pt x="3373641" y="176432"/>
                    <a:pt x="3417473" y="274320"/>
                    <a:pt x="3417473" y="396631"/>
                  </a:cubicBezTo>
                  <a:lnTo>
                    <a:pt x="3417473" y="667825"/>
                  </a:lnTo>
                  <a:close/>
                  <a:moveTo>
                    <a:pt x="5564554" y="1638365"/>
                  </a:moveTo>
                  <a:lnTo>
                    <a:pt x="5440160" y="1638365"/>
                  </a:lnTo>
                  <a:lnTo>
                    <a:pt x="5440160" y="1376355"/>
                  </a:lnTo>
                  <a:cubicBezTo>
                    <a:pt x="5440160" y="1309077"/>
                    <a:pt x="5424855" y="1264204"/>
                    <a:pt x="5357577" y="1264204"/>
                  </a:cubicBezTo>
                  <a:cubicBezTo>
                    <a:pt x="5294337" y="1264204"/>
                    <a:pt x="5273952" y="1301913"/>
                    <a:pt x="5273952" y="1373293"/>
                  </a:cubicBezTo>
                  <a:lnTo>
                    <a:pt x="5273952" y="1638365"/>
                  </a:lnTo>
                  <a:lnTo>
                    <a:pt x="5149558" y="1638365"/>
                  </a:lnTo>
                  <a:lnTo>
                    <a:pt x="5149558" y="1157133"/>
                  </a:lnTo>
                  <a:lnTo>
                    <a:pt x="5273952" y="1157133"/>
                  </a:lnTo>
                  <a:lnTo>
                    <a:pt x="5273952" y="1189762"/>
                  </a:lnTo>
                  <a:cubicBezTo>
                    <a:pt x="5299418" y="1164297"/>
                    <a:pt x="5337192" y="1146973"/>
                    <a:pt x="5391183" y="1146973"/>
                  </a:cubicBezTo>
                  <a:cubicBezTo>
                    <a:pt x="5521700" y="1146973"/>
                    <a:pt x="5564490" y="1247922"/>
                    <a:pt x="5564490" y="1366195"/>
                  </a:cubicBezTo>
                  <a:lnTo>
                    <a:pt x="5564490" y="1638430"/>
                  </a:lnTo>
                  <a:close/>
                  <a:moveTo>
                    <a:pt x="4008772" y="1115386"/>
                  </a:moveTo>
                  <a:cubicBezTo>
                    <a:pt x="4048565" y="1115386"/>
                    <a:pt x="4080152" y="1083798"/>
                    <a:pt x="4080152" y="1044005"/>
                  </a:cubicBezTo>
                  <a:cubicBezTo>
                    <a:pt x="4080152" y="1004212"/>
                    <a:pt x="4048565" y="972624"/>
                    <a:pt x="4008772" y="972624"/>
                  </a:cubicBezTo>
                  <a:cubicBezTo>
                    <a:pt x="3968978" y="972624"/>
                    <a:pt x="3937391" y="1004212"/>
                    <a:pt x="3937391" y="1044005"/>
                  </a:cubicBezTo>
                  <a:cubicBezTo>
                    <a:pt x="3937391" y="1083798"/>
                    <a:pt x="3968978" y="1115386"/>
                    <a:pt x="4008772" y="1115386"/>
                  </a:cubicBezTo>
                  <a:close/>
                  <a:moveTo>
                    <a:pt x="829864" y="1115386"/>
                  </a:moveTo>
                  <a:cubicBezTo>
                    <a:pt x="869657" y="1115386"/>
                    <a:pt x="901244" y="1083798"/>
                    <a:pt x="901244" y="1044005"/>
                  </a:cubicBezTo>
                  <a:cubicBezTo>
                    <a:pt x="901244" y="1004212"/>
                    <a:pt x="869657" y="972624"/>
                    <a:pt x="829864" y="972624"/>
                  </a:cubicBezTo>
                  <a:cubicBezTo>
                    <a:pt x="790070" y="972624"/>
                    <a:pt x="758483" y="1004212"/>
                    <a:pt x="758483" y="1044005"/>
                  </a:cubicBezTo>
                  <a:cubicBezTo>
                    <a:pt x="758483" y="1083798"/>
                    <a:pt x="790070" y="1115386"/>
                    <a:pt x="829864" y="1115386"/>
                  </a:cubicBezTo>
                  <a:close/>
                  <a:moveTo>
                    <a:pt x="6512756" y="426134"/>
                  </a:moveTo>
                  <a:cubicBezTo>
                    <a:pt x="6512756" y="441439"/>
                    <a:pt x="6511714" y="460782"/>
                    <a:pt x="6510737" y="467946"/>
                  </a:cubicBezTo>
                  <a:lnTo>
                    <a:pt x="6219158" y="467946"/>
                  </a:lnTo>
                  <a:cubicBezTo>
                    <a:pt x="6224238" y="535224"/>
                    <a:pt x="6270154" y="562773"/>
                    <a:pt x="6322126" y="562773"/>
                  </a:cubicBezTo>
                  <a:cubicBezTo>
                    <a:pt x="6352736" y="562773"/>
                    <a:pt x="6381262" y="553590"/>
                    <a:pt x="6405751" y="529102"/>
                  </a:cubicBezTo>
                  <a:lnTo>
                    <a:pt x="6491394" y="601459"/>
                  </a:lnTo>
                  <a:cubicBezTo>
                    <a:pt x="6446521" y="657535"/>
                    <a:pt x="6378201" y="677919"/>
                    <a:pt x="6317046" y="677919"/>
                  </a:cubicBezTo>
                  <a:cubicBezTo>
                    <a:pt x="6176369" y="677919"/>
                    <a:pt x="6095805" y="569872"/>
                    <a:pt x="6095805" y="428153"/>
                  </a:cubicBezTo>
                  <a:cubicBezTo>
                    <a:pt x="6095805" y="274190"/>
                    <a:pt x="6190632" y="176302"/>
                    <a:pt x="6308905" y="176302"/>
                  </a:cubicBezTo>
                  <a:cubicBezTo>
                    <a:pt x="6435319" y="176302"/>
                    <a:pt x="6512821" y="287411"/>
                    <a:pt x="6512821" y="426069"/>
                  </a:cubicBezTo>
                  <a:close/>
                  <a:moveTo>
                    <a:pt x="6221177" y="374162"/>
                  </a:moveTo>
                  <a:lnTo>
                    <a:pt x="6392465" y="374162"/>
                  </a:lnTo>
                  <a:cubicBezTo>
                    <a:pt x="6388361" y="320105"/>
                    <a:pt x="6353713" y="283438"/>
                    <a:pt x="6304802" y="283438"/>
                  </a:cubicBezTo>
                  <a:cubicBezTo>
                    <a:pt x="6246708" y="283438"/>
                    <a:pt x="6224238" y="334433"/>
                    <a:pt x="6221177" y="374162"/>
                  </a:cubicBezTo>
                  <a:close/>
                  <a:moveTo>
                    <a:pt x="5702235" y="667825"/>
                  </a:moveTo>
                  <a:lnTo>
                    <a:pt x="5583963" y="667825"/>
                  </a:lnTo>
                  <a:lnTo>
                    <a:pt x="5583963" y="634153"/>
                  </a:lnTo>
                  <a:cubicBezTo>
                    <a:pt x="5557456" y="663721"/>
                    <a:pt x="5514666" y="677984"/>
                    <a:pt x="5471812" y="677984"/>
                  </a:cubicBezTo>
                  <a:cubicBezTo>
                    <a:pt x="5347417" y="677984"/>
                    <a:pt x="5300525" y="588238"/>
                    <a:pt x="5300525" y="458763"/>
                  </a:cubicBezTo>
                  <a:lnTo>
                    <a:pt x="5300525" y="186527"/>
                  </a:lnTo>
                  <a:lnTo>
                    <a:pt x="5420817" y="186527"/>
                  </a:lnTo>
                  <a:lnTo>
                    <a:pt x="5420817" y="448538"/>
                  </a:lnTo>
                  <a:cubicBezTo>
                    <a:pt x="5420817" y="513797"/>
                    <a:pt x="5434103" y="562708"/>
                    <a:pt x="5501380" y="562708"/>
                  </a:cubicBezTo>
                  <a:cubicBezTo>
                    <a:pt x="5568657" y="562708"/>
                    <a:pt x="5581944" y="511712"/>
                    <a:pt x="5581944" y="452576"/>
                  </a:cubicBezTo>
                  <a:lnTo>
                    <a:pt x="5581944" y="186462"/>
                  </a:lnTo>
                  <a:lnTo>
                    <a:pt x="5702235" y="186462"/>
                  </a:lnTo>
                  <a:lnTo>
                    <a:pt x="5702235" y="667695"/>
                  </a:lnTo>
                  <a:close/>
                  <a:moveTo>
                    <a:pt x="3895579" y="426134"/>
                  </a:moveTo>
                  <a:cubicBezTo>
                    <a:pt x="3895579" y="441439"/>
                    <a:pt x="3894537" y="460782"/>
                    <a:pt x="3893560" y="467946"/>
                  </a:cubicBezTo>
                  <a:lnTo>
                    <a:pt x="3601981" y="467946"/>
                  </a:lnTo>
                  <a:cubicBezTo>
                    <a:pt x="3607061" y="535224"/>
                    <a:pt x="3652976" y="562773"/>
                    <a:pt x="3704949" y="562773"/>
                  </a:cubicBezTo>
                  <a:cubicBezTo>
                    <a:pt x="3735559" y="562773"/>
                    <a:pt x="3764085" y="553590"/>
                    <a:pt x="3788573" y="529102"/>
                  </a:cubicBezTo>
                  <a:lnTo>
                    <a:pt x="3874217" y="601459"/>
                  </a:lnTo>
                  <a:cubicBezTo>
                    <a:pt x="3829343" y="657535"/>
                    <a:pt x="3761024" y="677919"/>
                    <a:pt x="3699868" y="677919"/>
                  </a:cubicBezTo>
                  <a:cubicBezTo>
                    <a:pt x="3559192" y="677919"/>
                    <a:pt x="3478628" y="569872"/>
                    <a:pt x="3478628" y="428153"/>
                  </a:cubicBezTo>
                  <a:cubicBezTo>
                    <a:pt x="3478628" y="274190"/>
                    <a:pt x="3573455" y="176302"/>
                    <a:pt x="3691727" y="176302"/>
                  </a:cubicBezTo>
                  <a:cubicBezTo>
                    <a:pt x="3818141" y="176302"/>
                    <a:pt x="3895644" y="287411"/>
                    <a:pt x="3895644" y="426069"/>
                  </a:cubicBezTo>
                  <a:close/>
                  <a:moveTo>
                    <a:pt x="3604000" y="374162"/>
                  </a:moveTo>
                  <a:lnTo>
                    <a:pt x="3775287" y="374162"/>
                  </a:lnTo>
                  <a:cubicBezTo>
                    <a:pt x="3771184" y="320105"/>
                    <a:pt x="3736536" y="283438"/>
                    <a:pt x="3687624" y="283438"/>
                  </a:cubicBezTo>
                  <a:cubicBezTo>
                    <a:pt x="3629530" y="283438"/>
                    <a:pt x="3607061" y="334433"/>
                    <a:pt x="3604000" y="374162"/>
                  </a:cubicBezTo>
                  <a:close/>
                  <a:moveTo>
                    <a:pt x="4579686" y="1638365"/>
                  </a:moveTo>
                  <a:lnTo>
                    <a:pt x="4455291" y="1638365"/>
                  </a:lnTo>
                  <a:lnTo>
                    <a:pt x="4455291" y="1606778"/>
                  </a:lnTo>
                  <a:cubicBezTo>
                    <a:pt x="4414521" y="1636346"/>
                    <a:pt x="4390032" y="1648590"/>
                    <a:pt x="4346201" y="1648590"/>
                  </a:cubicBezTo>
                  <a:cubicBezTo>
                    <a:pt x="4207543" y="1648590"/>
                    <a:pt x="4148406" y="1528299"/>
                    <a:pt x="4148406" y="1393678"/>
                  </a:cubicBezTo>
                  <a:cubicBezTo>
                    <a:pt x="4148406" y="1247856"/>
                    <a:pt x="4217703" y="1146973"/>
                    <a:pt x="4343140" y="1146973"/>
                  </a:cubicBezTo>
                  <a:cubicBezTo>
                    <a:pt x="4384952" y="1146973"/>
                    <a:pt x="4424681" y="1158175"/>
                    <a:pt x="4455291" y="1185724"/>
                  </a:cubicBezTo>
                  <a:lnTo>
                    <a:pt x="4455291" y="1031761"/>
                  </a:lnTo>
                  <a:lnTo>
                    <a:pt x="4579686" y="969564"/>
                  </a:lnTo>
                  <a:lnTo>
                    <a:pt x="4579686" y="1638365"/>
                  </a:lnTo>
                  <a:close/>
                  <a:moveTo>
                    <a:pt x="4455356" y="1489547"/>
                  </a:moveTo>
                  <a:lnTo>
                    <a:pt x="4455356" y="1306016"/>
                  </a:lnTo>
                  <a:cubicBezTo>
                    <a:pt x="4428849" y="1277490"/>
                    <a:pt x="4403384" y="1264204"/>
                    <a:pt x="4368670" y="1264204"/>
                  </a:cubicBezTo>
                  <a:cubicBezTo>
                    <a:pt x="4296313" y="1264204"/>
                    <a:pt x="4278924" y="1321321"/>
                    <a:pt x="4278924" y="1389575"/>
                  </a:cubicBezTo>
                  <a:cubicBezTo>
                    <a:pt x="4278924" y="1467078"/>
                    <a:pt x="4301328" y="1531294"/>
                    <a:pt x="4371731" y="1531294"/>
                  </a:cubicBezTo>
                  <a:cubicBezTo>
                    <a:pt x="4406380" y="1531294"/>
                    <a:pt x="4430868" y="1515989"/>
                    <a:pt x="4455356" y="1489482"/>
                  </a:cubicBezTo>
                  <a:close/>
                  <a:moveTo>
                    <a:pt x="3945532" y="1157198"/>
                  </a:moveTo>
                  <a:lnTo>
                    <a:pt x="3945532" y="1638430"/>
                  </a:lnTo>
                  <a:lnTo>
                    <a:pt x="4069927" y="1638430"/>
                  </a:lnTo>
                  <a:lnTo>
                    <a:pt x="4069927" y="1157198"/>
                  </a:lnTo>
                  <a:lnTo>
                    <a:pt x="3945532" y="1157198"/>
                  </a:lnTo>
                  <a:close/>
                  <a:moveTo>
                    <a:pt x="3873175" y="985911"/>
                  </a:moveTo>
                  <a:lnTo>
                    <a:pt x="3873175" y="1085817"/>
                  </a:lnTo>
                  <a:cubicBezTo>
                    <a:pt x="3854809" y="1079695"/>
                    <a:pt x="3830386" y="1076634"/>
                    <a:pt x="3812019" y="1076634"/>
                  </a:cubicBezTo>
                  <a:cubicBezTo>
                    <a:pt x="3776329" y="1076634"/>
                    <a:pt x="3760047" y="1087836"/>
                    <a:pt x="3760047" y="1118447"/>
                  </a:cubicBezTo>
                  <a:lnTo>
                    <a:pt x="3760047" y="1157198"/>
                  </a:lnTo>
                  <a:lnTo>
                    <a:pt x="3863015" y="1157198"/>
                  </a:lnTo>
                  <a:lnTo>
                    <a:pt x="3863015" y="1273452"/>
                  </a:lnTo>
                  <a:lnTo>
                    <a:pt x="3760047" y="1273452"/>
                  </a:lnTo>
                  <a:lnTo>
                    <a:pt x="3760047" y="1638430"/>
                  </a:lnTo>
                  <a:lnTo>
                    <a:pt x="3635652" y="1638430"/>
                  </a:lnTo>
                  <a:lnTo>
                    <a:pt x="3635652" y="1273452"/>
                  </a:lnTo>
                  <a:lnTo>
                    <a:pt x="3568375" y="1273452"/>
                  </a:lnTo>
                  <a:lnTo>
                    <a:pt x="3568375" y="1157198"/>
                  </a:lnTo>
                  <a:lnTo>
                    <a:pt x="3635652" y="1157198"/>
                  </a:lnTo>
                  <a:lnTo>
                    <a:pt x="3635652" y="1099104"/>
                  </a:lnTo>
                  <a:cubicBezTo>
                    <a:pt x="3635652" y="1009357"/>
                    <a:pt x="3691727" y="972690"/>
                    <a:pt x="3782451" y="972690"/>
                  </a:cubicBezTo>
                  <a:cubicBezTo>
                    <a:pt x="3808958" y="972690"/>
                    <a:pt x="3847710" y="975751"/>
                    <a:pt x="3873175" y="985976"/>
                  </a:cubicBezTo>
                  <a:close/>
                  <a:moveTo>
                    <a:pt x="3507154" y="1638365"/>
                  </a:moveTo>
                  <a:lnTo>
                    <a:pt x="3382759" y="1638365"/>
                  </a:lnTo>
                  <a:lnTo>
                    <a:pt x="3382759" y="1376355"/>
                  </a:lnTo>
                  <a:cubicBezTo>
                    <a:pt x="3382759" y="1309077"/>
                    <a:pt x="3367454" y="1264204"/>
                    <a:pt x="3300177" y="1264204"/>
                  </a:cubicBezTo>
                  <a:cubicBezTo>
                    <a:pt x="3236937" y="1264204"/>
                    <a:pt x="3216552" y="1301913"/>
                    <a:pt x="3216552" y="1373293"/>
                  </a:cubicBezTo>
                  <a:lnTo>
                    <a:pt x="3216552" y="1638365"/>
                  </a:lnTo>
                  <a:lnTo>
                    <a:pt x="3092157" y="1638365"/>
                  </a:lnTo>
                  <a:lnTo>
                    <a:pt x="3092157" y="1157133"/>
                  </a:lnTo>
                  <a:lnTo>
                    <a:pt x="3216552" y="1157133"/>
                  </a:lnTo>
                  <a:lnTo>
                    <a:pt x="3216552" y="1189762"/>
                  </a:lnTo>
                  <a:cubicBezTo>
                    <a:pt x="3242017" y="1164297"/>
                    <a:pt x="3279792" y="1146973"/>
                    <a:pt x="3333783" y="1146973"/>
                  </a:cubicBezTo>
                  <a:cubicBezTo>
                    <a:pt x="3464300" y="1146973"/>
                    <a:pt x="3507089" y="1247922"/>
                    <a:pt x="3507089" y="1366195"/>
                  </a:cubicBezTo>
                  <a:lnTo>
                    <a:pt x="3507089" y="1638430"/>
                  </a:lnTo>
                  <a:close/>
                  <a:moveTo>
                    <a:pt x="2792437" y="1146973"/>
                  </a:moveTo>
                  <a:cubicBezTo>
                    <a:pt x="2653779" y="1146973"/>
                    <a:pt x="2567094" y="1256063"/>
                    <a:pt x="2567094" y="1397782"/>
                  </a:cubicBezTo>
                  <a:cubicBezTo>
                    <a:pt x="2567094" y="1546665"/>
                    <a:pt x="2661920" y="1648590"/>
                    <a:pt x="2792437" y="1648590"/>
                  </a:cubicBezTo>
                  <a:cubicBezTo>
                    <a:pt x="2922954" y="1648590"/>
                    <a:pt x="3017781" y="1546665"/>
                    <a:pt x="3017781" y="1397782"/>
                  </a:cubicBezTo>
                  <a:cubicBezTo>
                    <a:pt x="3017781" y="1248899"/>
                    <a:pt x="2931095" y="1146973"/>
                    <a:pt x="2792437" y="1146973"/>
                  </a:cubicBezTo>
                  <a:close/>
                  <a:moveTo>
                    <a:pt x="2792437" y="1528299"/>
                  </a:moveTo>
                  <a:cubicBezTo>
                    <a:pt x="2712916" y="1528299"/>
                    <a:pt x="2695592" y="1451838"/>
                    <a:pt x="2695592" y="1397782"/>
                  </a:cubicBezTo>
                  <a:cubicBezTo>
                    <a:pt x="2695592" y="1323340"/>
                    <a:pt x="2726202" y="1266288"/>
                    <a:pt x="2792437" y="1266288"/>
                  </a:cubicBezTo>
                  <a:cubicBezTo>
                    <a:pt x="2858673" y="1266288"/>
                    <a:pt x="2889283" y="1323405"/>
                    <a:pt x="2889283" y="1397782"/>
                  </a:cubicBezTo>
                  <a:cubicBezTo>
                    <a:pt x="2889283" y="1451838"/>
                    <a:pt x="2871959" y="1528299"/>
                    <a:pt x="2792437" y="1528299"/>
                  </a:cubicBezTo>
                  <a:close/>
                  <a:moveTo>
                    <a:pt x="2446802" y="1467143"/>
                  </a:moveTo>
                  <a:lnTo>
                    <a:pt x="2526323" y="1542561"/>
                  </a:lnTo>
                  <a:cubicBezTo>
                    <a:pt x="2485553" y="1594534"/>
                    <a:pt x="2429478" y="1648590"/>
                    <a:pt x="2334651" y="1648590"/>
                  </a:cubicBezTo>
                  <a:cubicBezTo>
                    <a:pt x="2203157" y="1648590"/>
                    <a:pt x="2106246" y="1543604"/>
                    <a:pt x="2106246" y="1398823"/>
                  </a:cubicBezTo>
                  <a:cubicBezTo>
                    <a:pt x="2106246" y="1266288"/>
                    <a:pt x="2186810" y="1146973"/>
                    <a:pt x="2336670" y="1146973"/>
                  </a:cubicBezTo>
                  <a:cubicBezTo>
                    <a:pt x="2422314" y="1146973"/>
                    <a:pt x="2481450" y="1185724"/>
                    <a:pt x="2525281" y="1250983"/>
                  </a:cubicBezTo>
                  <a:lnTo>
                    <a:pt x="2443741" y="1333565"/>
                  </a:lnTo>
                  <a:cubicBezTo>
                    <a:pt x="2415215" y="1295856"/>
                    <a:pt x="2384604" y="1266288"/>
                    <a:pt x="2335693" y="1266288"/>
                  </a:cubicBezTo>
                  <a:cubicBezTo>
                    <a:pt x="2269393" y="1266288"/>
                    <a:pt x="2234744" y="1322363"/>
                    <a:pt x="2234744" y="1396804"/>
                  </a:cubicBezTo>
                  <a:cubicBezTo>
                    <a:pt x="2234744" y="1466101"/>
                    <a:pt x="2265355" y="1528299"/>
                    <a:pt x="2336670" y="1528299"/>
                  </a:cubicBezTo>
                  <a:cubicBezTo>
                    <a:pt x="2380501" y="1528299"/>
                    <a:pt x="2417234" y="1504852"/>
                    <a:pt x="2446802" y="1467143"/>
                  </a:cubicBezTo>
                  <a:close/>
                  <a:moveTo>
                    <a:pt x="1803530" y="1638365"/>
                  </a:moveTo>
                  <a:lnTo>
                    <a:pt x="1679135" y="1638365"/>
                  </a:lnTo>
                  <a:lnTo>
                    <a:pt x="1679135" y="1376355"/>
                  </a:lnTo>
                  <a:cubicBezTo>
                    <a:pt x="1679135" y="1309077"/>
                    <a:pt x="1663830" y="1264204"/>
                    <a:pt x="1596553" y="1264204"/>
                  </a:cubicBezTo>
                  <a:cubicBezTo>
                    <a:pt x="1533314" y="1264204"/>
                    <a:pt x="1511951" y="1301913"/>
                    <a:pt x="1511951" y="1373293"/>
                  </a:cubicBezTo>
                  <a:lnTo>
                    <a:pt x="1511951" y="1638365"/>
                  </a:lnTo>
                  <a:lnTo>
                    <a:pt x="1387557" y="1638365"/>
                  </a:lnTo>
                  <a:lnTo>
                    <a:pt x="1387557" y="1031761"/>
                  </a:lnTo>
                  <a:lnTo>
                    <a:pt x="1511951" y="969564"/>
                  </a:lnTo>
                  <a:lnTo>
                    <a:pt x="1511951" y="1189762"/>
                  </a:lnTo>
                  <a:cubicBezTo>
                    <a:pt x="1535398" y="1161236"/>
                    <a:pt x="1584309" y="1146973"/>
                    <a:pt x="1632243" y="1146973"/>
                  </a:cubicBezTo>
                  <a:cubicBezTo>
                    <a:pt x="1758657" y="1146973"/>
                    <a:pt x="1803530" y="1246880"/>
                    <a:pt x="1803530" y="1366195"/>
                  </a:cubicBezTo>
                  <a:lnTo>
                    <a:pt x="1803530" y="1638430"/>
                  </a:lnTo>
                  <a:close/>
                  <a:moveTo>
                    <a:pt x="1311031" y="1493650"/>
                  </a:moveTo>
                  <a:lnTo>
                    <a:pt x="1292665" y="1619022"/>
                  </a:lnTo>
                  <a:cubicBezTo>
                    <a:pt x="1267200" y="1639407"/>
                    <a:pt x="1205979" y="1648590"/>
                    <a:pt x="1173350" y="1648590"/>
                  </a:cubicBezTo>
                  <a:cubicBezTo>
                    <a:pt x="1097931" y="1648590"/>
                    <a:pt x="1043875" y="1588412"/>
                    <a:pt x="1043875" y="1504852"/>
                  </a:cubicBezTo>
                  <a:lnTo>
                    <a:pt x="1043875" y="1273387"/>
                  </a:lnTo>
                  <a:lnTo>
                    <a:pt x="960250" y="1273387"/>
                  </a:lnTo>
                  <a:lnTo>
                    <a:pt x="960250" y="1157133"/>
                  </a:lnTo>
                  <a:lnTo>
                    <a:pt x="1043875" y="1157133"/>
                  </a:lnTo>
                  <a:lnTo>
                    <a:pt x="1043875" y="1031761"/>
                  </a:lnTo>
                  <a:lnTo>
                    <a:pt x="1168270" y="969564"/>
                  </a:lnTo>
                  <a:lnTo>
                    <a:pt x="1168270" y="1157133"/>
                  </a:lnTo>
                  <a:lnTo>
                    <a:pt x="1308947" y="1157133"/>
                  </a:lnTo>
                  <a:lnTo>
                    <a:pt x="1308947" y="1273387"/>
                  </a:lnTo>
                  <a:lnTo>
                    <a:pt x="1168270" y="1273387"/>
                  </a:lnTo>
                  <a:lnTo>
                    <a:pt x="1168270" y="1471181"/>
                  </a:lnTo>
                  <a:cubicBezTo>
                    <a:pt x="1168270" y="1515012"/>
                    <a:pt x="1184552" y="1529275"/>
                    <a:pt x="1214120" y="1529275"/>
                  </a:cubicBezTo>
                  <a:cubicBezTo>
                    <a:pt x="1243688" y="1529275"/>
                    <a:pt x="1289539" y="1513970"/>
                    <a:pt x="1310966" y="1493585"/>
                  </a:cubicBezTo>
                  <a:close/>
                  <a:moveTo>
                    <a:pt x="767666" y="1157198"/>
                  </a:moveTo>
                  <a:lnTo>
                    <a:pt x="767666" y="1638430"/>
                  </a:lnTo>
                  <a:lnTo>
                    <a:pt x="892061" y="1638430"/>
                  </a:lnTo>
                  <a:lnTo>
                    <a:pt x="892061" y="1157198"/>
                  </a:lnTo>
                  <a:lnTo>
                    <a:pt x="767666" y="1157198"/>
                  </a:lnTo>
                  <a:close/>
                  <a:moveTo>
                    <a:pt x="702408" y="1157198"/>
                  </a:moveTo>
                  <a:lnTo>
                    <a:pt x="550529" y="1638430"/>
                  </a:lnTo>
                  <a:lnTo>
                    <a:pt x="436359" y="1638430"/>
                  </a:lnTo>
                  <a:lnTo>
                    <a:pt x="354819" y="1345809"/>
                  </a:lnTo>
                  <a:lnTo>
                    <a:pt x="272236" y="1638430"/>
                  </a:lnTo>
                  <a:lnTo>
                    <a:pt x="158066" y="1638430"/>
                  </a:lnTo>
                  <a:lnTo>
                    <a:pt x="7099" y="1157198"/>
                  </a:lnTo>
                  <a:lnTo>
                    <a:pt x="145757" y="1157198"/>
                  </a:lnTo>
                  <a:lnTo>
                    <a:pt x="218114" y="1436533"/>
                  </a:lnTo>
                  <a:lnTo>
                    <a:pt x="299655" y="1157198"/>
                  </a:lnTo>
                  <a:lnTo>
                    <a:pt x="412848" y="1157198"/>
                  </a:lnTo>
                  <a:lnTo>
                    <a:pt x="494388" y="1436533"/>
                  </a:lnTo>
                  <a:lnTo>
                    <a:pt x="567788" y="1157198"/>
                  </a:lnTo>
                  <a:lnTo>
                    <a:pt x="702343" y="1157198"/>
                  </a:lnTo>
                  <a:close/>
                  <a:moveTo>
                    <a:pt x="4436990" y="16282"/>
                  </a:moveTo>
                  <a:lnTo>
                    <a:pt x="4436990" y="115147"/>
                  </a:lnTo>
                  <a:cubicBezTo>
                    <a:pt x="4409441" y="107983"/>
                    <a:pt x="4391139" y="104921"/>
                    <a:pt x="4374792" y="104921"/>
                  </a:cubicBezTo>
                  <a:cubicBezTo>
                    <a:pt x="4332003" y="104921"/>
                    <a:pt x="4322820" y="120227"/>
                    <a:pt x="4322820" y="144715"/>
                  </a:cubicBezTo>
                  <a:lnTo>
                    <a:pt x="4322820" y="186527"/>
                  </a:lnTo>
                  <a:lnTo>
                    <a:pt x="4404361" y="186527"/>
                  </a:lnTo>
                  <a:lnTo>
                    <a:pt x="4404361" y="302781"/>
                  </a:lnTo>
                  <a:lnTo>
                    <a:pt x="4322820" y="302781"/>
                  </a:lnTo>
                  <a:lnTo>
                    <a:pt x="4322820" y="667759"/>
                  </a:lnTo>
                  <a:lnTo>
                    <a:pt x="4202528" y="667759"/>
                  </a:lnTo>
                  <a:lnTo>
                    <a:pt x="4202528" y="302781"/>
                  </a:lnTo>
                  <a:lnTo>
                    <a:pt x="4143392" y="302781"/>
                  </a:lnTo>
                  <a:lnTo>
                    <a:pt x="4143392" y="186527"/>
                  </a:lnTo>
                  <a:lnTo>
                    <a:pt x="4202528" y="186527"/>
                  </a:lnTo>
                  <a:lnTo>
                    <a:pt x="4202528" y="128433"/>
                  </a:lnTo>
                  <a:cubicBezTo>
                    <a:pt x="4202528" y="44808"/>
                    <a:pt x="4246360" y="2019"/>
                    <a:pt x="4348350" y="2019"/>
                  </a:cubicBezTo>
                  <a:cubicBezTo>
                    <a:pt x="4380980" y="2019"/>
                    <a:pt x="4407487" y="8141"/>
                    <a:pt x="4437055" y="16282"/>
                  </a:cubicBezTo>
                  <a:close/>
                  <a:moveTo>
                    <a:pt x="2957602" y="527083"/>
                  </a:moveTo>
                  <a:lnTo>
                    <a:pt x="2940278" y="649458"/>
                  </a:lnTo>
                  <a:cubicBezTo>
                    <a:pt x="2915790" y="668802"/>
                    <a:pt x="2873001" y="677984"/>
                    <a:pt x="2843433" y="677984"/>
                  </a:cubicBezTo>
                  <a:cubicBezTo>
                    <a:pt x="2770033" y="677984"/>
                    <a:pt x="2712916" y="622951"/>
                    <a:pt x="2712916" y="535224"/>
                  </a:cubicBezTo>
                  <a:lnTo>
                    <a:pt x="2712916" y="301739"/>
                  </a:lnTo>
                  <a:lnTo>
                    <a:pt x="2629291" y="301739"/>
                  </a:lnTo>
                  <a:lnTo>
                    <a:pt x="2629291" y="186527"/>
                  </a:lnTo>
                  <a:lnTo>
                    <a:pt x="2712916" y="186527"/>
                  </a:lnTo>
                  <a:lnTo>
                    <a:pt x="2712916" y="61155"/>
                  </a:lnTo>
                  <a:lnTo>
                    <a:pt x="2833208" y="0"/>
                  </a:lnTo>
                  <a:lnTo>
                    <a:pt x="2833208" y="186592"/>
                  </a:lnTo>
                  <a:lnTo>
                    <a:pt x="2945358" y="186592"/>
                  </a:lnTo>
                  <a:lnTo>
                    <a:pt x="2945358" y="301804"/>
                  </a:lnTo>
                  <a:lnTo>
                    <a:pt x="2833208" y="301804"/>
                  </a:lnTo>
                  <a:lnTo>
                    <a:pt x="2833208" y="503701"/>
                  </a:lnTo>
                  <a:cubicBezTo>
                    <a:pt x="2833208" y="545514"/>
                    <a:pt x="2850532" y="560819"/>
                    <a:pt x="2880100" y="560819"/>
                  </a:cubicBezTo>
                  <a:cubicBezTo>
                    <a:pt x="2909668" y="560819"/>
                    <a:pt x="2938194" y="545514"/>
                    <a:pt x="2957602" y="527148"/>
                  </a:cubicBezTo>
                  <a:close/>
                  <a:moveTo>
                    <a:pt x="2397891" y="426134"/>
                  </a:moveTo>
                  <a:cubicBezTo>
                    <a:pt x="2397891" y="441439"/>
                    <a:pt x="2396849" y="460782"/>
                    <a:pt x="2395872" y="467946"/>
                  </a:cubicBezTo>
                  <a:lnTo>
                    <a:pt x="2114453" y="467946"/>
                  </a:lnTo>
                  <a:cubicBezTo>
                    <a:pt x="2119533" y="535224"/>
                    <a:pt x="2166425" y="562773"/>
                    <a:pt x="2218462" y="562773"/>
                  </a:cubicBezTo>
                  <a:cubicBezTo>
                    <a:pt x="2249073" y="562773"/>
                    <a:pt x="2276557" y="553590"/>
                    <a:pt x="2301045" y="529102"/>
                  </a:cubicBezTo>
                  <a:lnTo>
                    <a:pt x="2386689" y="601459"/>
                  </a:lnTo>
                  <a:cubicBezTo>
                    <a:pt x="2346895" y="654473"/>
                    <a:pt x="2274538" y="677919"/>
                    <a:pt x="2210321" y="677919"/>
                  </a:cubicBezTo>
                  <a:cubicBezTo>
                    <a:pt x="2072705" y="677919"/>
                    <a:pt x="1991100" y="569872"/>
                    <a:pt x="1991100" y="429130"/>
                  </a:cubicBezTo>
                  <a:cubicBezTo>
                    <a:pt x="1991100" y="288388"/>
                    <a:pt x="2079804" y="176302"/>
                    <a:pt x="2205176" y="176302"/>
                  </a:cubicBezTo>
                  <a:cubicBezTo>
                    <a:pt x="2339731" y="176302"/>
                    <a:pt x="2397891" y="298678"/>
                    <a:pt x="2397891" y="426069"/>
                  </a:cubicBezTo>
                  <a:close/>
                  <a:moveTo>
                    <a:pt x="2116472" y="374162"/>
                  </a:moveTo>
                  <a:lnTo>
                    <a:pt x="2287759" y="374162"/>
                  </a:lnTo>
                  <a:cubicBezTo>
                    <a:pt x="2282679" y="320105"/>
                    <a:pt x="2251027" y="283438"/>
                    <a:pt x="2199054" y="283438"/>
                  </a:cubicBezTo>
                  <a:cubicBezTo>
                    <a:pt x="2144021" y="283438"/>
                    <a:pt x="2119533" y="334433"/>
                    <a:pt x="2116472" y="374162"/>
                  </a:cubicBezTo>
                  <a:close/>
                  <a:moveTo>
                    <a:pt x="1933982" y="428218"/>
                  </a:moveTo>
                  <a:cubicBezTo>
                    <a:pt x="1933982" y="551571"/>
                    <a:pt x="1882987" y="677984"/>
                    <a:pt x="1746413" y="677984"/>
                  </a:cubicBezTo>
                  <a:cubicBezTo>
                    <a:pt x="1693399" y="677984"/>
                    <a:pt x="1660769" y="658642"/>
                    <a:pt x="1639342" y="638191"/>
                  </a:cubicBezTo>
                  <a:lnTo>
                    <a:pt x="1639342" y="784990"/>
                  </a:lnTo>
                  <a:lnTo>
                    <a:pt x="1519050" y="845169"/>
                  </a:lnTo>
                  <a:lnTo>
                    <a:pt x="1519050" y="186527"/>
                  </a:lnTo>
                  <a:lnTo>
                    <a:pt x="1639342" y="186527"/>
                  </a:lnTo>
                  <a:lnTo>
                    <a:pt x="1639342" y="219157"/>
                  </a:lnTo>
                  <a:cubicBezTo>
                    <a:pt x="1670929" y="190630"/>
                    <a:pt x="1703559" y="176367"/>
                    <a:pt x="1748432" y="176367"/>
                  </a:cubicBezTo>
                  <a:cubicBezTo>
                    <a:pt x="1877907" y="176367"/>
                    <a:pt x="1933982" y="298743"/>
                    <a:pt x="1933982" y="428218"/>
                  </a:cubicBezTo>
                  <a:close/>
                  <a:moveTo>
                    <a:pt x="1809587" y="434340"/>
                  </a:moveTo>
                  <a:cubicBezTo>
                    <a:pt x="1809587" y="364002"/>
                    <a:pt x="1791221" y="292621"/>
                    <a:pt x="1718864" y="292621"/>
                  </a:cubicBezTo>
                  <a:cubicBezTo>
                    <a:pt x="1685193" y="292621"/>
                    <a:pt x="1658685" y="307926"/>
                    <a:pt x="1639342" y="335410"/>
                  </a:cubicBezTo>
                  <a:lnTo>
                    <a:pt x="1639342" y="518942"/>
                  </a:lnTo>
                  <a:cubicBezTo>
                    <a:pt x="1658685" y="546491"/>
                    <a:pt x="1691315" y="562773"/>
                    <a:pt x="1726028" y="562773"/>
                  </a:cubicBezTo>
                  <a:cubicBezTo>
                    <a:pt x="1793305" y="562773"/>
                    <a:pt x="1809652" y="501618"/>
                    <a:pt x="1809652" y="434340"/>
                  </a:cubicBezTo>
                  <a:close/>
                  <a:moveTo>
                    <a:pt x="1435426" y="667825"/>
                  </a:moveTo>
                  <a:lnTo>
                    <a:pt x="1315134" y="667825"/>
                  </a:lnTo>
                  <a:lnTo>
                    <a:pt x="1315134" y="634153"/>
                  </a:lnTo>
                  <a:cubicBezTo>
                    <a:pt x="1286608" y="662680"/>
                    <a:pt x="1249876" y="677984"/>
                    <a:pt x="1202983" y="677984"/>
                  </a:cubicBezTo>
                  <a:cubicBezTo>
                    <a:pt x="1108157" y="677984"/>
                    <a:pt x="1033715" y="616829"/>
                    <a:pt x="1033715" y="510800"/>
                  </a:cubicBezTo>
                  <a:cubicBezTo>
                    <a:pt x="1033715" y="404772"/>
                    <a:pt x="1106072" y="348696"/>
                    <a:pt x="1221284" y="348696"/>
                  </a:cubicBezTo>
                  <a:cubicBezTo>
                    <a:pt x="1251894" y="348696"/>
                    <a:pt x="1283482" y="352799"/>
                    <a:pt x="1315069" y="368040"/>
                  </a:cubicBezTo>
                  <a:lnTo>
                    <a:pt x="1315069" y="342574"/>
                  </a:lnTo>
                  <a:cubicBezTo>
                    <a:pt x="1315069" y="297701"/>
                    <a:pt x="1285501" y="279335"/>
                    <a:pt x="1232486" y="279335"/>
                  </a:cubicBezTo>
                  <a:cubicBezTo>
                    <a:pt x="1194777" y="279335"/>
                    <a:pt x="1159087" y="288518"/>
                    <a:pt x="1121378" y="310922"/>
                  </a:cubicBezTo>
                  <a:lnTo>
                    <a:pt x="1073443" y="225278"/>
                  </a:lnTo>
                  <a:cubicBezTo>
                    <a:pt x="1125416" y="192649"/>
                    <a:pt x="1175369" y="176367"/>
                    <a:pt x="1239650" y="176367"/>
                  </a:cubicBezTo>
                  <a:cubicBezTo>
                    <a:pt x="1360984" y="176367"/>
                    <a:pt x="1435426" y="235503"/>
                    <a:pt x="1435426" y="344593"/>
                  </a:cubicBezTo>
                  <a:lnTo>
                    <a:pt x="1435426" y="667759"/>
                  </a:lnTo>
                  <a:close/>
                  <a:moveTo>
                    <a:pt x="1315134" y="527083"/>
                  </a:moveTo>
                  <a:lnTo>
                    <a:pt x="1315134" y="465927"/>
                  </a:lnTo>
                  <a:cubicBezTo>
                    <a:pt x="1290646" y="450622"/>
                    <a:pt x="1259059" y="445542"/>
                    <a:pt x="1234570" y="445542"/>
                  </a:cubicBezTo>
                  <a:cubicBezTo>
                    <a:pt x="1181556" y="445542"/>
                    <a:pt x="1156091" y="468988"/>
                    <a:pt x="1156091" y="507740"/>
                  </a:cubicBezTo>
                  <a:cubicBezTo>
                    <a:pt x="1156091" y="544472"/>
                    <a:pt x="1179537" y="574040"/>
                    <a:pt x="1224410" y="574040"/>
                  </a:cubicBezTo>
                  <a:cubicBezTo>
                    <a:pt x="1247857" y="574040"/>
                    <a:pt x="1288627" y="565899"/>
                    <a:pt x="1315134" y="527148"/>
                  </a:cubicBezTo>
                  <a:close/>
                  <a:moveTo>
                    <a:pt x="967480" y="667825"/>
                  </a:moveTo>
                  <a:lnTo>
                    <a:pt x="847188" y="667825"/>
                  </a:lnTo>
                  <a:lnTo>
                    <a:pt x="847188" y="405814"/>
                  </a:lnTo>
                  <a:cubicBezTo>
                    <a:pt x="847188" y="340555"/>
                    <a:pt x="832925" y="292621"/>
                    <a:pt x="765647" y="292621"/>
                  </a:cubicBezTo>
                  <a:cubicBezTo>
                    <a:pt x="698370" y="292621"/>
                    <a:pt x="683065" y="336452"/>
                    <a:pt x="683065" y="402753"/>
                  </a:cubicBezTo>
                  <a:lnTo>
                    <a:pt x="683065" y="667825"/>
                  </a:lnTo>
                  <a:lnTo>
                    <a:pt x="562773" y="667825"/>
                  </a:lnTo>
                  <a:lnTo>
                    <a:pt x="562773" y="61221"/>
                  </a:lnTo>
                  <a:lnTo>
                    <a:pt x="683065" y="65"/>
                  </a:lnTo>
                  <a:lnTo>
                    <a:pt x="683065" y="220264"/>
                  </a:lnTo>
                  <a:cubicBezTo>
                    <a:pt x="709572" y="193756"/>
                    <a:pt x="742201" y="176432"/>
                    <a:pt x="796258" y="176432"/>
                  </a:cubicBezTo>
                  <a:cubicBezTo>
                    <a:pt x="923713" y="176432"/>
                    <a:pt x="967545" y="274320"/>
                    <a:pt x="967545" y="396631"/>
                  </a:cubicBezTo>
                  <a:lnTo>
                    <a:pt x="967545" y="667825"/>
                  </a:lnTo>
                  <a:close/>
                  <a:moveTo>
                    <a:pt x="496472" y="475110"/>
                  </a:moveTo>
                  <a:cubicBezTo>
                    <a:pt x="496472" y="619890"/>
                    <a:pt x="386341" y="677984"/>
                    <a:pt x="255889" y="677984"/>
                  </a:cubicBezTo>
                  <a:cubicBezTo>
                    <a:pt x="162104" y="677984"/>
                    <a:pt x="58094" y="648416"/>
                    <a:pt x="0" y="562773"/>
                  </a:cubicBezTo>
                  <a:lnTo>
                    <a:pt x="89747" y="483251"/>
                  </a:lnTo>
                  <a:cubicBezTo>
                    <a:pt x="131559" y="533205"/>
                    <a:pt x="191672" y="556651"/>
                    <a:pt x="252893" y="556651"/>
                  </a:cubicBezTo>
                  <a:cubicBezTo>
                    <a:pt x="325250" y="556651"/>
                    <a:pt x="367063" y="524022"/>
                    <a:pt x="367063" y="478171"/>
                  </a:cubicBezTo>
                  <a:cubicBezTo>
                    <a:pt x="367063" y="459805"/>
                    <a:pt x="359899" y="441439"/>
                    <a:pt x="329353" y="426199"/>
                  </a:cubicBezTo>
                  <a:cubicBezTo>
                    <a:pt x="306949" y="414997"/>
                    <a:pt x="279400" y="407833"/>
                    <a:pt x="225344" y="394612"/>
                  </a:cubicBezTo>
                  <a:cubicBezTo>
                    <a:pt x="191672" y="386471"/>
                    <a:pt x="122376" y="370124"/>
                    <a:pt x="79522" y="335475"/>
                  </a:cubicBezTo>
                  <a:cubicBezTo>
                    <a:pt x="36732" y="300827"/>
                    <a:pt x="24488" y="250874"/>
                    <a:pt x="24488" y="207042"/>
                  </a:cubicBezTo>
                  <a:cubicBezTo>
                    <a:pt x="24488" y="71445"/>
                    <a:pt x="140742" y="16412"/>
                    <a:pt x="254912" y="16412"/>
                  </a:cubicBezTo>
                  <a:cubicBezTo>
                    <a:pt x="353776" y="16412"/>
                    <a:pt x="425157" y="57182"/>
                    <a:pt x="482274" y="115277"/>
                  </a:cubicBezTo>
                  <a:lnTo>
                    <a:pt x="392528" y="202939"/>
                  </a:lnTo>
                  <a:cubicBezTo>
                    <a:pt x="350715" y="161127"/>
                    <a:pt x="309945" y="137681"/>
                    <a:pt x="246706" y="137681"/>
                  </a:cubicBezTo>
                  <a:cubicBezTo>
                    <a:pt x="192649" y="137681"/>
                    <a:pt x="152921" y="155005"/>
                    <a:pt x="152921" y="199878"/>
                  </a:cubicBezTo>
                  <a:cubicBezTo>
                    <a:pt x="152921" y="219221"/>
                    <a:pt x="160085" y="232508"/>
                    <a:pt x="179428" y="243710"/>
                  </a:cubicBezTo>
                  <a:cubicBezTo>
                    <a:pt x="201832" y="255954"/>
                    <a:pt x="233485" y="265137"/>
                    <a:pt x="282396" y="277381"/>
                  </a:cubicBezTo>
                  <a:cubicBezTo>
                    <a:pt x="340490" y="292686"/>
                    <a:pt x="394547" y="305907"/>
                    <a:pt x="438378" y="341598"/>
                  </a:cubicBezTo>
                  <a:cubicBezTo>
                    <a:pt x="477129" y="373185"/>
                    <a:pt x="496472" y="414997"/>
                    <a:pt x="496472" y="475176"/>
                  </a:cubicBezTo>
                  <a:close/>
                  <a:moveTo>
                    <a:pt x="6100885" y="208996"/>
                  </a:moveTo>
                  <a:lnTo>
                    <a:pt x="6051778" y="329288"/>
                  </a:lnTo>
                  <a:cubicBezTo>
                    <a:pt x="6033413" y="311964"/>
                    <a:pt x="6011985" y="299720"/>
                    <a:pt x="5982482" y="299720"/>
                  </a:cubicBezTo>
                  <a:cubicBezTo>
                    <a:pt x="5925365" y="299720"/>
                    <a:pt x="5911232" y="347654"/>
                    <a:pt x="5911232" y="405749"/>
                  </a:cubicBezTo>
                  <a:lnTo>
                    <a:pt x="5911232" y="667759"/>
                  </a:lnTo>
                  <a:lnTo>
                    <a:pt x="5790940" y="667759"/>
                  </a:lnTo>
                  <a:lnTo>
                    <a:pt x="5790940" y="186527"/>
                  </a:lnTo>
                  <a:lnTo>
                    <a:pt x="5911232" y="186527"/>
                  </a:lnTo>
                  <a:lnTo>
                    <a:pt x="5911232" y="220198"/>
                  </a:lnTo>
                  <a:cubicBezTo>
                    <a:pt x="5938781" y="192649"/>
                    <a:pt x="5973429" y="176367"/>
                    <a:pt x="6012181" y="176367"/>
                  </a:cubicBezTo>
                  <a:cubicBezTo>
                    <a:pt x="6045852" y="176367"/>
                    <a:pt x="6075420" y="186592"/>
                    <a:pt x="6100885" y="208996"/>
                  </a:cubicBezTo>
                  <a:close/>
                </a:path>
              </a:pathLst>
            </a:custGeom>
            <a:solidFill>
              <a:srgbClr val="FFFFFF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796959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7024451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Spectrum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olorful light in the dark&#10;&#10;Description automatically generated">
            <a:extLst>
              <a:ext uri="{FF2B5EF4-FFF2-40B4-BE49-F238E27FC236}">
                <a16:creationId xmlns:a16="http://schemas.microsoft.com/office/drawing/2014/main" id="{76F31E31-25A6-21A9-5DF2-0E1AA48A3DFC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3200" cy="6858000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3450C8DF-4702-5EBD-26CC-DEBD6800743F}"/>
              </a:ext>
            </a:extLst>
          </p:cNvPr>
          <p:cNvGrpSpPr/>
          <p:nvPr userDrawn="1"/>
        </p:nvGrpSpPr>
        <p:grpSpPr>
          <a:xfrm>
            <a:off x="485775" y="6164633"/>
            <a:ext cx="4940935" cy="318770"/>
            <a:chOff x="485775" y="6164633"/>
            <a:chExt cx="4940935" cy="318770"/>
          </a:xfrm>
        </p:grpSpPr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BDF3ED9A-57E4-25C5-BC4E-AC1C77798191}"/>
                </a:ext>
              </a:extLst>
            </p:cNvPr>
            <p:cNvSpPr/>
            <p:nvPr userDrawn="1"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F8AD9B21-63CE-8D03-9802-DB2391C6BC13}"/>
                </a:ext>
              </a:extLst>
            </p:cNvPr>
            <p:cNvSpPr/>
            <p:nvPr userDrawn="1"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8" name="Subtitle 2">
            <a:extLst>
              <a:ext uri="{FF2B5EF4-FFF2-40B4-BE49-F238E27FC236}">
                <a16:creationId xmlns:a16="http://schemas.microsoft.com/office/drawing/2014/main" id="{632E76BF-46D5-8E94-88AA-4783DD302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89762" y="4436485"/>
            <a:ext cx="4907628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tx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edit master subtitle style</a:t>
            </a:r>
            <a:endParaRPr lang="en-US" dirty="0"/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1F7B1FDC-B90E-6693-A750-B9BA4B535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9762" y="2698751"/>
            <a:ext cx="4906009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tx1"/>
                </a:solidFill>
                <a:latin typeface="EYInterstate" panose="02000503020000020004" pitchFamily="2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0" name="Text Placeholder 288">
            <a:extLst>
              <a:ext uri="{FF2B5EF4-FFF2-40B4-BE49-F238E27FC236}">
                <a16:creationId xmlns:a16="http://schemas.microsoft.com/office/drawing/2014/main" id="{1673B89D-F206-B9D2-CDB7-BDE045C744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89762" y="5047485"/>
            <a:ext cx="4906010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  <a:latin typeface="EYInterstate" panose="02000503020000020004" pitchFamily="2" charset="0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51712FD-9300-4754-120C-13FA331421AB}"/>
              </a:ext>
            </a:extLst>
          </p:cNvPr>
          <p:cNvGrpSpPr/>
          <p:nvPr userDrawn="1"/>
        </p:nvGrpSpPr>
        <p:grpSpPr>
          <a:xfrm>
            <a:off x="485774" y="1291008"/>
            <a:ext cx="5706110" cy="4360545"/>
            <a:chOff x="485774" y="1291008"/>
            <a:chExt cx="5706110" cy="4360545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F7E50E80-DFF0-E065-898F-1AFD970459B6}"/>
                </a:ext>
              </a:extLst>
            </p:cNvPr>
            <p:cNvSpPr/>
            <p:nvPr userDrawn="1"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90AAC841-3D56-6842-04D1-F0B7D973D86D}"/>
                </a:ext>
              </a:extLst>
            </p:cNvPr>
            <p:cNvSpPr/>
            <p:nvPr userDrawn="1"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gradFill flip="none" rotWithShape="1">
              <a:gsLst>
                <a:gs pos="39000">
                  <a:srgbClr val="FFE600"/>
                </a:gs>
                <a:gs pos="68000">
                  <a:srgbClr val="FF7D1E"/>
                </a:gs>
                <a:gs pos="100000">
                  <a:srgbClr val="FF32FF"/>
                </a:gs>
              </a:gsLst>
              <a:lin ang="18720000" scaled="0"/>
              <a:tileRect/>
            </a:gradFill>
            <a:ln w="81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187BB8EC-6C8D-276F-2D5F-057B2E2300D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562024" y="5167683"/>
            <a:ext cx="1220400" cy="1285398"/>
            <a:chOff x="3913438" y="-99392"/>
            <a:chExt cx="6512821" cy="6859693"/>
          </a:xfrm>
        </p:grpSpPr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F077F8F2-2AD6-0080-797A-0C80FFAEFEE6}"/>
                </a:ext>
              </a:extLst>
            </p:cNvPr>
            <p:cNvSpPr/>
            <p:nvPr/>
          </p:nvSpPr>
          <p:spPr>
            <a:xfrm>
              <a:off x="5319751" y="-99392"/>
              <a:ext cx="4303606" cy="1570696"/>
            </a:xfrm>
            <a:custGeom>
              <a:avLst/>
              <a:gdLst>
                <a:gd name="connsiteX0" fmla="*/ 4303607 w 4303606"/>
                <a:gd name="connsiteY0" fmla="*/ 0 h 1570696"/>
                <a:gd name="connsiteX1" fmla="*/ 0 w 4303606"/>
                <a:gd name="connsiteY1" fmla="*/ 1570697 h 1570696"/>
                <a:gd name="connsiteX2" fmla="*/ 4303607 w 4303606"/>
                <a:gd name="connsiteY2" fmla="*/ 810521 h 1570696"/>
                <a:gd name="connsiteX3" fmla="*/ 4303607 w 4303606"/>
                <a:gd name="connsiteY3" fmla="*/ 0 h 1570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03606" h="1570696">
                  <a:moveTo>
                    <a:pt x="4303607" y="0"/>
                  </a:moveTo>
                  <a:lnTo>
                    <a:pt x="0" y="1570697"/>
                  </a:lnTo>
                  <a:lnTo>
                    <a:pt x="4303607" y="810521"/>
                  </a:lnTo>
                  <a:lnTo>
                    <a:pt x="4303607" y="0"/>
                  </a:lnTo>
                  <a:close/>
                </a:path>
              </a:pathLst>
            </a:custGeom>
            <a:solidFill>
              <a:srgbClr val="FFE600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7447CE8A-37EB-3F17-0CED-93B3FA7CAE98}"/>
                </a:ext>
              </a:extLst>
            </p:cNvPr>
            <p:cNvSpPr/>
            <p:nvPr/>
          </p:nvSpPr>
          <p:spPr>
            <a:xfrm>
              <a:off x="5357395" y="2124345"/>
              <a:ext cx="3613052" cy="2176910"/>
            </a:xfrm>
            <a:custGeom>
              <a:avLst/>
              <a:gdLst>
                <a:gd name="connsiteX0" fmla="*/ 652845 w 3613052"/>
                <a:gd name="connsiteY0" fmla="*/ 1676205 h 2176910"/>
                <a:gd name="connsiteX1" fmla="*/ 1741463 w 3613052"/>
                <a:gd name="connsiteY1" fmla="*/ 1676205 h 2176910"/>
                <a:gd name="connsiteX2" fmla="*/ 1741463 w 3613052"/>
                <a:gd name="connsiteY2" fmla="*/ 2176910 h 2176910"/>
                <a:gd name="connsiteX3" fmla="*/ 0 w 3613052"/>
                <a:gd name="connsiteY3" fmla="*/ 2176910 h 2176910"/>
                <a:gd name="connsiteX4" fmla="*/ 0 w 3613052"/>
                <a:gd name="connsiteY4" fmla="*/ 0 h 2176910"/>
                <a:gd name="connsiteX5" fmla="*/ 1234766 w 3613052"/>
                <a:gd name="connsiteY5" fmla="*/ 0 h 2176910"/>
                <a:gd name="connsiteX6" fmla="*/ 1523675 w 3613052"/>
                <a:gd name="connsiteY6" fmla="*/ 500706 h 2176910"/>
                <a:gd name="connsiteX7" fmla="*/ 652910 w 3613052"/>
                <a:gd name="connsiteY7" fmla="*/ 500706 h 2176910"/>
                <a:gd name="connsiteX8" fmla="*/ 652910 w 3613052"/>
                <a:gd name="connsiteY8" fmla="*/ 859953 h 2176910"/>
                <a:gd name="connsiteX9" fmla="*/ 1440050 w 3613052"/>
                <a:gd name="connsiteY9" fmla="*/ 859953 h 2176910"/>
                <a:gd name="connsiteX10" fmla="*/ 1440050 w 3613052"/>
                <a:gd name="connsiteY10" fmla="*/ 1317022 h 2176910"/>
                <a:gd name="connsiteX11" fmla="*/ 652910 w 3613052"/>
                <a:gd name="connsiteY11" fmla="*/ 1317022 h 2176910"/>
                <a:gd name="connsiteX12" fmla="*/ 652910 w 3613052"/>
                <a:gd name="connsiteY12" fmla="*/ 1676205 h 2176910"/>
                <a:gd name="connsiteX13" fmla="*/ 2900485 w 3613052"/>
                <a:gd name="connsiteY13" fmla="*/ 0 h 2176910"/>
                <a:gd name="connsiteX14" fmla="*/ 2530687 w 3613052"/>
                <a:gd name="connsiteY14" fmla="*/ 710418 h 2176910"/>
                <a:gd name="connsiteX15" fmla="*/ 2161801 w 3613052"/>
                <a:gd name="connsiteY15" fmla="*/ 0 h 2176910"/>
                <a:gd name="connsiteX16" fmla="*/ 1439985 w 3613052"/>
                <a:gd name="connsiteY16" fmla="*/ 0 h 2176910"/>
                <a:gd name="connsiteX17" fmla="*/ 2200552 w 3613052"/>
                <a:gd name="connsiteY17" fmla="*/ 1317022 h 2176910"/>
                <a:gd name="connsiteX18" fmla="*/ 2200552 w 3613052"/>
                <a:gd name="connsiteY18" fmla="*/ 2176910 h 2176910"/>
                <a:gd name="connsiteX19" fmla="*/ 2851443 w 3613052"/>
                <a:gd name="connsiteY19" fmla="*/ 2176910 h 2176910"/>
                <a:gd name="connsiteX20" fmla="*/ 2851443 w 3613052"/>
                <a:gd name="connsiteY20" fmla="*/ 1317022 h 2176910"/>
                <a:gd name="connsiteX21" fmla="*/ 3613053 w 3613052"/>
                <a:gd name="connsiteY21" fmla="*/ 0 h 2176910"/>
                <a:gd name="connsiteX22" fmla="*/ 2900485 w 3613052"/>
                <a:gd name="connsiteY22" fmla="*/ 0 h 2176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613052" h="2176910">
                  <a:moveTo>
                    <a:pt x="652845" y="1676205"/>
                  </a:moveTo>
                  <a:lnTo>
                    <a:pt x="1741463" y="1676205"/>
                  </a:lnTo>
                  <a:lnTo>
                    <a:pt x="1741463" y="2176910"/>
                  </a:lnTo>
                  <a:lnTo>
                    <a:pt x="0" y="2176910"/>
                  </a:lnTo>
                  <a:lnTo>
                    <a:pt x="0" y="0"/>
                  </a:lnTo>
                  <a:lnTo>
                    <a:pt x="1234766" y="0"/>
                  </a:lnTo>
                  <a:lnTo>
                    <a:pt x="1523675" y="500706"/>
                  </a:lnTo>
                  <a:lnTo>
                    <a:pt x="652910" y="500706"/>
                  </a:lnTo>
                  <a:lnTo>
                    <a:pt x="652910" y="859953"/>
                  </a:lnTo>
                  <a:lnTo>
                    <a:pt x="1440050" y="859953"/>
                  </a:lnTo>
                  <a:lnTo>
                    <a:pt x="1440050" y="1317022"/>
                  </a:lnTo>
                  <a:lnTo>
                    <a:pt x="652910" y="1317022"/>
                  </a:lnTo>
                  <a:lnTo>
                    <a:pt x="652910" y="1676205"/>
                  </a:lnTo>
                  <a:close/>
                  <a:moveTo>
                    <a:pt x="2900485" y="0"/>
                  </a:moveTo>
                  <a:lnTo>
                    <a:pt x="2530687" y="710418"/>
                  </a:lnTo>
                  <a:lnTo>
                    <a:pt x="2161801" y="0"/>
                  </a:lnTo>
                  <a:lnTo>
                    <a:pt x="1439985" y="0"/>
                  </a:lnTo>
                  <a:lnTo>
                    <a:pt x="2200552" y="1317022"/>
                  </a:lnTo>
                  <a:lnTo>
                    <a:pt x="2200552" y="2176910"/>
                  </a:lnTo>
                  <a:lnTo>
                    <a:pt x="2851443" y="2176910"/>
                  </a:lnTo>
                  <a:lnTo>
                    <a:pt x="2851443" y="1317022"/>
                  </a:lnTo>
                  <a:lnTo>
                    <a:pt x="3613053" y="0"/>
                  </a:lnTo>
                  <a:lnTo>
                    <a:pt x="2900485" y="0"/>
                  </a:lnTo>
                  <a:close/>
                </a:path>
              </a:pathLst>
            </a:custGeom>
            <a:solidFill>
              <a:srgbClr val="FFFFFF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9A25292E-E104-D48F-8B82-AED824EB6509}"/>
                </a:ext>
              </a:extLst>
            </p:cNvPr>
            <p:cNvSpPr/>
            <p:nvPr/>
          </p:nvSpPr>
          <p:spPr>
            <a:xfrm>
              <a:off x="3913438" y="5111711"/>
              <a:ext cx="6512821" cy="1648590"/>
            </a:xfrm>
            <a:custGeom>
              <a:avLst/>
              <a:gdLst>
                <a:gd name="connsiteX0" fmla="*/ 5071143 w 6512821"/>
                <a:gd name="connsiteY0" fmla="*/ 1396740 h 1648590"/>
                <a:gd name="connsiteX1" fmla="*/ 5069124 w 6512821"/>
                <a:gd name="connsiteY1" fmla="*/ 1438552 h 1648590"/>
                <a:gd name="connsiteX2" fmla="*/ 4777545 w 6512821"/>
                <a:gd name="connsiteY2" fmla="*/ 1438552 h 1648590"/>
                <a:gd name="connsiteX3" fmla="*/ 4880513 w 6512821"/>
                <a:gd name="connsiteY3" fmla="*/ 1533378 h 1648590"/>
                <a:gd name="connsiteX4" fmla="*/ 4964137 w 6512821"/>
                <a:gd name="connsiteY4" fmla="*/ 1499707 h 1648590"/>
                <a:gd name="connsiteX5" fmla="*/ 5049781 w 6512821"/>
                <a:gd name="connsiteY5" fmla="*/ 1572065 h 1648590"/>
                <a:gd name="connsiteX6" fmla="*/ 4875433 w 6512821"/>
                <a:gd name="connsiteY6" fmla="*/ 1648525 h 1648590"/>
                <a:gd name="connsiteX7" fmla="*/ 4654192 w 6512821"/>
                <a:gd name="connsiteY7" fmla="*/ 1398759 h 1648590"/>
                <a:gd name="connsiteX8" fmla="*/ 4867292 w 6512821"/>
                <a:gd name="connsiteY8" fmla="*/ 1146908 h 1648590"/>
                <a:gd name="connsiteX9" fmla="*/ 5071208 w 6512821"/>
                <a:gd name="connsiteY9" fmla="*/ 1396675 h 1648590"/>
                <a:gd name="connsiteX10" fmla="*/ 4779564 w 6512821"/>
                <a:gd name="connsiteY10" fmla="*/ 1344767 h 1648590"/>
                <a:gd name="connsiteX11" fmla="*/ 4950851 w 6512821"/>
                <a:gd name="connsiteY11" fmla="*/ 1344767 h 1648590"/>
                <a:gd name="connsiteX12" fmla="*/ 4863189 w 6512821"/>
                <a:gd name="connsiteY12" fmla="*/ 1254044 h 1648590"/>
                <a:gd name="connsiteX13" fmla="*/ 4779564 w 6512821"/>
                <a:gd name="connsiteY13" fmla="*/ 1344767 h 1648590"/>
                <a:gd name="connsiteX14" fmla="*/ 6512756 w 6512821"/>
                <a:gd name="connsiteY14" fmla="*/ 1396740 h 1648590"/>
                <a:gd name="connsiteX15" fmla="*/ 6510737 w 6512821"/>
                <a:gd name="connsiteY15" fmla="*/ 1438552 h 1648590"/>
                <a:gd name="connsiteX16" fmla="*/ 6219158 w 6512821"/>
                <a:gd name="connsiteY16" fmla="*/ 1438552 h 1648590"/>
                <a:gd name="connsiteX17" fmla="*/ 6322126 w 6512821"/>
                <a:gd name="connsiteY17" fmla="*/ 1533378 h 1648590"/>
                <a:gd name="connsiteX18" fmla="*/ 6405751 w 6512821"/>
                <a:gd name="connsiteY18" fmla="*/ 1499707 h 1648590"/>
                <a:gd name="connsiteX19" fmla="*/ 6491394 w 6512821"/>
                <a:gd name="connsiteY19" fmla="*/ 1572065 h 1648590"/>
                <a:gd name="connsiteX20" fmla="*/ 6317046 w 6512821"/>
                <a:gd name="connsiteY20" fmla="*/ 1648525 h 1648590"/>
                <a:gd name="connsiteX21" fmla="*/ 6095805 w 6512821"/>
                <a:gd name="connsiteY21" fmla="*/ 1398759 h 1648590"/>
                <a:gd name="connsiteX22" fmla="*/ 6308905 w 6512821"/>
                <a:gd name="connsiteY22" fmla="*/ 1146908 h 1648590"/>
                <a:gd name="connsiteX23" fmla="*/ 6512821 w 6512821"/>
                <a:gd name="connsiteY23" fmla="*/ 1396675 h 1648590"/>
                <a:gd name="connsiteX24" fmla="*/ 6221177 w 6512821"/>
                <a:gd name="connsiteY24" fmla="*/ 1344767 h 1648590"/>
                <a:gd name="connsiteX25" fmla="*/ 6392465 w 6512821"/>
                <a:gd name="connsiteY25" fmla="*/ 1344767 h 1648590"/>
                <a:gd name="connsiteX26" fmla="*/ 6304802 w 6512821"/>
                <a:gd name="connsiteY26" fmla="*/ 1254044 h 1648590"/>
                <a:gd name="connsiteX27" fmla="*/ 6221177 w 6512821"/>
                <a:gd name="connsiteY27" fmla="*/ 1344767 h 1648590"/>
                <a:gd name="connsiteX28" fmla="*/ 5978509 w 6512821"/>
                <a:gd name="connsiteY28" fmla="*/ 1467143 h 1648590"/>
                <a:gd name="connsiteX29" fmla="*/ 6058031 w 6512821"/>
                <a:gd name="connsiteY29" fmla="*/ 1542561 h 1648590"/>
                <a:gd name="connsiteX30" fmla="*/ 5866359 w 6512821"/>
                <a:gd name="connsiteY30" fmla="*/ 1648590 h 1648590"/>
                <a:gd name="connsiteX31" fmla="*/ 5637954 w 6512821"/>
                <a:gd name="connsiteY31" fmla="*/ 1398823 h 1648590"/>
                <a:gd name="connsiteX32" fmla="*/ 5868378 w 6512821"/>
                <a:gd name="connsiteY32" fmla="*/ 1146973 h 1648590"/>
                <a:gd name="connsiteX33" fmla="*/ 6056989 w 6512821"/>
                <a:gd name="connsiteY33" fmla="*/ 1250983 h 1648590"/>
                <a:gd name="connsiteX34" fmla="*/ 5975448 w 6512821"/>
                <a:gd name="connsiteY34" fmla="*/ 1333565 h 1648590"/>
                <a:gd name="connsiteX35" fmla="*/ 5867401 w 6512821"/>
                <a:gd name="connsiteY35" fmla="*/ 1266288 h 1648590"/>
                <a:gd name="connsiteX36" fmla="*/ 5766452 w 6512821"/>
                <a:gd name="connsiteY36" fmla="*/ 1396804 h 1648590"/>
                <a:gd name="connsiteX37" fmla="*/ 5868378 w 6512821"/>
                <a:gd name="connsiteY37" fmla="*/ 1528299 h 1648590"/>
                <a:gd name="connsiteX38" fmla="*/ 5978509 w 6512821"/>
                <a:gd name="connsiteY38" fmla="*/ 1467143 h 1648590"/>
                <a:gd name="connsiteX39" fmla="*/ 4869246 w 6512821"/>
                <a:gd name="connsiteY39" fmla="*/ 667825 h 1648590"/>
                <a:gd name="connsiteX40" fmla="*/ 4750973 w 6512821"/>
                <a:gd name="connsiteY40" fmla="*/ 667825 h 1648590"/>
                <a:gd name="connsiteX41" fmla="*/ 4750973 w 6512821"/>
                <a:gd name="connsiteY41" fmla="*/ 634153 h 1648590"/>
                <a:gd name="connsiteX42" fmla="*/ 4638822 w 6512821"/>
                <a:gd name="connsiteY42" fmla="*/ 677984 h 1648590"/>
                <a:gd name="connsiteX43" fmla="*/ 4467535 w 6512821"/>
                <a:gd name="connsiteY43" fmla="*/ 458763 h 1648590"/>
                <a:gd name="connsiteX44" fmla="*/ 4467535 w 6512821"/>
                <a:gd name="connsiteY44" fmla="*/ 186527 h 1648590"/>
                <a:gd name="connsiteX45" fmla="*/ 4587827 w 6512821"/>
                <a:gd name="connsiteY45" fmla="*/ 186527 h 1648590"/>
                <a:gd name="connsiteX46" fmla="*/ 4587827 w 6512821"/>
                <a:gd name="connsiteY46" fmla="*/ 448538 h 1648590"/>
                <a:gd name="connsiteX47" fmla="*/ 4668390 w 6512821"/>
                <a:gd name="connsiteY47" fmla="*/ 562708 h 1648590"/>
                <a:gd name="connsiteX48" fmla="*/ 4748954 w 6512821"/>
                <a:gd name="connsiteY48" fmla="*/ 452576 h 1648590"/>
                <a:gd name="connsiteX49" fmla="*/ 4748954 w 6512821"/>
                <a:gd name="connsiteY49" fmla="*/ 186462 h 1648590"/>
                <a:gd name="connsiteX50" fmla="*/ 4869246 w 6512821"/>
                <a:gd name="connsiteY50" fmla="*/ 186462 h 1648590"/>
                <a:gd name="connsiteX51" fmla="*/ 4869246 w 6512821"/>
                <a:gd name="connsiteY51" fmla="*/ 667695 h 1648590"/>
                <a:gd name="connsiteX52" fmla="*/ 5244449 w 6512821"/>
                <a:gd name="connsiteY52" fmla="*/ 527083 h 1648590"/>
                <a:gd name="connsiteX53" fmla="*/ 5227125 w 6512821"/>
                <a:gd name="connsiteY53" fmla="*/ 649458 h 1648590"/>
                <a:gd name="connsiteX54" fmla="*/ 5128261 w 6512821"/>
                <a:gd name="connsiteY54" fmla="*/ 677984 h 1648590"/>
                <a:gd name="connsiteX55" fmla="*/ 4997744 w 6512821"/>
                <a:gd name="connsiteY55" fmla="*/ 535224 h 1648590"/>
                <a:gd name="connsiteX56" fmla="*/ 4997744 w 6512821"/>
                <a:gd name="connsiteY56" fmla="*/ 301739 h 1648590"/>
                <a:gd name="connsiteX57" fmla="*/ 4928447 w 6512821"/>
                <a:gd name="connsiteY57" fmla="*/ 301739 h 1648590"/>
                <a:gd name="connsiteX58" fmla="*/ 4928447 w 6512821"/>
                <a:gd name="connsiteY58" fmla="*/ 186527 h 1648590"/>
                <a:gd name="connsiteX59" fmla="*/ 4997744 w 6512821"/>
                <a:gd name="connsiteY59" fmla="*/ 186527 h 1648590"/>
                <a:gd name="connsiteX60" fmla="*/ 4997744 w 6512821"/>
                <a:gd name="connsiteY60" fmla="*/ 61155 h 1648590"/>
                <a:gd name="connsiteX61" fmla="*/ 5118035 w 6512821"/>
                <a:gd name="connsiteY61" fmla="*/ 0 h 1648590"/>
                <a:gd name="connsiteX62" fmla="*/ 5118035 w 6512821"/>
                <a:gd name="connsiteY62" fmla="*/ 186592 h 1648590"/>
                <a:gd name="connsiteX63" fmla="*/ 5232205 w 6512821"/>
                <a:gd name="connsiteY63" fmla="*/ 186592 h 1648590"/>
                <a:gd name="connsiteX64" fmla="*/ 5232205 w 6512821"/>
                <a:gd name="connsiteY64" fmla="*/ 301804 h 1648590"/>
                <a:gd name="connsiteX65" fmla="*/ 5118035 w 6512821"/>
                <a:gd name="connsiteY65" fmla="*/ 301804 h 1648590"/>
                <a:gd name="connsiteX66" fmla="*/ 5118035 w 6512821"/>
                <a:gd name="connsiteY66" fmla="*/ 503701 h 1648590"/>
                <a:gd name="connsiteX67" fmla="*/ 5164928 w 6512821"/>
                <a:gd name="connsiteY67" fmla="*/ 560819 h 1648590"/>
                <a:gd name="connsiteX68" fmla="*/ 5244449 w 6512821"/>
                <a:gd name="connsiteY68" fmla="*/ 527148 h 1648590"/>
                <a:gd name="connsiteX69" fmla="*/ 3417407 w 6512821"/>
                <a:gd name="connsiteY69" fmla="*/ 667825 h 1648590"/>
                <a:gd name="connsiteX70" fmla="*/ 3297116 w 6512821"/>
                <a:gd name="connsiteY70" fmla="*/ 667825 h 1648590"/>
                <a:gd name="connsiteX71" fmla="*/ 3297116 w 6512821"/>
                <a:gd name="connsiteY71" fmla="*/ 405814 h 1648590"/>
                <a:gd name="connsiteX72" fmla="*/ 3215575 w 6512821"/>
                <a:gd name="connsiteY72" fmla="*/ 292621 h 1648590"/>
                <a:gd name="connsiteX73" fmla="*/ 3132993 w 6512821"/>
                <a:gd name="connsiteY73" fmla="*/ 402753 h 1648590"/>
                <a:gd name="connsiteX74" fmla="*/ 3132993 w 6512821"/>
                <a:gd name="connsiteY74" fmla="*/ 667825 h 1648590"/>
                <a:gd name="connsiteX75" fmla="*/ 3012701 w 6512821"/>
                <a:gd name="connsiteY75" fmla="*/ 667825 h 1648590"/>
                <a:gd name="connsiteX76" fmla="*/ 3012701 w 6512821"/>
                <a:gd name="connsiteY76" fmla="*/ 61221 h 1648590"/>
                <a:gd name="connsiteX77" fmla="*/ 3132993 w 6512821"/>
                <a:gd name="connsiteY77" fmla="*/ 65 h 1648590"/>
                <a:gd name="connsiteX78" fmla="*/ 3132993 w 6512821"/>
                <a:gd name="connsiteY78" fmla="*/ 220264 h 1648590"/>
                <a:gd name="connsiteX79" fmla="*/ 3246186 w 6512821"/>
                <a:gd name="connsiteY79" fmla="*/ 176432 h 1648590"/>
                <a:gd name="connsiteX80" fmla="*/ 3417473 w 6512821"/>
                <a:gd name="connsiteY80" fmla="*/ 396631 h 1648590"/>
                <a:gd name="connsiteX81" fmla="*/ 3417473 w 6512821"/>
                <a:gd name="connsiteY81" fmla="*/ 667825 h 1648590"/>
                <a:gd name="connsiteX82" fmla="*/ 5564554 w 6512821"/>
                <a:gd name="connsiteY82" fmla="*/ 1638365 h 1648590"/>
                <a:gd name="connsiteX83" fmla="*/ 5440160 w 6512821"/>
                <a:gd name="connsiteY83" fmla="*/ 1638365 h 1648590"/>
                <a:gd name="connsiteX84" fmla="*/ 5440160 w 6512821"/>
                <a:gd name="connsiteY84" fmla="*/ 1376355 h 1648590"/>
                <a:gd name="connsiteX85" fmla="*/ 5357577 w 6512821"/>
                <a:gd name="connsiteY85" fmla="*/ 1264204 h 1648590"/>
                <a:gd name="connsiteX86" fmla="*/ 5273952 w 6512821"/>
                <a:gd name="connsiteY86" fmla="*/ 1373293 h 1648590"/>
                <a:gd name="connsiteX87" fmla="*/ 5273952 w 6512821"/>
                <a:gd name="connsiteY87" fmla="*/ 1638365 h 1648590"/>
                <a:gd name="connsiteX88" fmla="*/ 5149558 w 6512821"/>
                <a:gd name="connsiteY88" fmla="*/ 1638365 h 1648590"/>
                <a:gd name="connsiteX89" fmla="*/ 5149558 w 6512821"/>
                <a:gd name="connsiteY89" fmla="*/ 1157133 h 1648590"/>
                <a:gd name="connsiteX90" fmla="*/ 5273952 w 6512821"/>
                <a:gd name="connsiteY90" fmla="*/ 1157133 h 1648590"/>
                <a:gd name="connsiteX91" fmla="*/ 5273952 w 6512821"/>
                <a:gd name="connsiteY91" fmla="*/ 1189762 h 1648590"/>
                <a:gd name="connsiteX92" fmla="*/ 5391183 w 6512821"/>
                <a:gd name="connsiteY92" fmla="*/ 1146973 h 1648590"/>
                <a:gd name="connsiteX93" fmla="*/ 5564490 w 6512821"/>
                <a:gd name="connsiteY93" fmla="*/ 1366195 h 1648590"/>
                <a:gd name="connsiteX94" fmla="*/ 5564490 w 6512821"/>
                <a:gd name="connsiteY94" fmla="*/ 1638430 h 1648590"/>
                <a:gd name="connsiteX95" fmla="*/ 4008772 w 6512821"/>
                <a:gd name="connsiteY95" fmla="*/ 1115386 h 1648590"/>
                <a:gd name="connsiteX96" fmla="*/ 4080152 w 6512821"/>
                <a:gd name="connsiteY96" fmla="*/ 1044005 h 1648590"/>
                <a:gd name="connsiteX97" fmla="*/ 4008772 w 6512821"/>
                <a:gd name="connsiteY97" fmla="*/ 972624 h 1648590"/>
                <a:gd name="connsiteX98" fmla="*/ 3937391 w 6512821"/>
                <a:gd name="connsiteY98" fmla="*/ 1044005 h 1648590"/>
                <a:gd name="connsiteX99" fmla="*/ 4008772 w 6512821"/>
                <a:gd name="connsiteY99" fmla="*/ 1115386 h 1648590"/>
                <a:gd name="connsiteX100" fmla="*/ 829864 w 6512821"/>
                <a:gd name="connsiteY100" fmla="*/ 1115386 h 1648590"/>
                <a:gd name="connsiteX101" fmla="*/ 901244 w 6512821"/>
                <a:gd name="connsiteY101" fmla="*/ 1044005 h 1648590"/>
                <a:gd name="connsiteX102" fmla="*/ 829864 w 6512821"/>
                <a:gd name="connsiteY102" fmla="*/ 972624 h 1648590"/>
                <a:gd name="connsiteX103" fmla="*/ 758483 w 6512821"/>
                <a:gd name="connsiteY103" fmla="*/ 1044005 h 1648590"/>
                <a:gd name="connsiteX104" fmla="*/ 829864 w 6512821"/>
                <a:gd name="connsiteY104" fmla="*/ 1115386 h 1648590"/>
                <a:gd name="connsiteX105" fmla="*/ 6512756 w 6512821"/>
                <a:gd name="connsiteY105" fmla="*/ 426134 h 1648590"/>
                <a:gd name="connsiteX106" fmla="*/ 6510737 w 6512821"/>
                <a:gd name="connsiteY106" fmla="*/ 467946 h 1648590"/>
                <a:gd name="connsiteX107" fmla="*/ 6219158 w 6512821"/>
                <a:gd name="connsiteY107" fmla="*/ 467946 h 1648590"/>
                <a:gd name="connsiteX108" fmla="*/ 6322126 w 6512821"/>
                <a:gd name="connsiteY108" fmla="*/ 562773 h 1648590"/>
                <a:gd name="connsiteX109" fmla="*/ 6405751 w 6512821"/>
                <a:gd name="connsiteY109" fmla="*/ 529102 h 1648590"/>
                <a:gd name="connsiteX110" fmla="*/ 6491394 w 6512821"/>
                <a:gd name="connsiteY110" fmla="*/ 601459 h 1648590"/>
                <a:gd name="connsiteX111" fmla="*/ 6317046 w 6512821"/>
                <a:gd name="connsiteY111" fmla="*/ 677919 h 1648590"/>
                <a:gd name="connsiteX112" fmla="*/ 6095805 w 6512821"/>
                <a:gd name="connsiteY112" fmla="*/ 428153 h 1648590"/>
                <a:gd name="connsiteX113" fmla="*/ 6308905 w 6512821"/>
                <a:gd name="connsiteY113" fmla="*/ 176302 h 1648590"/>
                <a:gd name="connsiteX114" fmla="*/ 6512821 w 6512821"/>
                <a:gd name="connsiteY114" fmla="*/ 426069 h 1648590"/>
                <a:gd name="connsiteX115" fmla="*/ 6221177 w 6512821"/>
                <a:gd name="connsiteY115" fmla="*/ 374162 h 1648590"/>
                <a:gd name="connsiteX116" fmla="*/ 6392465 w 6512821"/>
                <a:gd name="connsiteY116" fmla="*/ 374162 h 1648590"/>
                <a:gd name="connsiteX117" fmla="*/ 6304802 w 6512821"/>
                <a:gd name="connsiteY117" fmla="*/ 283438 h 1648590"/>
                <a:gd name="connsiteX118" fmla="*/ 6221177 w 6512821"/>
                <a:gd name="connsiteY118" fmla="*/ 374162 h 1648590"/>
                <a:gd name="connsiteX119" fmla="*/ 5702235 w 6512821"/>
                <a:gd name="connsiteY119" fmla="*/ 667825 h 1648590"/>
                <a:gd name="connsiteX120" fmla="*/ 5583963 w 6512821"/>
                <a:gd name="connsiteY120" fmla="*/ 667825 h 1648590"/>
                <a:gd name="connsiteX121" fmla="*/ 5583963 w 6512821"/>
                <a:gd name="connsiteY121" fmla="*/ 634153 h 1648590"/>
                <a:gd name="connsiteX122" fmla="*/ 5471812 w 6512821"/>
                <a:gd name="connsiteY122" fmla="*/ 677984 h 1648590"/>
                <a:gd name="connsiteX123" fmla="*/ 5300525 w 6512821"/>
                <a:gd name="connsiteY123" fmla="*/ 458763 h 1648590"/>
                <a:gd name="connsiteX124" fmla="*/ 5300525 w 6512821"/>
                <a:gd name="connsiteY124" fmla="*/ 186527 h 1648590"/>
                <a:gd name="connsiteX125" fmla="*/ 5420817 w 6512821"/>
                <a:gd name="connsiteY125" fmla="*/ 186527 h 1648590"/>
                <a:gd name="connsiteX126" fmla="*/ 5420817 w 6512821"/>
                <a:gd name="connsiteY126" fmla="*/ 448538 h 1648590"/>
                <a:gd name="connsiteX127" fmla="*/ 5501380 w 6512821"/>
                <a:gd name="connsiteY127" fmla="*/ 562708 h 1648590"/>
                <a:gd name="connsiteX128" fmla="*/ 5581944 w 6512821"/>
                <a:gd name="connsiteY128" fmla="*/ 452576 h 1648590"/>
                <a:gd name="connsiteX129" fmla="*/ 5581944 w 6512821"/>
                <a:gd name="connsiteY129" fmla="*/ 186462 h 1648590"/>
                <a:gd name="connsiteX130" fmla="*/ 5702235 w 6512821"/>
                <a:gd name="connsiteY130" fmla="*/ 186462 h 1648590"/>
                <a:gd name="connsiteX131" fmla="*/ 5702235 w 6512821"/>
                <a:gd name="connsiteY131" fmla="*/ 667695 h 1648590"/>
                <a:gd name="connsiteX132" fmla="*/ 3895579 w 6512821"/>
                <a:gd name="connsiteY132" fmla="*/ 426134 h 1648590"/>
                <a:gd name="connsiteX133" fmla="*/ 3893560 w 6512821"/>
                <a:gd name="connsiteY133" fmla="*/ 467946 h 1648590"/>
                <a:gd name="connsiteX134" fmla="*/ 3601981 w 6512821"/>
                <a:gd name="connsiteY134" fmla="*/ 467946 h 1648590"/>
                <a:gd name="connsiteX135" fmla="*/ 3704949 w 6512821"/>
                <a:gd name="connsiteY135" fmla="*/ 562773 h 1648590"/>
                <a:gd name="connsiteX136" fmla="*/ 3788573 w 6512821"/>
                <a:gd name="connsiteY136" fmla="*/ 529102 h 1648590"/>
                <a:gd name="connsiteX137" fmla="*/ 3874217 w 6512821"/>
                <a:gd name="connsiteY137" fmla="*/ 601459 h 1648590"/>
                <a:gd name="connsiteX138" fmla="*/ 3699868 w 6512821"/>
                <a:gd name="connsiteY138" fmla="*/ 677919 h 1648590"/>
                <a:gd name="connsiteX139" fmla="*/ 3478628 w 6512821"/>
                <a:gd name="connsiteY139" fmla="*/ 428153 h 1648590"/>
                <a:gd name="connsiteX140" fmla="*/ 3691727 w 6512821"/>
                <a:gd name="connsiteY140" fmla="*/ 176302 h 1648590"/>
                <a:gd name="connsiteX141" fmla="*/ 3895644 w 6512821"/>
                <a:gd name="connsiteY141" fmla="*/ 426069 h 1648590"/>
                <a:gd name="connsiteX142" fmla="*/ 3604000 w 6512821"/>
                <a:gd name="connsiteY142" fmla="*/ 374162 h 1648590"/>
                <a:gd name="connsiteX143" fmla="*/ 3775287 w 6512821"/>
                <a:gd name="connsiteY143" fmla="*/ 374162 h 1648590"/>
                <a:gd name="connsiteX144" fmla="*/ 3687624 w 6512821"/>
                <a:gd name="connsiteY144" fmla="*/ 283438 h 1648590"/>
                <a:gd name="connsiteX145" fmla="*/ 3604000 w 6512821"/>
                <a:gd name="connsiteY145" fmla="*/ 374162 h 1648590"/>
                <a:gd name="connsiteX146" fmla="*/ 4579686 w 6512821"/>
                <a:gd name="connsiteY146" fmla="*/ 1638365 h 1648590"/>
                <a:gd name="connsiteX147" fmla="*/ 4455291 w 6512821"/>
                <a:gd name="connsiteY147" fmla="*/ 1638365 h 1648590"/>
                <a:gd name="connsiteX148" fmla="*/ 4455291 w 6512821"/>
                <a:gd name="connsiteY148" fmla="*/ 1606778 h 1648590"/>
                <a:gd name="connsiteX149" fmla="*/ 4346201 w 6512821"/>
                <a:gd name="connsiteY149" fmla="*/ 1648590 h 1648590"/>
                <a:gd name="connsiteX150" fmla="*/ 4148406 w 6512821"/>
                <a:gd name="connsiteY150" fmla="*/ 1393678 h 1648590"/>
                <a:gd name="connsiteX151" fmla="*/ 4343140 w 6512821"/>
                <a:gd name="connsiteY151" fmla="*/ 1146973 h 1648590"/>
                <a:gd name="connsiteX152" fmla="*/ 4455291 w 6512821"/>
                <a:gd name="connsiteY152" fmla="*/ 1185724 h 1648590"/>
                <a:gd name="connsiteX153" fmla="*/ 4455291 w 6512821"/>
                <a:gd name="connsiteY153" fmla="*/ 1031761 h 1648590"/>
                <a:gd name="connsiteX154" fmla="*/ 4579686 w 6512821"/>
                <a:gd name="connsiteY154" fmla="*/ 969564 h 1648590"/>
                <a:gd name="connsiteX155" fmla="*/ 4579686 w 6512821"/>
                <a:gd name="connsiteY155" fmla="*/ 1638365 h 1648590"/>
                <a:gd name="connsiteX156" fmla="*/ 4455356 w 6512821"/>
                <a:gd name="connsiteY156" fmla="*/ 1489547 h 1648590"/>
                <a:gd name="connsiteX157" fmla="*/ 4455356 w 6512821"/>
                <a:gd name="connsiteY157" fmla="*/ 1306016 h 1648590"/>
                <a:gd name="connsiteX158" fmla="*/ 4368670 w 6512821"/>
                <a:gd name="connsiteY158" fmla="*/ 1264204 h 1648590"/>
                <a:gd name="connsiteX159" fmla="*/ 4278924 w 6512821"/>
                <a:gd name="connsiteY159" fmla="*/ 1389575 h 1648590"/>
                <a:gd name="connsiteX160" fmla="*/ 4371731 w 6512821"/>
                <a:gd name="connsiteY160" fmla="*/ 1531294 h 1648590"/>
                <a:gd name="connsiteX161" fmla="*/ 4455356 w 6512821"/>
                <a:gd name="connsiteY161" fmla="*/ 1489482 h 1648590"/>
                <a:gd name="connsiteX162" fmla="*/ 3945532 w 6512821"/>
                <a:gd name="connsiteY162" fmla="*/ 1157198 h 1648590"/>
                <a:gd name="connsiteX163" fmla="*/ 3945532 w 6512821"/>
                <a:gd name="connsiteY163" fmla="*/ 1638430 h 1648590"/>
                <a:gd name="connsiteX164" fmla="*/ 4069927 w 6512821"/>
                <a:gd name="connsiteY164" fmla="*/ 1638430 h 1648590"/>
                <a:gd name="connsiteX165" fmla="*/ 4069927 w 6512821"/>
                <a:gd name="connsiteY165" fmla="*/ 1157198 h 1648590"/>
                <a:gd name="connsiteX166" fmla="*/ 3945532 w 6512821"/>
                <a:gd name="connsiteY166" fmla="*/ 1157198 h 1648590"/>
                <a:gd name="connsiteX167" fmla="*/ 3873175 w 6512821"/>
                <a:gd name="connsiteY167" fmla="*/ 985911 h 1648590"/>
                <a:gd name="connsiteX168" fmla="*/ 3873175 w 6512821"/>
                <a:gd name="connsiteY168" fmla="*/ 1085817 h 1648590"/>
                <a:gd name="connsiteX169" fmla="*/ 3812019 w 6512821"/>
                <a:gd name="connsiteY169" fmla="*/ 1076634 h 1648590"/>
                <a:gd name="connsiteX170" fmla="*/ 3760047 w 6512821"/>
                <a:gd name="connsiteY170" fmla="*/ 1118447 h 1648590"/>
                <a:gd name="connsiteX171" fmla="*/ 3760047 w 6512821"/>
                <a:gd name="connsiteY171" fmla="*/ 1157198 h 1648590"/>
                <a:gd name="connsiteX172" fmla="*/ 3863015 w 6512821"/>
                <a:gd name="connsiteY172" fmla="*/ 1157198 h 1648590"/>
                <a:gd name="connsiteX173" fmla="*/ 3863015 w 6512821"/>
                <a:gd name="connsiteY173" fmla="*/ 1273452 h 1648590"/>
                <a:gd name="connsiteX174" fmla="*/ 3760047 w 6512821"/>
                <a:gd name="connsiteY174" fmla="*/ 1273452 h 1648590"/>
                <a:gd name="connsiteX175" fmla="*/ 3760047 w 6512821"/>
                <a:gd name="connsiteY175" fmla="*/ 1638430 h 1648590"/>
                <a:gd name="connsiteX176" fmla="*/ 3635652 w 6512821"/>
                <a:gd name="connsiteY176" fmla="*/ 1638430 h 1648590"/>
                <a:gd name="connsiteX177" fmla="*/ 3635652 w 6512821"/>
                <a:gd name="connsiteY177" fmla="*/ 1273452 h 1648590"/>
                <a:gd name="connsiteX178" fmla="*/ 3568375 w 6512821"/>
                <a:gd name="connsiteY178" fmla="*/ 1273452 h 1648590"/>
                <a:gd name="connsiteX179" fmla="*/ 3568375 w 6512821"/>
                <a:gd name="connsiteY179" fmla="*/ 1157198 h 1648590"/>
                <a:gd name="connsiteX180" fmla="*/ 3635652 w 6512821"/>
                <a:gd name="connsiteY180" fmla="*/ 1157198 h 1648590"/>
                <a:gd name="connsiteX181" fmla="*/ 3635652 w 6512821"/>
                <a:gd name="connsiteY181" fmla="*/ 1099104 h 1648590"/>
                <a:gd name="connsiteX182" fmla="*/ 3782451 w 6512821"/>
                <a:gd name="connsiteY182" fmla="*/ 972690 h 1648590"/>
                <a:gd name="connsiteX183" fmla="*/ 3873175 w 6512821"/>
                <a:gd name="connsiteY183" fmla="*/ 985976 h 1648590"/>
                <a:gd name="connsiteX184" fmla="*/ 3507154 w 6512821"/>
                <a:gd name="connsiteY184" fmla="*/ 1638365 h 1648590"/>
                <a:gd name="connsiteX185" fmla="*/ 3382759 w 6512821"/>
                <a:gd name="connsiteY185" fmla="*/ 1638365 h 1648590"/>
                <a:gd name="connsiteX186" fmla="*/ 3382759 w 6512821"/>
                <a:gd name="connsiteY186" fmla="*/ 1376355 h 1648590"/>
                <a:gd name="connsiteX187" fmla="*/ 3300177 w 6512821"/>
                <a:gd name="connsiteY187" fmla="*/ 1264204 h 1648590"/>
                <a:gd name="connsiteX188" fmla="*/ 3216552 w 6512821"/>
                <a:gd name="connsiteY188" fmla="*/ 1373293 h 1648590"/>
                <a:gd name="connsiteX189" fmla="*/ 3216552 w 6512821"/>
                <a:gd name="connsiteY189" fmla="*/ 1638365 h 1648590"/>
                <a:gd name="connsiteX190" fmla="*/ 3092157 w 6512821"/>
                <a:gd name="connsiteY190" fmla="*/ 1638365 h 1648590"/>
                <a:gd name="connsiteX191" fmla="*/ 3092157 w 6512821"/>
                <a:gd name="connsiteY191" fmla="*/ 1157133 h 1648590"/>
                <a:gd name="connsiteX192" fmla="*/ 3216552 w 6512821"/>
                <a:gd name="connsiteY192" fmla="*/ 1157133 h 1648590"/>
                <a:gd name="connsiteX193" fmla="*/ 3216552 w 6512821"/>
                <a:gd name="connsiteY193" fmla="*/ 1189762 h 1648590"/>
                <a:gd name="connsiteX194" fmla="*/ 3333783 w 6512821"/>
                <a:gd name="connsiteY194" fmla="*/ 1146973 h 1648590"/>
                <a:gd name="connsiteX195" fmla="*/ 3507089 w 6512821"/>
                <a:gd name="connsiteY195" fmla="*/ 1366195 h 1648590"/>
                <a:gd name="connsiteX196" fmla="*/ 3507089 w 6512821"/>
                <a:gd name="connsiteY196" fmla="*/ 1638430 h 1648590"/>
                <a:gd name="connsiteX197" fmla="*/ 2792437 w 6512821"/>
                <a:gd name="connsiteY197" fmla="*/ 1146973 h 1648590"/>
                <a:gd name="connsiteX198" fmla="*/ 2567094 w 6512821"/>
                <a:gd name="connsiteY198" fmla="*/ 1397782 h 1648590"/>
                <a:gd name="connsiteX199" fmla="*/ 2792437 w 6512821"/>
                <a:gd name="connsiteY199" fmla="*/ 1648590 h 1648590"/>
                <a:gd name="connsiteX200" fmla="*/ 3017781 w 6512821"/>
                <a:gd name="connsiteY200" fmla="*/ 1397782 h 1648590"/>
                <a:gd name="connsiteX201" fmla="*/ 2792437 w 6512821"/>
                <a:gd name="connsiteY201" fmla="*/ 1146973 h 1648590"/>
                <a:gd name="connsiteX202" fmla="*/ 2792437 w 6512821"/>
                <a:gd name="connsiteY202" fmla="*/ 1528299 h 1648590"/>
                <a:gd name="connsiteX203" fmla="*/ 2695592 w 6512821"/>
                <a:gd name="connsiteY203" fmla="*/ 1397782 h 1648590"/>
                <a:gd name="connsiteX204" fmla="*/ 2792437 w 6512821"/>
                <a:gd name="connsiteY204" fmla="*/ 1266288 h 1648590"/>
                <a:gd name="connsiteX205" fmla="*/ 2889283 w 6512821"/>
                <a:gd name="connsiteY205" fmla="*/ 1397782 h 1648590"/>
                <a:gd name="connsiteX206" fmla="*/ 2792437 w 6512821"/>
                <a:gd name="connsiteY206" fmla="*/ 1528299 h 1648590"/>
                <a:gd name="connsiteX207" fmla="*/ 2446802 w 6512821"/>
                <a:gd name="connsiteY207" fmla="*/ 1467143 h 1648590"/>
                <a:gd name="connsiteX208" fmla="*/ 2526323 w 6512821"/>
                <a:gd name="connsiteY208" fmla="*/ 1542561 h 1648590"/>
                <a:gd name="connsiteX209" fmla="*/ 2334651 w 6512821"/>
                <a:gd name="connsiteY209" fmla="*/ 1648590 h 1648590"/>
                <a:gd name="connsiteX210" fmla="*/ 2106246 w 6512821"/>
                <a:gd name="connsiteY210" fmla="*/ 1398823 h 1648590"/>
                <a:gd name="connsiteX211" fmla="*/ 2336670 w 6512821"/>
                <a:gd name="connsiteY211" fmla="*/ 1146973 h 1648590"/>
                <a:gd name="connsiteX212" fmla="*/ 2525281 w 6512821"/>
                <a:gd name="connsiteY212" fmla="*/ 1250983 h 1648590"/>
                <a:gd name="connsiteX213" fmla="*/ 2443741 w 6512821"/>
                <a:gd name="connsiteY213" fmla="*/ 1333565 h 1648590"/>
                <a:gd name="connsiteX214" fmla="*/ 2335693 w 6512821"/>
                <a:gd name="connsiteY214" fmla="*/ 1266288 h 1648590"/>
                <a:gd name="connsiteX215" fmla="*/ 2234744 w 6512821"/>
                <a:gd name="connsiteY215" fmla="*/ 1396804 h 1648590"/>
                <a:gd name="connsiteX216" fmla="*/ 2336670 w 6512821"/>
                <a:gd name="connsiteY216" fmla="*/ 1528299 h 1648590"/>
                <a:gd name="connsiteX217" fmla="*/ 2446802 w 6512821"/>
                <a:gd name="connsiteY217" fmla="*/ 1467143 h 1648590"/>
                <a:gd name="connsiteX218" fmla="*/ 1803530 w 6512821"/>
                <a:gd name="connsiteY218" fmla="*/ 1638365 h 1648590"/>
                <a:gd name="connsiteX219" fmla="*/ 1679135 w 6512821"/>
                <a:gd name="connsiteY219" fmla="*/ 1638365 h 1648590"/>
                <a:gd name="connsiteX220" fmla="*/ 1679135 w 6512821"/>
                <a:gd name="connsiteY220" fmla="*/ 1376355 h 1648590"/>
                <a:gd name="connsiteX221" fmla="*/ 1596553 w 6512821"/>
                <a:gd name="connsiteY221" fmla="*/ 1264204 h 1648590"/>
                <a:gd name="connsiteX222" fmla="*/ 1511951 w 6512821"/>
                <a:gd name="connsiteY222" fmla="*/ 1373293 h 1648590"/>
                <a:gd name="connsiteX223" fmla="*/ 1511951 w 6512821"/>
                <a:gd name="connsiteY223" fmla="*/ 1638365 h 1648590"/>
                <a:gd name="connsiteX224" fmla="*/ 1387557 w 6512821"/>
                <a:gd name="connsiteY224" fmla="*/ 1638365 h 1648590"/>
                <a:gd name="connsiteX225" fmla="*/ 1387557 w 6512821"/>
                <a:gd name="connsiteY225" fmla="*/ 1031761 h 1648590"/>
                <a:gd name="connsiteX226" fmla="*/ 1511951 w 6512821"/>
                <a:gd name="connsiteY226" fmla="*/ 969564 h 1648590"/>
                <a:gd name="connsiteX227" fmla="*/ 1511951 w 6512821"/>
                <a:gd name="connsiteY227" fmla="*/ 1189762 h 1648590"/>
                <a:gd name="connsiteX228" fmla="*/ 1632243 w 6512821"/>
                <a:gd name="connsiteY228" fmla="*/ 1146973 h 1648590"/>
                <a:gd name="connsiteX229" fmla="*/ 1803530 w 6512821"/>
                <a:gd name="connsiteY229" fmla="*/ 1366195 h 1648590"/>
                <a:gd name="connsiteX230" fmla="*/ 1803530 w 6512821"/>
                <a:gd name="connsiteY230" fmla="*/ 1638430 h 1648590"/>
                <a:gd name="connsiteX231" fmla="*/ 1311031 w 6512821"/>
                <a:gd name="connsiteY231" fmla="*/ 1493650 h 1648590"/>
                <a:gd name="connsiteX232" fmla="*/ 1292665 w 6512821"/>
                <a:gd name="connsiteY232" fmla="*/ 1619022 h 1648590"/>
                <a:gd name="connsiteX233" fmla="*/ 1173350 w 6512821"/>
                <a:gd name="connsiteY233" fmla="*/ 1648590 h 1648590"/>
                <a:gd name="connsiteX234" fmla="*/ 1043875 w 6512821"/>
                <a:gd name="connsiteY234" fmla="*/ 1504852 h 1648590"/>
                <a:gd name="connsiteX235" fmla="*/ 1043875 w 6512821"/>
                <a:gd name="connsiteY235" fmla="*/ 1273387 h 1648590"/>
                <a:gd name="connsiteX236" fmla="*/ 960250 w 6512821"/>
                <a:gd name="connsiteY236" fmla="*/ 1273387 h 1648590"/>
                <a:gd name="connsiteX237" fmla="*/ 960250 w 6512821"/>
                <a:gd name="connsiteY237" fmla="*/ 1157133 h 1648590"/>
                <a:gd name="connsiteX238" fmla="*/ 1043875 w 6512821"/>
                <a:gd name="connsiteY238" fmla="*/ 1157133 h 1648590"/>
                <a:gd name="connsiteX239" fmla="*/ 1043875 w 6512821"/>
                <a:gd name="connsiteY239" fmla="*/ 1031761 h 1648590"/>
                <a:gd name="connsiteX240" fmla="*/ 1168270 w 6512821"/>
                <a:gd name="connsiteY240" fmla="*/ 969564 h 1648590"/>
                <a:gd name="connsiteX241" fmla="*/ 1168270 w 6512821"/>
                <a:gd name="connsiteY241" fmla="*/ 1157133 h 1648590"/>
                <a:gd name="connsiteX242" fmla="*/ 1308947 w 6512821"/>
                <a:gd name="connsiteY242" fmla="*/ 1157133 h 1648590"/>
                <a:gd name="connsiteX243" fmla="*/ 1308947 w 6512821"/>
                <a:gd name="connsiteY243" fmla="*/ 1273387 h 1648590"/>
                <a:gd name="connsiteX244" fmla="*/ 1168270 w 6512821"/>
                <a:gd name="connsiteY244" fmla="*/ 1273387 h 1648590"/>
                <a:gd name="connsiteX245" fmla="*/ 1168270 w 6512821"/>
                <a:gd name="connsiteY245" fmla="*/ 1471181 h 1648590"/>
                <a:gd name="connsiteX246" fmla="*/ 1214120 w 6512821"/>
                <a:gd name="connsiteY246" fmla="*/ 1529275 h 1648590"/>
                <a:gd name="connsiteX247" fmla="*/ 1310966 w 6512821"/>
                <a:gd name="connsiteY247" fmla="*/ 1493585 h 1648590"/>
                <a:gd name="connsiteX248" fmla="*/ 767666 w 6512821"/>
                <a:gd name="connsiteY248" fmla="*/ 1157198 h 1648590"/>
                <a:gd name="connsiteX249" fmla="*/ 767666 w 6512821"/>
                <a:gd name="connsiteY249" fmla="*/ 1638430 h 1648590"/>
                <a:gd name="connsiteX250" fmla="*/ 892061 w 6512821"/>
                <a:gd name="connsiteY250" fmla="*/ 1638430 h 1648590"/>
                <a:gd name="connsiteX251" fmla="*/ 892061 w 6512821"/>
                <a:gd name="connsiteY251" fmla="*/ 1157198 h 1648590"/>
                <a:gd name="connsiteX252" fmla="*/ 767666 w 6512821"/>
                <a:gd name="connsiteY252" fmla="*/ 1157198 h 1648590"/>
                <a:gd name="connsiteX253" fmla="*/ 702408 w 6512821"/>
                <a:gd name="connsiteY253" fmla="*/ 1157198 h 1648590"/>
                <a:gd name="connsiteX254" fmla="*/ 550529 w 6512821"/>
                <a:gd name="connsiteY254" fmla="*/ 1638430 h 1648590"/>
                <a:gd name="connsiteX255" fmla="*/ 436359 w 6512821"/>
                <a:gd name="connsiteY255" fmla="*/ 1638430 h 1648590"/>
                <a:gd name="connsiteX256" fmla="*/ 354819 w 6512821"/>
                <a:gd name="connsiteY256" fmla="*/ 1345809 h 1648590"/>
                <a:gd name="connsiteX257" fmla="*/ 272236 w 6512821"/>
                <a:gd name="connsiteY257" fmla="*/ 1638430 h 1648590"/>
                <a:gd name="connsiteX258" fmla="*/ 158066 w 6512821"/>
                <a:gd name="connsiteY258" fmla="*/ 1638430 h 1648590"/>
                <a:gd name="connsiteX259" fmla="*/ 7099 w 6512821"/>
                <a:gd name="connsiteY259" fmla="*/ 1157198 h 1648590"/>
                <a:gd name="connsiteX260" fmla="*/ 145757 w 6512821"/>
                <a:gd name="connsiteY260" fmla="*/ 1157198 h 1648590"/>
                <a:gd name="connsiteX261" fmla="*/ 218114 w 6512821"/>
                <a:gd name="connsiteY261" fmla="*/ 1436533 h 1648590"/>
                <a:gd name="connsiteX262" fmla="*/ 299655 w 6512821"/>
                <a:gd name="connsiteY262" fmla="*/ 1157198 h 1648590"/>
                <a:gd name="connsiteX263" fmla="*/ 412848 w 6512821"/>
                <a:gd name="connsiteY263" fmla="*/ 1157198 h 1648590"/>
                <a:gd name="connsiteX264" fmla="*/ 494388 w 6512821"/>
                <a:gd name="connsiteY264" fmla="*/ 1436533 h 1648590"/>
                <a:gd name="connsiteX265" fmla="*/ 567788 w 6512821"/>
                <a:gd name="connsiteY265" fmla="*/ 1157198 h 1648590"/>
                <a:gd name="connsiteX266" fmla="*/ 702343 w 6512821"/>
                <a:gd name="connsiteY266" fmla="*/ 1157198 h 1648590"/>
                <a:gd name="connsiteX267" fmla="*/ 4436990 w 6512821"/>
                <a:gd name="connsiteY267" fmla="*/ 16282 h 1648590"/>
                <a:gd name="connsiteX268" fmla="*/ 4436990 w 6512821"/>
                <a:gd name="connsiteY268" fmla="*/ 115147 h 1648590"/>
                <a:gd name="connsiteX269" fmla="*/ 4374792 w 6512821"/>
                <a:gd name="connsiteY269" fmla="*/ 104921 h 1648590"/>
                <a:gd name="connsiteX270" fmla="*/ 4322820 w 6512821"/>
                <a:gd name="connsiteY270" fmla="*/ 144715 h 1648590"/>
                <a:gd name="connsiteX271" fmla="*/ 4322820 w 6512821"/>
                <a:gd name="connsiteY271" fmla="*/ 186527 h 1648590"/>
                <a:gd name="connsiteX272" fmla="*/ 4404361 w 6512821"/>
                <a:gd name="connsiteY272" fmla="*/ 186527 h 1648590"/>
                <a:gd name="connsiteX273" fmla="*/ 4404361 w 6512821"/>
                <a:gd name="connsiteY273" fmla="*/ 302781 h 1648590"/>
                <a:gd name="connsiteX274" fmla="*/ 4322820 w 6512821"/>
                <a:gd name="connsiteY274" fmla="*/ 302781 h 1648590"/>
                <a:gd name="connsiteX275" fmla="*/ 4322820 w 6512821"/>
                <a:gd name="connsiteY275" fmla="*/ 667759 h 1648590"/>
                <a:gd name="connsiteX276" fmla="*/ 4202528 w 6512821"/>
                <a:gd name="connsiteY276" fmla="*/ 667759 h 1648590"/>
                <a:gd name="connsiteX277" fmla="*/ 4202528 w 6512821"/>
                <a:gd name="connsiteY277" fmla="*/ 302781 h 1648590"/>
                <a:gd name="connsiteX278" fmla="*/ 4143392 w 6512821"/>
                <a:gd name="connsiteY278" fmla="*/ 302781 h 1648590"/>
                <a:gd name="connsiteX279" fmla="*/ 4143392 w 6512821"/>
                <a:gd name="connsiteY279" fmla="*/ 186527 h 1648590"/>
                <a:gd name="connsiteX280" fmla="*/ 4202528 w 6512821"/>
                <a:gd name="connsiteY280" fmla="*/ 186527 h 1648590"/>
                <a:gd name="connsiteX281" fmla="*/ 4202528 w 6512821"/>
                <a:gd name="connsiteY281" fmla="*/ 128433 h 1648590"/>
                <a:gd name="connsiteX282" fmla="*/ 4348350 w 6512821"/>
                <a:gd name="connsiteY282" fmla="*/ 2019 h 1648590"/>
                <a:gd name="connsiteX283" fmla="*/ 4437055 w 6512821"/>
                <a:gd name="connsiteY283" fmla="*/ 16282 h 1648590"/>
                <a:gd name="connsiteX284" fmla="*/ 2957602 w 6512821"/>
                <a:gd name="connsiteY284" fmla="*/ 527083 h 1648590"/>
                <a:gd name="connsiteX285" fmla="*/ 2940278 w 6512821"/>
                <a:gd name="connsiteY285" fmla="*/ 649458 h 1648590"/>
                <a:gd name="connsiteX286" fmla="*/ 2843433 w 6512821"/>
                <a:gd name="connsiteY286" fmla="*/ 677984 h 1648590"/>
                <a:gd name="connsiteX287" fmla="*/ 2712916 w 6512821"/>
                <a:gd name="connsiteY287" fmla="*/ 535224 h 1648590"/>
                <a:gd name="connsiteX288" fmla="*/ 2712916 w 6512821"/>
                <a:gd name="connsiteY288" fmla="*/ 301739 h 1648590"/>
                <a:gd name="connsiteX289" fmla="*/ 2629291 w 6512821"/>
                <a:gd name="connsiteY289" fmla="*/ 301739 h 1648590"/>
                <a:gd name="connsiteX290" fmla="*/ 2629291 w 6512821"/>
                <a:gd name="connsiteY290" fmla="*/ 186527 h 1648590"/>
                <a:gd name="connsiteX291" fmla="*/ 2712916 w 6512821"/>
                <a:gd name="connsiteY291" fmla="*/ 186527 h 1648590"/>
                <a:gd name="connsiteX292" fmla="*/ 2712916 w 6512821"/>
                <a:gd name="connsiteY292" fmla="*/ 61155 h 1648590"/>
                <a:gd name="connsiteX293" fmla="*/ 2833208 w 6512821"/>
                <a:gd name="connsiteY293" fmla="*/ 0 h 1648590"/>
                <a:gd name="connsiteX294" fmla="*/ 2833208 w 6512821"/>
                <a:gd name="connsiteY294" fmla="*/ 186592 h 1648590"/>
                <a:gd name="connsiteX295" fmla="*/ 2945358 w 6512821"/>
                <a:gd name="connsiteY295" fmla="*/ 186592 h 1648590"/>
                <a:gd name="connsiteX296" fmla="*/ 2945358 w 6512821"/>
                <a:gd name="connsiteY296" fmla="*/ 301804 h 1648590"/>
                <a:gd name="connsiteX297" fmla="*/ 2833208 w 6512821"/>
                <a:gd name="connsiteY297" fmla="*/ 301804 h 1648590"/>
                <a:gd name="connsiteX298" fmla="*/ 2833208 w 6512821"/>
                <a:gd name="connsiteY298" fmla="*/ 503701 h 1648590"/>
                <a:gd name="connsiteX299" fmla="*/ 2880100 w 6512821"/>
                <a:gd name="connsiteY299" fmla="*/ 560819 h 1648590"/>
                <a:gd name="connsiteX300" fmla="*/ 2957602 w 6512821"/>
                <a:gd name="connsiteY300" fmla="*/ 527148 h 1648590"/>
                <a:gd name="connsiteX301" fmla="*/ 2397891 w 6512821"/>
                <a:gd name="connsiteY301" fmla="*/ 426134 h 1648590"/>
                <a:gd name="connsiteX302" fmla="*/ 2395872 w 6512821"/>
                <a:gd name="connsiteY302" fmla="*/ 467946 h 1648590"/>
                <a:gd name="connsiteX303" fmla="*/ 2114453 w 6512821"/>
                <a:gd name="connsiteY303" fmla="*/ 467946 h 1648590"/>
                <a:gd name="connsiteX304" fmla="*/ 2218462 w 6512821"/>
                <a:gd name="connsiteY304" fmla="*/ 562773 h 1648590"/>
                <a:gd name="connsiteX305" fmla="*/ 2301045 w 6512821"/>
                <a:gd name="connsiteY305" fmla="*/ 529102 h 1648590"/>
                <a:gd name="connsiteX306" fmla="*/ 2386689 w 6512821"/>
                <a:gd name="connsiteY306" fmla="*/ 601459 h 1648590"/>
                <a:gd name="connsiteX307" fmla="*/ 2210321 w 6512821"/>
                <a:gd name="connsiteY307" fmla="*/ 677919 h 1648590"/>
                <a:gd name="connsiteX308" fmla="*/ 1991100 w 6512821"/>
                <a:gd name="connsiteY308" fmla="*/ 429130 h 1648590"/>
                <a:gd name="connsiteX309" fmla="*/ 2205176 w 6512821"/>
                <a:gd name="connsiteY309" fmla="*/ 176302 h 1648590"/>
                <a:gd name="connsiteX310" fmla="*/ 2397891 w 6512821"/>
                <a:gd name="connsiteY310" fmla="*/ 426069 h 1648590"/>
                <a:gd name="connsiteX311" fmla="*/ 2116472 w 6512821"/>
                <a:gd name="connsiteY311" fmla="*/ 374162 h 1648590"/>
                <a:gd name="connsiteX312" fmla="*/ 2287759 w 6512821"/>
                <a:gd name="connsiteY312" fmla="*/ 374162 h 1648590"/>
                <a:gd name="connsiteX313" fmla="*/ 2199054 w 6512821"/>
                <a:gd name="connsiteY313" fmla="*/ 283438 h 1648590"/>
                <a:gd name="connsiteX314" fmla="*/ 2116472 w 6512821"/>
                <a:gd name="connsiteY314" fmla="*/ 374162 h 1648590"/>
                <a:gd name="connsiteX315" fmla="*/ 1933982 w 6512821"/>
                <a:gd name="connsiteY315" fmla="*/ 428218 h 1648590"/>
                <a:gd name="connsiteX316" fmla="*/ 1746413 w 6512821"/>
                <a:gd name="connsiteY316" fmla="*/ 677984 h 1648590"/>
                <a:gd name="connsiteX317" fmla="*/ 1639342 w 6512821"/>
                <a:gd name="connsiteY317" fmla="*/ 638191 h 1648590"/>
                <a:gd name="connsiteX318" fmla="*/ 1639342 w 6512821"/>
                <a:gd name="connsiteY318" fmla="*/ 784990 h 1648590"/>
                <a:gd name="connsiteX319" fmla="*/ 1519050 w 6512821"/>
                <a:gd name="connsiteY319" fmla="*/ 845169 h 1648590"/>
                <a:gd name="connsiteX320" fmla="*/ 1519050 w 6512821"/>
                <a:gd name="connsiteY320" fmla="*/ 186527 h 1648590"/>
                <a:gd name="connsiteX321" fmla="*/ 1639342 w 6512821"/>
                <a:gd name="connsiteY321" fmla="*/ 186527 h 1648590"/>
                <a:gd name="connsiteX322" fmla="*/ 1639342 w 6512821"/>
                <a:gd name="connsiteY322" fmla="*/ 219157 h 1648590"/>
                <a:gd name="connsiteX323" fmla="*/ 1748432 w 6512821"/>
                <a:gd name="connsiteY323" fmla="*/ 176367 h 1648590"/>
                <a:gd name="connsiteX324" fmla="*/ 1933982 w 6512821"/>
                <a:gd name="connsiteY324" fmla="*/ 428218 h 1648590"/>
                <a:gd name="connsiteX325" fmla="*/ 1809587 w 6512821"/>
                <a:gd name="connsiteY325" fmla="*/ 434340 h 1648590"/>
                <a:gd name="connsiteX326" fmla="*/ 1718864 w 6512821"/>
                <a:gd name="connsiteY326" fmla="*/ 292621 h 1648590"/>
                <a:gd name="connsiteX327" fmla="*/ 1639342 w 6512821"/>
                <a:gd name="connsiteY327" fmla="*/ 335410 h 1648590"/>
                <a:gd name="connsiteX328" fmla="*/ 1639342 w 6512821"/>
                <a:gd name="connsiteY328" fmla="*/ 518942 h 1648590"/>
                <a:gd name="connsiteX329" fmla="*/ 1726028 w 6512821"/>
                <a:gd name="connsiteY329" fmla="*/ 562773 h 1648590"/>
                <a:gd name="connsiteX330" fmla="*/ 1809652 w 6512821"/>
                <a:gd name="connsiteY330" fmla="*/ 434340 h 1648590"/>
                <a:gd name="connsiteX331" fmla="*/ 1435426 w 6512821"/>
                <a:gd name="connsiteY331" fmla="*/ 667825 h 1648590"/>
                <a:gd name="connsiteX332" fmla="*/ 1315134 w 6512821"/>
                <a:gd name="connsiteY332" fmla="*/ 667825 h 1648590"/>
                <a:gd name="connsiteX333" fmla="*/ 1315134 w 6512821"/>
                <a:gd name="connsiteY333" fmla="*/ 634153 h 1648590"/>
                <a:gd name="connsiteX334" fmla="*/ 1202983 w 6512821"/>
                <a:gd name="connsiteY334" fmla="*/ 677984 h 1648590"/>
                <a:gd name="connsiteX335" fmla="*/ 1033715 w 6512821"/>
                <a:gd name="connsiteY335" fmla="*/ 510800 h 1648590"/>
                <a:gd name="connsiteX336" fmla="*/ 1221284 w 6512821"/>
                <a:gd name="connsiteY336" fmla="*/ 348696 h 1648590"/>
                <a:gd name="connsiteX337" fmla="*/ 1315069 w 6512821"/>
                <a:gd name="connsiteY337" fmla="*/ 368040 h 1648590"/>
                <a:gd name="connsiteX338" fmla="*/ 1315069 w 6512821"/>
                <a:gd name="connsiteY338" fmla="*/ 342574 h 1648590"/>
                <a:gd name="connsiteX339" fmla="*/ 1232486 w 6512821"/>
                <a:gd name="connsiteY339" fmla="*/ 279335 h 1648590"/>
                <a:gd name="connsiteX340" fmla="*/ 1121378 w 6512821"/>
                <a:gd name="connsiteY340" fmla="*/ 310922 h 1648590"/>
                <a:gd name="connsiteX341" fmla="*/ 1073443 w 6512821"/>
                <a:gd name="connsiteY341" fmla="*/ 225278 h 1648590"/>
                <a:gd name="connsiteX342" fmla="*/ 1239650 w 6512821"/>
                <a:gd name="connsiteY342" fmla="*/ 176367 h 1648590"/>
                <a:gd name="connsiteX343" fmla="*/ 1435426 w 6512821"/>
                <a:gd name="connsiteY343" fmla="*/ 344593 h 1648590"/>
                <a:gd name="connsiteX344" fmla="*/ 1435426 w 6512821"/>
                <a:gd name="connsiteY344" fmla="*/ 667759 h 1648590"/>
                <a:gd name="connsiteX345" fmla="*/ 1315134 w 6512821"/>
                <a:gd name="connsiteY345" fmla="*/ 527083 h 1648590"/>
                <a:gd name="connsiteX346" fmla="*/ 1315134 w 6512821"/>
                <a:gd name="connsiteY346" fmla="*/ 465927 h 1648590"/>
                <a:gd name="connsiteX347" fmla="*/ 1234570 w 6512821"/>
                <a:gd name="connsiteY347" fmla="*/ 445542 h 1648590"/>
                <a:gd name="connsiteX348" fmla="*/ 1156091 w 6512821"/>
                <a:gd name="connsiteY348" fmla="*/ 507740 h 1648590"/>
                <a:gd name="connsiteX349" fmla="*/ 1224410 w 6512821"/>
                <a:gd name="connsiteY349" fmla="*/ 574040 h 1648590"/>
                <a:gd name="connsiteX350" fmla="*/ 1315134 w 6512821"/>
                <a:gd name="connsiteY350" fmla="*/ 527148 h 1648590"/>
                <a:gd name="connsiteX351" fmla="*/ 967480 w 6512821"/>
                <a:gd name="connsiteY351" fmla="*/ 667825 h 1648590"/>
                <a:gd name="connsiteX352" fmla="*/ 847188 w 6512821"/>
                <a:gd name="connsiteY352" fmla="*/ 667825 h 1648590"/>
                <a:gd name="connsiteX353" fmla="*/ 847188 w 6512821"/>
                <a:gd name="connsiteY353" fmla="*/ 405814 h 1648590"/>
                <a:gd name="connsiteX354" fmla="*/ 765647 w 6512821"/>
                <a:gd name="connsiteY354" fmla="*/ 292621 h 1648590"/>
                <a:gd name="connsiteX355" fmla="*/ 683065 w 6512821"/>
                <a:gd name="connsiteY355" fmla="*/ 402753 h 1648590"/>
                <a:gd name="connsiteX356" fmla="*/ 683065 w 6512821"/>
                <a:gd name="connsiteY356" fmla="*/ 667825 h 1648590"/>
                <a:gd name="connsiteX357" fmla="*/ 562773 w 6512821"/>
                <a:gd name="connsiteY357" fmla="*/ 667825 h 1648590"/>
                <a:gd name="connsiteX358" fmla="*/ 562773 w 6512821"/>
                <a:gd name="connsiteY358" fmla="*/ 61221 h 1648590"/>
                <a:gd name="connsiteX359" fmla="*/ 683065 w 6512821"/>
                <a:gd name="connsiteY359" fmla="*/ 65 h 1648590"/>
                <a:gd name="connsiteX360" fmla="*/ 683065 w 6512821"/>
                <a:gd name="connsiteY360" fmla="*/ 220264 h 1648590"/>
                <a:gd name="connsiteX361" fmla="*/ 796258 w 6512821"/>
                <a:gd name="connsiteY361" fmla="*/ 176432 h 1648590"/>
                <a:gd name="connsiteX362" fmla="*/ 967545 w 6512821"/>
                <a:gd name="connsiteY362" fmla="*/ 396631 h 1648590"/>
                <a:gd name="connsiteX363" fmla="*/ 967545 w 6512821"/>
                <a:gd name="connsiteY363" fmla="*/ 667825 h 1648590"/>
                <a:gd name="connsiteX364" fmla="*/ 496472 w 6512821"/>
                <a:gd name="connsiteY364" fmla="*/ 475110 h 1648590"/>
                <a:gd name="connsiteX365" fmla="*/ 255889 w 6512821"/>
                <a:gd name="connsiteY365" fmla="*/ 677984 h 1648590"/>
                <a:gd name="connsiteX366" fmla="*/ 0 w 6512821"/>
                <a:gd name="connsiteY366" fmla="*/ 562773 h 1648590"/>
                <a:gd name="connsiteX367" fmla="*/ 89747 w 6512821"/>
                <a:gd name="connsiteY367" fmla="*/ 483251 h 1648590"/>
                <a:gd name="connsiteX368" fmla="*/ 252893 w 6512821"/>
                <a:gd name="connsiteY368" fmla="*/ 556651 h 1648590"/>
                <a:gd name="connsiteX369" fmla="*/ 367063 w 6512821"/>
                <a:gd name="connsiteY369" fmla="*/ 478171 h 1648590"/>
                <a:gd name="connsiteX370" fmla="*/ 329353 w 6512821"/>
                <a:gd name="connsiteY370" fmla="*/ 426199 h 1648590"/>
                <a:gd name="connsiteX371" fmla="*/ 225344 w 6512821"/>
                <a:gd name="connsiteY371" fmla="*/ 394612 h 1648590"/>
                <a:gd name="connsiteX372" fmla="*/ 79522 w 6512821"/>
                <a:gd name="connsiteY372" fmla="*/ 335475 h 1648590"/>
                <a:gd name="connsiteX373" fmla="*/ 24488 w 6512821"/>
                <a:gd name="connsiteY373" fmla="*/ 207042 h 1648590"/>
                <a:gd name="connsiteX374" fmla="*/ 254912 w 6512821"/>
                <a:gd name="connsiteY374" fmla="*/ 16412 h 1648590"/>
                <a:gd name="connsiteX375" fmla="*/ 482274 w 6512821"/>
                <a:gd name="connsiteY375" fmla="*/ 115277 h 1648590"/>
                <a:gd name="connsiteX376" fmla="*/ 392528 w 6512821"/>
                <a:gd name="connsiteY376" fmla="*/ 202939 h 1648590"/>
                <a:gd name="connsiteX377" fmla="*/ 246706 w 6512821"/>
                <a:gd name="connsiteY377" fmla="*/ 137681 h 1648590"/>
                <a:gd name="connsiteX378" fmla="*/ 152921 w 6512821"/>
                <a:gd name="connsiteY378" fmla="*/ 199878 h 1648590"/>
                <a:gd name="connsiteX379" fmla="*/ 179428 w 6512821"/>
                <a:gd name="connsiteY379" fmla="*/ 243710 h 1648590"/>
                <a:gd name="connsiteX380" fmla="*/ 282396 w 6512821"/>
                <a:gd name="connsiteY380" fmla="*/ 277381 h 1648590"/>
                <a:gd name="connsiteX381" fmla="*/ 438378 w 6512821"/>
                <a:gd name="connsiteY381" fmla="*/ 341598 h 1648590"/>
                <a:gd name="connsiteX382" fmla="*/ 496472 w 6512821"/>
                <a:gd name="connsiteY382" fmla="*/ 475176 h 1648590"/>
                <a:gd name="connsiteX383" fmla="*/ 6100885 w 6512821"/>
                <a:gd name="connsiteY383" fmla="*/ 208996 h 1648590"/>
                <a:gd name="connsiteX384" fmla="*/ 6051778 w 6512821"/>
                <a:gd name="connsiteY384" fmla="*/ 329288 h 1648590"/>
                <a:gd name="connsiteX385" fmla="*/ 5982482 w 6512821"/>
                <a:gd name="connsiteY385" fmla="*/ 299720 h 1648590"/>
                <a:gd name="connsiteX386" fmla="*/ 5911232 w 6512821"/>
                <a:gd name="connsiteY386" fmla="*/ 405749 h 1648590"/>
                <a:gd name="connsiteX387" fmla="*/ 5911232 w 6512821"/>
                <a:gd name="connsiteY387" fmla="*/ 667759 h 1648590"/>
                <a:gd name="connsiteX388" fmla="*/ 5790940 w 6512821"/>
                <a:gd name="connsiteY388" fmla="*/ 667759 h 1648590"/>
                <a:gd name="connsiteX389" fmla="*/ 5790940 w 6512821"/>
                <a:gd name="connsiteY389" fmla="*/ 186527 h 1648590"/>
                <a:gd name="connsiteX390" fmla="*/ 5911232 w 6512821"/>
                <a:gd name="connsiteY390" fmla="*/ 186527 h 1648590"/>
                <a:gd name="connsiteX391" fmla="*/ 5911232 w 6512821"/>
                <a:gd name="connsiteY391" fmla="*/ 220198 h 1648590"/>
                <a:gd name="connsiteX392" fmla="*/ 6012181 w 6512821"/>
                <a:gd name="connsiteY392" fmla="*/ 176367 h 1648590"/>
                <a:gd name="connsiteX393" fmla="*/ 6100885 w 6512821"/>
                <a:gd name="connsiteY393" fmla="*/ 208996 h 1648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</a:cxnLst>
              <a:rect l="l" t="t" r="r" b="b"/>
              <a:pathLst>
                <a:path w="6512821" h="1648590">
                  <a:moveTo>
                    <a:pt x="5071143" y="1396740"/>
                  </a:moveTo>
                  <a:cubicBezTo>
                    <a:pt x="5071143" y="1412045"/>
                    <a:pt x="5070101" y="1431388"/>
                    <a:pt x="5069124" y="1438552"/>
                  </a:cubicBezTo>
                  <a:lnTo>
                    <a:pt x="4777545" y="1438552"/>
                  </a:lnTo>
                  <a:cubicBezTo>
                    <a:pt x="4782625" y="1505829"/>
                    <a:pt x="4828541" y="1533378"/>
                    <a:pt x="4880513" y="1533378"/>
                  </a:cubicBezTo>
                  <a:cubicBezTo>
                    <a:pt x="4911123" y="1533378"/>
                    <a:pt x="4939649" y="1524196"/>
                    <a:pt x="4964137" y="1499707"/>
                  </a:cubicBezTo>
                  <a:lnTo>
                    <a:pt x="5049781" y="1572065"/>
                  </a:lnTo>
                  <a:cubicBezTo>
                    <a:pt x="5004908" y="1628140"/>
                    <a:pt x="4936588" y="1648525"/>
                    <a:pt x="4875433" y="1648525"/>
                  </a:cubicBezTo>
                  <a:cubicBezTo>
                    <a:pt x="4734756" y="1648525"/>
                    <a:pt x="4654192" y="1540478"/>
                    <a:pt x="4654192" y="1398759"/>
                  </a:cubicBezTo>
                  <a:cubicBezTo>
                    <a:pt x="4654192" y="1244795"/>
                    <a:pt x="4749019" y="1146908"/>
                    <a:pt x="4867292" y="1146908"/>
                  </a:cubicBezTo>
                  <a:cubicBezTo>
                    <a:pt x="4993706" y="1146908"/>
                    <a:pt x="5071208" y="1258016"/>
                    <a:pt x="5071208" y="1396675"/>
                  </a:cubicBezTo>
                  <a:close/>
                  <a:moveTo>
                    <a:pt x="4779564" y="1344767"/>
                  </a:moveTo>
                  <a:lnTo>
                    <a:pt x="4950851" y="1344767"/>
                  </a:lnTo>
                  <a:cubicBezTo>
                    <a:pt x="4946748" y="1290711"/>
                    <a:pt x="4912100" y="1254044"/>
                    <a:pt x="4863189" y="1254044"/>
                  </a:cubicBezTo>
                  <a:cubicBezTo>
                    <a:pt x="4805094" y="1254044"/>
                    <a:pt x="4782625" y="1305039"/>
                    <a:pt x="4779564" y="1344767"/>
                  </a:cubicBezTo>
                  <a:close/>
                  <a:moveTo>
                    <a:pt x="6512756" y="1396740"/>
                  </a:moveTo>
                  <a:cubicBezTo>
                    <a:pt x="6512756" y="1412045"/>
                    <a:pt x="6511714" y="1431388"/>
                    <a:pt x="6510737" y="1438552"/>
                  </a:cubicBezTo>
                  <a:lnTo>
                    <a:pt x="6219158" y="1438552"/>
                  </a:lnTo>
                  <a:cubicBezTo>
                    <a:pt x="6224238" y="1505829"/>
                    <a:pt x="6270154" y="1533378"/>
                    <a:pt x="6322126" y="1533378"/>
                  </a:cubicBezTo>
                  <a:cubicBezTo>
                    <a:pt x="6352736" y="1533378"/>
                    <a:pt x="6381262" y="1524196"/>
                    <a:pt x="6405751" y="1499707"/>
                  </a:cubicBezTo>
                  <a:lnTo>
                    <a:pt x="6491394" y="1572065"/>
                  </a:lnTo>
                  <a:cubicBezTo>
                    <a:pt x="6446521" y="1628140"/>
                    <a:pt x="6378201" y="1648525"/>
                    <a:pt x="6317046" y="1648525"/>
                  </a:cubicBezTo>
                  <a:cubicBezTo>
                    <a:pt x="6176369" y="1648525"/>
                    <a:pt x="6095805" y="1540478"/>
                    <a:pt x="6095805" y="1398759"/>
                  </a:cubicBezTo>
                  <a:cubicBezTo>
                    <a:pt x="6095805" y="1244795"/>
                    <a:pt x="6190632" y="1146908"/>
                    <a:pt x="6308905" y="1146908"/>
                  </a:cubicBezTo>
                  <a:cubicBezTo>
                    <a:pt x="6435319" y="1146908"/>
                    <a:pt x="6512821" y="1258016"/>
                    <a:pt x="6512821" y="1396675"/>
                  </a:cubicBezTo>
                  <a:close/>
                  <a:moveTo>
                    <a:pt x="6221177" y="1344767"/>
                  </a:moveTo>
                  <a:lnTo>
                    <a:pt x="6392465" y="1344767"/>
                  </a:lnTo>
                  <a:cubicBezTo>
                    <a:pt x="6388361" y="1290711"/>
                    <a:pt x="6353713" y="1254044"/>
                    <a:pt x="6304802" y="1254044"/>
                  </a:cubicBezTo>
                  <a:cubicBezTo>
                    <a:pt x="6246708" y="1254044"/>
                    <a:pt x="6224238" y="1305039"/>
                    <a:pt x="6221177" y="1344767"/>
                  </a:cubicBezTo>
                  <a:close/>
                  <a:moveTo>
                    <a:pt x="5978509" y="1467143"/>
                  </a:moveTo>
                  <a:lnTo>
                    <a:pt x="6058031" y="1542561"/>
                  </a:lnTo>
                  <a:cubicBezTo>
                    <a:pt x="6017261" y="1594534"/>
                    <a:pt x="5961185" y="1648590"/>
                    <a:pt x="5866359" y="1648590"/>
                  </a:cubicBezTo>
                  <a:cubicBezTo>
                    <a:pt x="5734865" y="1648590"/>
                    <a:pt x="5637954" y="1543604"/>
                    <a:pt x="5637954" y="1398823"/>
                  </a:cubicBezTo>
                  <a:cubicBezTo>
                    <a:pt x="5637954" y="1266288"/>
                    <a:pt x="5718518" y="1146973"/>
                    <a:pt x="5868378" y="1146973"/>
                  </a:cubicBezTo>
                  <a:cubicBezTo>
                    <a:pt x="5954021" y="1146973"/>
                    <a:pt x="6013157" y="1185724"/>
                    <a:pt x="6056989" y="1250983"/>
                  </a:cubicBezTo>
                  <a:lnTo>
                    <a:pt x="5975448" y="1333565"/>
                  </a:lnTo>
                  <a:cubicBezTo>
                    <a:pt x="5946922" y="1295856"/>
                    <a:pt x="5916312" y="1266288"/>
                    <a:pt x="5867401" y="1266288"/>
                  </a:cubicBezTo>
                  <a:cubicBezTo>
                    <a:pt x="5801100" y="1266288"/>
                    <a:pt x="5766452" y="1322363"/>
                    <a:pt x="5766452" y="1396804"/>
                  </a:cubicBezTo>
                  <a:cubicBezTo>
                    <a:pt x="5766452" y="1466101"/>
                    <a:pt x="5797062" y="1528299"/>
                    <a:pt x="5868378" y="1528299"/>
                  </a:cubicBezTo>
                  <a:cubicBezTo>
                    <a:pt x="5912209" y="1528299"/>
                    <a:pt x="5948941" y="1504852"/>
                    <a:pt x="5978509" y="1467143"/>
                  </a:cubicBezTo>
                  <a:close/>
                  <a:moveTo>
                    <a:pt x="4869246" y="667825"/>
                  </a:moveTo>
                  <a:lnTo>
                    <a:pt x="4750973" y="667825"/>
                  </a:lnTo>
                  <a:lnTo>
                    <a:pt x="4750973" y="634153"/>
                  </a:lnTo>
                  <a:cubicBezTo>
                    <a:pt x="4724466" y="663721"/>
                    <a:pt x="4681676" y="677984"/>
                    <a:pt x="4638822" y="677984"/>
                  </a:cubicBezTo>
                  <a:cubicBezTo>
                    <a:pt x="4514427" y="677984"/>
                    <a:pt x="4467535" y="588238"/>
                    <a:pt x="4467535" y="458763"/>
                  </a:cubicBezTo>
                  <a:lnTo>
                    <a:pt x="4467535" y="186527"/>
                  </a:lnTo>
                  <a:lnTo>
                    <a:pt x="4587827" y="186527"/>
                  </a:lnTo>
                  <a:lnTo>
                    <a:pt x="4587827" y="448538"/>
                  </a:lnTo>
                  <a:cubicBezTo>
                    <a:pt x="4587827" y="513797"/>
                    <a:pt x="4601113" y="562708"/>
                    <a:pt x="4668390" y="562708"/>
                  </a:cubicBezTo>
                  <a:cubicBezTo>
                    <a:pt x="4735668" y="562708"/>
                    <a:pt x="4748954" y="511712"/>
                    <a:pt x="4748954" y="452576"/>
                  </a:cubicBezTo>
                  <a:lnTo>
                    <a:pt x="4748954" y="186462"/>
                  </a:lnTo>
                  <a:lnTo>
                    <a:pt x="4869246" y="186462"/>
                  </a:lnTo>
                  <a:lnTo>
                    <a:pt x="4869246" y="667695"/>
                  </a:lnTo>
                  <a:close/>
                  <a:moveTo>
                    <a:pt x="5244449" y="527083"/>
                  </a:moveTo>
                  <a:lnTo>
                    <a:pt x="5227125" y="649458"/>
                  </a:lnTo>
                  <a:cubicBezTo>
                    <a:pt x="5202637" y="668802"/>
                    <a:pt x="5157829" y="677984"/>
                    <a:pt x="5128261" y="677984"/>
                  </a:cubicBezTo>
                  <a:cubicBezTo>
                    <a:pt x="5054861" y="677984"/>
                    <a:pt x="4997744" y="622951"/>
                    <a:pt x="4997744" y="535224"/>
                  </a:cubicBezTo>
                  <a:lnTo>
                    <a:pt x="4997744" y="301739"/>
                  </a:lnTo>
                  <a:lnTo>
                    <a:pt x="4928447" y="301739"/>
                  </a:lnTo>
                  <a:lnTo>
                    <a:pt x="4928447" y="186527"/>
                  </a:lnTo>
                  <a:lnTo>
                    <a:pt x="4997744" y="186527"/>
                  </a:lnTo>
                  <a:lnTo>
                    <a:pt x="4997744" y="61155"/>
                  </a:lnTo>
                  <a:lnTo>
                    <a:pt x="5118035" y="0"/>
                  </a:lnTo>
                  <a:lnTo>
                    <a:pt x="5118035" y="186592"/>
                  </a:lnTo>
                  <a:lnTo>
                    <a:pt x="5232205" y="186592"/>
                  </a:lnTo>
                  <a:lnTo>
                    <a:pt x="5232205" y="301804"/>
                  </a:lnTo>
                  <a:lnTo>
                    <a:pt x="5118035" y="301804"/>
                  </a:lnTo>
                  <a:lnTo>
                    <a:pt x="5118035" y="503701"/>
                  </a:lnTo>
                  <a:cubicBezTo>
                    <a:pt x="5118035" y="545514"/>
                    <a:pt x="5135360" y="560819"/>
                    <a:pt x="5164928" y="560819"/>
                  </a:cubicBezTo>
                  <a:cubicBezTo>
                    <a:pt x="5194496" y="560819"/>
                    <a:pt x="5225106" y="545514"/>
                    <a:pt x="5244449" y="527148"/>
                  </a:cubicBezTo>
                  <a:close/>
                  <a:moveTo>
                    <a:pt x="3417407" y="667825"/>
                  </a:moveTo>
                  <a:lnTo>
                    <a:pt x="3297116" y="667825"/>
                  </a:lnTo>
                  <a:lnTo>
                    <a:pt x="3297116" y="405814"/>
                  </a:lnTo>
                  <a:cubicBezTo>
                    <a:pt x="3297116" y="340555"/>
                    <a:pt x="3282853" y="292621"/>
                    <a:pt x="3215575" y="292621"/>
                  </a:cubicBezTo>
                  <a:cubicBezTo>
                    <a:pt x="3148298" y="292621"/>
                    <a:pt x="3132993" y="336452"/>
                    <a:pt x="3132993" y="402753"/>
                  </a:cubicBezTo>
                  <a:lnTo>
                    <a:pt x="3132993" y="667825"/>
                  </a:lnTo>
                  <a:lnTo>
                    <a:pt x="3012701" y="667825"/>
                  </a:lnTo>
                  <a:lnTo>
                    <a:pt x="3012701" y="61221"/>
                  </a:lnTo>
                  <a:lnTo>
                    <a:pt x="3132993" y="65"/>
                  </a:lnTo>
                  <a:lnTo>
                    <a:pt x="3132993" y="220264"/>
                  </a:lnTo>
                  <a:cubicBezTo>
                    <a:pt x="3159500" y="193756"/>
                    <a:pt x="3192129" y="176432"/>
                    <a:pt x="3246186" y="176432"/>
                  </a:cubicBezTo>
                  <a:cubicBezTo>
                    <a:pt x="3373641" y="176432"/>
                    <a:pt x="3417473" y="274320"/>
                    <a:pt x="3417473" y="396631"/>
                  </a:cubicBezTo>
                  <a:lnTo>
                    <a:pt x="3417473" y="667825"/>
                  </a:lnTo>
                  <a:close/>
                  <a:moveTo>
                    <a:pt x="5564554" y="1638365"/>
                  </a:moveTo>
                  <a:lnTo>
                    <a:pt x="5440160" y="1638365"/>
                  </a:lnTo>
                  <a:lnTo>
                    <a:pt x="5440160" y="1376355"/>
                  </a:lnTo>
                  <a:cubicBezTo>
                    <a:pt x="5440160" y="1309077"/>
                    <a:pt x="5424855" y="1264204"/>
                    <a:pt x="5357577" y="1264204"/>
                  </a:cubicBezTo>
                  <a:cubicBezTo>
                    <a:pt x="5294337" y="1264204"/>
                    <a:pt x="5273952" y="1301913"/>
                    <a:pt x="5273952" y="1373293"/>
                  </a:cubicBezTo>
                  <a:lnTo>
                    <a:pt x="5273952" y="1638365"/>
                  </a:lnTo>
                  <a:lnTo>
                    <a:pt x="5149558" y="1638365"/>
                  </a:lnTo>
                  <a:lnTo>
                    <a:pt x="5149558" y="1157133"/>
                  </a:lnTo>
                  <a:lnTo>
                    <a:pt x="5273952" y="1157133"/>
                  </a:lnTo>
                  <a:lnTo>
                    <a:pt x="5273952" y="1189762"/>
                  </a:lnTo>
                  <a:cubicBezTo>
                    <a:pt x="5299418" y="1164297"/>
                    <a:pt x="5337192" y="1146973"/>
                    <a:pt x="5391183" y="1146973"/>
                  </a:cubicBezTo>
                  <a:cubicBezTo>
                    <a:pt x="5521700" y="1146973"/>
                    <a:pt x="5564490" y="1247922"/>
                    <a:pt x="5564490" y="1366195"/>
                  </a:cubicBezTo>
                  <a:lnTo>
                    <a:pt x="5564490" y="1638430"/>
                  </a:lnTo>
                  <a:close/>
                  <a:moveTo>
                    <a:pt x="4008772" y="1115386"/>
                  </a:moveTo>
                  <a:cubicBezTo>
                    <a:pt x="4048565" y="1115386"/>
                    <a:pt x="4080152" y="1083798"/>
                    <a:pt x="4080152" y="1044005"/>
                  </a:cubicBezTo>
                  <a:cubicBezTo>
                    <a:pt x="4080152" y="1004212"/>
                    <a:pt x="4048565" y="972624"/>
                    <a:pt x="4008772" y="972624"/>
                  </a:cubicBezTo>
                  <a:cubicBezTo>
                    <a:pt x="3968978" y="972624"/>
                    <a:pt x="3937391" y="1004212"/>
                    <a:pt x="3937391" y="1044005"/>
                  </a:cubicBezTo>
                  <a:cubicBezTo>
                    <a:pt x="3937391" y="1083798"/>
                    <a:pt x="3968978" y="1115386"/>
                    <a:pt x="4008772" y="1115386"/>
                  </a:cubicBezTo>
                  <a:close/>
                  <a:moveTo>
                    <a:pt x="829864" y="1115386"/>
                  </a:moveTo>
                  <a:cubicBezTo>
                    <a:pt x="869657" y="1115386"/>
                    <a:pt x="901244" y="1083798"/>
                    <a:pt x="901244" y="1044005"/>
                  </a:cubicBezTo>
                  <a:cubicBezTo>
                    <a:pt x="901244" y="1004212"/>
                    <a:pt x="869657" y="972624"/>
                    <a:pt x="829864" y="972624"/>
                  </a:cubicBezTo>
                  <a:cubicBezTo>
                    <a:pt x="790070" y="972624"/>
                    <a:pt x="758483" y="1004212"/>
                    <a:pt x="758483" y="1044005"/>
                  </a:cubicBezTo>
                  <a:cubicBezTo>
                    <a:pt x="758483" y="1083798"/>
                    <a:pt x="790070" y="1115386"/>
                    <a:pt x="829864" y="1115386"/>
                  </a:cubicBezTo>
                  <a:close/>
                  <a:moveTo>
                    <a:pt x="6512756" y="426134"/>
                  </a:moveTo>
                  <a:cubicBezTo>
                    <a:pt x="6512756" y="441439"/>
                    <a:pt x="6511714" y="460782"/>
                    <a:pt x="6510737" y="467946"/>
                  </a:cubicBezTo>
                  <a:lnTo>
                    <a:pt x="6219158" y="467946"/>
                  </a:lnTo>
                  <a:cubicBezTo>
                    <a:pt x="6224238" y="535224"/>
                    <a:pt x="6270154" y="562773"/>
                    <a:pt x="6322126" y="562773"/>
                  </a:cubicBezTo>
                  <a:cubicBezTo>
                    <a:pt x="6352736" y="562773"/>
                    <a:pt x="6381262" y="553590"/>
                    <a:pt x="6405751" y="529102"/>
                  </a:cubicBezTo>
                  <a:lnTo>
                    <a:pt x="6491394" y="601459"/>
                  </a:lnTo>
                  <a:cubicBezTo>
                    <a:pt x="6446521" y="657535"/>
                    <a:pt x="6378201" y="677919"/>
                    <a:pt x="6317046" y="677919"/>
                  </a:cubicBezTo>
                  <a:cubicBezTo>
                    <a:pt x="6176369" y="677919"/>
                    <a:pt x="6095805" y="569872"/>
                    <a:pt x="6095805" y="428153"/>
                  </a:cubicBezTo>
                  <a:cubicBezTo>
                    <a:pt x="6095805" y="274190"/>
                    <a:pt x="6190632" y="176302"/>
                    <a:pt x="6308905" y="176302"/>
                  </a:cubicBezTo>
                  <a:cubicBezTo>
                    <a:pt x="6435319" y="176302"/>
                    <a:pt x="6512821" y="287411"/>
                    <a:pt x="6512821" y="426069"/>
                  </a:cubicBezTo>
                  <a:close/>
                  <a:moveTo>
                    <a:pt x="6221177" y="374162"/>
                  </a:moveTo>
                  <a:lnTo>
                    <a:pt x="6392465" y="374162"/>
                  </a:lnTo>
                  <a:cubicBezTo>
                    <a:pt x="6388361" y="320105"/>
                    <a:pt x="6353713" y="283438"/>
                    <a:pt x="6304802" y="283438"/>
                  </a:cubicBezTo>
                  <a:cubicBezTo>
                    <a:pt x="6246708" y="283438"/>
                    <a:pt x="6224238" y="334433"/>
                    <a:pt x="6221177" y="374162"/>
                  </a:cubicBezTo>
                  <a:close/>
                  <a:moveTo>
                    <a:pt x="5702235" y="667825"/>
                  </a:moveTo>
                  <a:lnTo>
                    <a:pt x="5583963" y="667825"/>
                  </a:lnTo>
                  <a:lnTo>
                    <a:pt x="5583963" y="634153"/>
                  </a:lnTo>
                  <a:cubicBezTo>
                    <a:pt x="5557456" y="663721"/>
                    <a:pt x="5514666" y="677984"/>
                    <a:pt x="5471812" y="677984"/>
                  </a:cubicBezTo>
                  <a:cubicBezTo>
                    <a:pt x="5347417" y="677984"/>
                    <a:pt x="5300525" y="588238"/>
                    <a:pt x="5300525" y="458763"/>
                  </a:cubicBezTo>
                  <a:lnTo>
                    <a:pt x="5300525" y="186527"/>
                  </a:lnTo>
                  <a:lnTo>
                    <a:pt x="5420817" y="186527"/>
                  </a:lnTo>
                  <a:lnTo>
                    <a:pt x="5420817" y="448538"/>
                  </a:lnTo>
                  <a:cubicBezTo>
                    <a:pt x="5420817" y="513797"/>
                    <a:pt x="5434103" y="562708"/>
                    <a:pt x="5501380" y="562708"/>
                  </a:cubicBezTo>
                  <a:cubicBezTo>
                    <a:pt x="5568657" y="562708"/>
                    <a:pt x="5581944" y="511712"/>
                    <a:pt x="5581944" y="452576"/>
                  </a:cubicBezTo>
                  <a:lnTo>
                    <a:pt x="5581944" y="186462"/>
                  </a:lnTo>
                  <a:lnTo>
                    <a:pt x="5702235" y="186462"/>
                  </a:lnTo>
                  <a:lnTo>
                    <a:pt x="5702235" y="667695"/>
                  </a:lnTo>
                  <a:close/>
                  <a:moveTo>
                    <a:pt x="3895579" y="426134"/>
                  </a:moveTo>
                  <a:cubicBezTo>
                    <a:pt x="3895579" y="441439"/>
                    <a:pt x="3894537" y="460782"/>
                    <a:pt x="3893560" y="467946"/>
                  </a:cubicBezTo>
                  <a:lnTo>
                    <a:pt x="3601981" y="467946"/>
                  </a:lnTo>
                  <a:cubicBezTo>
                    <a:pt x="3607061" y="535224"/>
                    <a:pt x="3652976" y="562773"/>
                    <a:pt x="3704949" y="562773"/>
                  </a:cubicBezTo>
                  <a:cubicBezTo>
                    <a:pt x="3735559" y="562773"/>
                    <a:pt x="3764085" y="553590"/>
                    <a:pt x="3788573" y="529102"/>
                  </a:cubicBezTo>
                  <a:lnTo>
                    <a:pt x="3874217" y="601459"/>
                  </a:lnTo>
                  <a:cubicBezTo>
                    <a:pt x="3829343" y="657535"/>
                    <a:pt x="3761024" y="677919"/>
                    <a:pt x="3699868" y="677919"/>
                  </a:cubicBezTo>
                  <a:cubicBezTo>
                    <a:pt x="3559192" y="677919"/>
                    <a:pt x="3478628" y="569872"/>
                    <a:pt x="3478628" y="428153"/>
                  </a:cubicBezTo>
                  <a:cubicBezTo>
                    <a:pt x="3478628" y="274190"/>
                    <a:pt x="3573455" y="176302"/>
                    <a:pt x="3691727" y="176302"/>
                  </a:cubicBezTo>
                  <a:cubicBezTo>
                    <a:pt x="3818141" y="176302"/>
                    <a:pt x="3895644" y="287411"/>
                    <a:pt x="3895644" y="426069"/>
                  </a:cubicBezTo>
                  <a:close/>
                  <a:moveTo>
                    <a:pt x="3604000" y="374162"/>
                  </a:moveTo>
                  <a:lnTo>
                    <a:pt x="3775287" y="374162"/>
                  </a:lnTo>
                  <a:cubicBezTo>
                    <a:pt x="3771184" y="320105"/>
                    <a:pt x="3736536" y="283438"/>
                    <a:pt x="3687624" y="283438"/>
                  </a:cubicBezTo>
                  <a:cubicBezTo>
                    <a:pt x="3629530" y="283438"/>
                    <a:pt x="3607061" y="334433"/>
                    <a:pt x="3604000" y="374162"/>
                  </a:cubicBezTo>
                  <a:close/>
                  <a:moveTo>
                    <a:pt x="4579686" y="1638365"/>
                  </a:moveTo>
                  <a:lnTo>
                    <a:pt x="4455291" y="1638365"/>
                  </a:lnTo>
                  <a:lnTo>
                    <a:pt x="4455291" y="1606778"/>
                  </a:lnTo>
                  <a:cubicBezTo>
                    <a:pt x="4414521" y="1636346"/>
                    <a:pt x="4390032" y="1648590"/>
                    <a:pt x="4346201" y="1648590"/>
                  </a:cubicBezTo>
                  <a:cubicBezTo>
                    <a:pt x="4207543" y="1648590"/>
                    <a:pt x="4148406" y="1528299"/>
                    <a:pt x="4148406" y="1393678"/>
                  </a:cubicBezTo>
                  <a:cubicBezTo>
                    <a:pt x="4148406" y="1247856"/>
                    <a:pt x="4217703" y="1146973"/>
                    <a:pt x="4343140" y="1146973"/>
                  </a:cubicBezTo>
                  <a:cubicBezTo>
                    <a:pt x="4384952" y="1146973"/>
                    <a:pt x="4424681" y="1158175"/>
                    <a:pt x="4455291" y="1185724"/>
                  </a:cubicBezTo>
                  <a:lnTo>
                    <a:pt x="4455291" y="1031761"/>
                  </a:lnTo>
                  <a:lnTo>
                    <a:pt x="4579686" y="969564"/>
                  </a:lnTo>
                  <a:lnTo>
                    <a:pt x="4579686" y="1638365"/>
                  </a:lnTo>
                  <a:close/>
                  <a:moveTo>
                    <a:pt x="4455356" y="1489547"/>
                  </a:moveTo>
                  <a:lnTo>
                    <a:pt x="4455356" y="1306016"/>
                  </a:lnTo>
                  <a:cubicBezTo>
                    <a:pt x="4428849" y="1277490"/>
                    <a:pt x="4403384" y="1264204"/>
                    <a:pt x="4368670" y="1264204"/>
                  </a:cubicBezTo>
                  <a:cubicBezTo>
                    <a:pt x="4296313" y="1264204"/>
                    <a:pt x="4278924" y="1321321"/>
                    <a:pt x="4278924" y="1389575"/>
                  </a:cubicBezTo>
                  <a:cubicBezTo>
                    <a:pt x="4278924" y="1467078"/>
                    <a:pt x="4301328" y="1531294"/>
                    <a:pt x="4371731" y="1531294"/>
                  </a:cubicBezTo>
                  <a:cubicBezTo>
                    <a:pt x="4406380" y="1531294"/>
                    <a:pt x="4430868" y="1515989"/>
                    <a:pt x="4455356" y="1489482"/>
                  </a:cubicBezTo>
                  <a:close/>
                  <a:moveTo>
                    <a:pt x="3945532" y="1157198"/>
                  </a:moveTo>
                  <a:lnTo>
                    <a:pt x="3945532" y="1638430"/>
                  </a:lnTo>
                  <a:lnTo>
                    <a:pt x="4069927" y="1638430"/>
                  </a:lnTo>
                  <a:lnTo>
                    <a:pt x="4069927" y="1157198"/>
                  </a:lnTo>
                  <a:lnTo>
                    <a:pt x="3945532" y="1157198"/>
                  </a:lnTo>
                  <a:close/>
                  <a:moveTo>
                    <a:pt x="3873175" y="985911"/>
                  </a:moveTo>
                  <a:lnTo>
                    <a:pt x="3873175" y="1085817"/>
                  </a:lnTo>
                  <a:cubicBezTo>
                    <a:pt x="3854809" y="1079695"/>
                    <a:pt x="3830386" y="1076634"/>
                    <a:pt x="3812019" y="1076634"/>
                  </a:cubicBezTo>
                  <a:cubicBezTo>
                    <a:pt x="3776329" y="1076634"/>
                    <a:pt x="3760047" y="1087836"/>
                    <a:pt x="3760047" y="1118447"/>
                  </a:cubicBezTo>
                  <a:lnTo>
                    <a:pt x="3760047" y="1157198"/>
                  </a:lnTo>
                  <a:lnTo>
                    <a:pt x="3863015" y="1157198"/>
                  </a:lnTo>
                  <a:lnTo>
                    <a:pt x="3863015" y="1273452"/>
                  </a:lnTo>
                  <a:lnTo>
                    <a:pt x="3760047" y="1273452"/>
                  </a:lnTo>
                  <a:lnTo>
                    <a:pt x="3760047" y="1638430"/>
                  </a:lnTo>
                  <a:lnTo>
                    <a:pt x="3635652" y="1638430"/>
                  </a:lnTo>
                  <a:lnTo>
                    <a:pt x="3635652" y="1273452"/>
                  </a:lnTo>
                  <a:lnTo>
                    <a:pt x="3568375" y="1273452"/>
                  </a:lnTo>
                  <a:lnTo>
                    <a:pt x="3568375" y="1157198"/>
                  </a:lnTo>
                  <a:lnTo>
                    <a:pt x="3635652" y="1157198"/>
                  </a:lnTo>
                  <a:lnTo>
                    <a:pt x="3635652" y="1099104"/>
                  </a:lnTo>
                  <a:cubicBezTo>
                    <a:pt x="3635652" y="1009357"/>
                    <a:pt x="3691727" y="972690"/>
                    <a:pt x="3782451" y="972690"/>
                  </a:cubicBezTo>
                  <a:cubicBezTo>
                    <a:pt x="3808958" y="972690"/>
                    <a:pt x="3847710" y="975751"/>
                    <a:pt x="3873175" y="985976"/>
                  </a:cubicBezTo>
                  <a:close/>
                  <a:moveTo>
                    <a:pt x="3507154" y="1638365"/>
                  </a:moveTo>
                  <a:lnTo>
                    <a:pt x="3382759" y="1638365"/>
                  </a:lnTo>
                  <a:lnTo>
                    <a:pt x="3382759" y="1376355"/>
                  </a:lnTo>
                  <a:cubicBezTo>
                    <a:pt x="3382759" y="1309077"/>
                    <a:pt x="3367454" y="1264204"/>
                    <a:pt x="3300177" y="1264204"/>
                  </a:cubicBezTo>
                  <a:cubicBezTo>
                    <a:pt x="3236937" y="1264204"/>
                    <a:pt x="3216552" y="1301913"/>
                    <a:pt x="3216552" y="1373293"/>
                  </a:cubicBezTo>
                  <a:lnTo>
                    <a:pt x="3216552" y="1638365"/>
                  </a:lnTo>
                  <a:lnTo>
                    <a:pt x="3092157" y="1638365"/>
                  </a:lnTo>
                  <a:lnTo>
                    <a:pt x="3092157" y="1157133"/>
                  </a:lnTo>
                  <a:lnTo>
                    <a:pt x="3216552" y="1157133"/>
                  </a:lnTo>
                  <a:lnTo>
                    <a:pt x="3216552" y="1189762"/>
                  </a:lnTo>
                  <a:cubicBezTo>
                    <a:pt x="3242017" y="1164297"/>
                    <a:pt x="3279792" y="1146973"/>
                    <a:pt x="3333783" y="1146973"/>
                  </a:cubicBezTo>
                  <a:cubicBezTo>
                    <a:pt x="3464300" y="1146973"/>
                    <a:pt x="3507089" y="1247922"/>
                    <a:pt x="3507089" y="1366195"/>
                  </a:cubicBezTo>
                  <a:lnTo>
                    <a:pt x="3507089" y="1638430"/>
                  </a:lnTo>
                  <a:close/>
                  <a:moveTo>
                    <a:pt x="2792437" y="1146973"/>
                  </a:moveTo>
                  <a:cubicBezTo>
                    <a:pt x="2653779" y="1146973"/>
                    <a:pt x="2567094" y="1256063"/>
                    <a:pt x="2567094" y="1397782"/>
                  </a:cubicBezTo>
                  <a:cubicBezTo>
                    <a:pt x="2567094" y="1546665"/>
                    <a:pt x="2661920" y="1648590"/>
                    <a:pt x="2792437" y="1648590"/>
                  </a:cubicBezTo>
                  <a:cubicBezTo>
                    <a:pt x="2922954" y="1648590"/>
                    <a:pt x="3017781" y="1546665"/>
                    <a:pt x="3017781" y="1397782"/>
                  </a:cubicBezTo>
                  <a:cubicBezTo>
                    <a:pt x="3017781" y="1248899"/>
                    <a:pt x="2931095" y="1146973"/>
                    <a:pt x="2792437" y="1146973"/>
                  </a:cubicBezTo>
                  <a:close/>
                  <a:moveTo>
                    <a:pt x="2792437" y="1528299"/>
                  </a:moveTo>
                  <a:cubicBezTo>
                    <a:pt x="2712916" y="1528299"/>
                    <a:pt x="2695592" y="1451838"/>
                    <a:pt x="2695592" y="1397782"/>
                  </a:cubicBezTo>
                  <a:cubicBezTo>
                    <a:pt x="2695592" y="1323340"/>
                    <a:pt x="2726202" y="1266288"/>
                    <a:pt x="2792437" y="1266288"/>
                  </a:cubicBezTo>
                  <a:cubicBezTo>
                    <a:pt x="2858673" y="1266288"/>
                    <a:pt x="2889283" y="1323405"/>
                    <a:pt x="2889283" y="1397782"/>
                  </a:cubicBezTo>
                  <a:cubicBezTo>
                    <a:pt x="2889283" y="1451838"/>
                    <a:pt x="2871959" y="1528299"/>
                    <a:pt x="2792437" y="1528299"/>
                  </a:cubicBezTo>
                  <a:close/>
                  <a:moveTo>
                    <a:pt x="2446802" y="1467143"/>
                  </a:moveTo>
                  <a:lnTo>
                    <a:pt x="2526323" y="1542561"/>
                  </a:lnTo>
                  <a:cubicBezTo>
                    <a:pt x="2485553" y="1594534"/>
                    <a:pt x="2429478" y="1648590"/>
                    <a:pt x="2334651" y="1648590"/>
                  </a:cubicBezTo>
                  <a:cubicBezTo>
                    <a:pt x="2203157" y="1648590"/>
                    <a:pt x="2106246" y="1543604"/>
                    <a:pt x="2106246" y="1398823"/>
                  </a:cubicBezTo>
                  <a:cubicBezTo>
                    <a:pt x="2106246" y="1266288"/>
                    <a:pt x="2186810" y="1146973"/>
                    <a:pt x="2336670" y="1146973"/>
                  </a:cubicBezTo>
                  <a:cubicBezTo>
                    <a:pt x="2422314" y="1146973"/>
                    <a:pt x="2481450" y="1185724"/>
                    <a:pt x="2525281" y="1250983"/>
                  </a:cubicBezTo>
                  <a:lnTo>
                    <a:pt x="2443741" y="1333565"/>
                  </a:lnTo>
                  <a:cubicBezTo>
                    <a:pt x="2415215" y="1295856"/>
                    <a:pt x="2384604" y="1266288"/>
                    <a:pt x="2335693" y="1266288"/>
                  </a:cubicBezTo>
                  <a:cubicBezTo>
                    <a:pt x="2269393" y="1266288"/>
                    <a:pt x="2234744" y="1322363"/>
                    <a:pt x="2234744" y="1396804"/>
                  </a:cubicBezTo>
                  <a:cubicBezTo>
                    <a:pt x="2234744" y="1466101"/>
                    <a:pt x="2265355" y="1528299"/>
                    <a:pt x="2336670" y="1528299"/>
                  </a:cubicBezTo>
                  <a:cubicBezTo>
                    <a:pt x="2380501" y="1528299"/>
                    <a:pt x="2417234" y="1504852"/>
                    <a:pt x="2446802" y="1467143"/>
                  </a:cubicBezTo>
                  <a:close/>
                  <a:moveTo>
                    <a:pt x="1803530" y="1638365"/>
                  </a:moveTo>
                  <a:lnTo>
                    <a:pt x="1679135" y="1638365"/>
                  </a:lnTo>
                  <a:lnTo>
                    <a:pt x="1679135" y="1376355"/>
                  </a:lnTo>
                  <a:cubicBezTo>
                    <a:pt x="1679135" y="1309077"/>
                    <a:pt x="1663830" y="1264204"/>
                    <a:pt x="1596553" y="1264204"/>
                  </a:cubicBezTo>
                  <a:cubicBezTo>
                    <a:pt x="1533314" y="1264204"/>
                    <a:pt x="1511951" y="1301913"/>
                    <a:pt x="1511951" y="1373293"/>
                  </a:cubicBezTo>
                  <a:lnTo>
                    <a:pt x="1511951" y="1638365"/>
                  </a:lnTo>
                  <a:lnTo>
                    <a:pt x="1387557" y="1638365"/>
                  </a:lnTo>
                  <a:lnTo>
                    <a:pt x="1387557" y="1031761"/>
                  </a:lnTo>
                  <a:lnTo>
                    <a:pt x="1511951" y="969564"/>
                  </a:lnTo>
                  <a:lnTo>
                    <a:pt x="1511951" y="1189762"/>
                  </a:lnTo>
                  <a:cubicBezTo>
                    <a:pt x="1535398" y="1161236"/>
                    <a:pt x="1584309" y="1146973"/>
                    <a:pt x="1632243" y="1146973"/>
                  </a:cubicBezTo>
                  <a:cubicBezTo>
                    <a:pt x="1758657" y="1146973"/>
                    <a:pt x="1803530" y="1246880"/>
                    <a:pt x="1803530" y="1366195"/>
                  </a:cubicBezTo>
                  <a:lnTo>
                    <a:pt x="1803530" y="1638430"/>
                  </a:lnTo>
                  <a:close/>
                  <a:moveTo>
                    <a:pt x="1311031" y="1493650"/>
                  </a:moveTo>
                  <a:lnTo>
                    <a:pt x="1292665" y="1619022"/>
                  </a:lnTo>
                  <a:cubicBezTo>
                    <a:pt x="1267200" y="1639407"/>
                    <a:pt x="1205979" y="1648590"/>
                    <a:pt x="1173350" y="1648590"/>
                  </a:cubicBezTo>
                  <a:cubicBezTo>
                    <a:pt x="1097931" y="1648590"/>
                    <a:pt x="1043875" y="1588412"/>
                    <a:pt x="1043875" y="1504852"/>
                  </a:cubicBezTo>
                  <a:lnTo>
                    <a:pt x="1043875" y="1273387"/>
                  </a:lnTo>
                  <a:lnTo>
                    <a:pt x="960250" y="1273387"/>
                  </a:lnTo>
                  <a:lnTo>
                    <a:pt x="960250" y="1157133"/>
                  </a:lnTo>
                  <a:lnTo>
                    <a:pt x="1043875" y="1157133"/>
                  </a:lnTo>
                  <a:lnTo>
                    <a:pt x="1043875" y="1031761"/>
                  </a:lnTo>
                  <a:lnTo>
                    <a:pt x="1168270" y="969564"/>
                  </a:lnTo>
                  <a:lnTo>
                    <a:pt x="1168270" y="1157133"/>
                  </a:lnTo>
                  <a:lnTo>
                    <a:pt x="1308947" y="1157133"/>
                  </a:lnTo>
                  <a:lnTo>
                    <a:pt x="1308947" y="1273387"/>
                  </a:lnTo>
                  <a:lnTo>
                    <a:pt x="1168270" y="1273387"/>
                  </a:lnTo>
                  <a:lnTo>
                    <a:pt x="1168270" y="1471181"/>
                  </a:lnTo>
                  <a:cubicBezTo>
                    <a:pt x="1168270" y="1515012"/>
                    <a:pt x="1184552" y="1529275"/>
                    <a:pt x="1214120" y="1529275"/>
                  </a:cubicBezTo>
                  <a:cubicBezTo>
                    <a:pt x="1243688" y="1529275"/>
                    <a:pt x="1289539" y="1513970"/>
                    <a:pt x="1310966" y="1493585"/>
                  </a:cubicBezTo>
                  <a:close/>
                  <a:moveTo>
                    <a:pt x="767666" y="1157198"/>
                  </a:moveTo>
                  <a:lnTo>
                    <a:pt x="767666" y="1638430"/>
                  </a:lnTo>
                  <a:lnTo>
                    <a:pt x="892061" y="1638430"/>
                  </a:lnTo>
                  <a:lnTo>
                    <a:pt x="892061" y="1157198"/>
                  </a:lnTo>
                  <a:lnTo>
                    <a:pt x="767666" y="1157198"/>
                  </a:lnTo>
                  <a:close/>
                  <a:moveTo>
                    <a:pt x="702408" y="1157198"/>
                  </a:moveTo>
                  <a:lnTo>
                    <a:pt x="550529" y="1638430"/>
                  </a:lnTo>
                  <a:lnTo>
                    <a:pt x="436359" y="1638430"/>
                  </a:lnTo>
                  <a:lnTo>
                    <a:pt x="354819" y="1345809"/>
                  </a:lnTo>
                  <a:lnTo>
                    <a:pt x="272236" y="1638430"/>
                  </a:lnTo>
                  <a:lnTo>
                    <a:pt x="158066" y="1638430"/>
                  </a:lnTo>
                  <a:lnTo>
                    <a:pt x="7099" y="1157198"/>
                  </a:lnTo>
                  <a:lnTo>
                    <a:pt x="145757" y="1157198"/>
                  </a:lnTo>
                  <a:lnTo>
                    <a:pt x="218114" y="1436533"/>
                  </a:lnTo>
                  <a:lnTo>
                    <a:pt x="299655" y="1157198"/>
                  </a:lnTo>
                  <a:lnTo>
                    <a:pt x="412848" y="1157198"/>
                  </a:lnTo>
                  <a:lnTo>
                    <a:pt x="494388" y="1436533"/>
                  </a:lnTo>
                  <a:lnTo>
                    <a:pt x="567788" y="1157198"/>
                  </a:lnTo>
                  <a:lnTo>
                    <a:pt x="702343" y="1157198"/>
                  </a:lnTo>
                  <a:close/>
                  <a:moveTo>
                    <a:pt x="4436990" y="16282"/>
                  </a:moveTo>
                  <a:lnTo>
                    <a:pt x="4436990" y="115147"/>
                  </a:lnTo>
                  <a:cubicBezTo>
                    <a:pt x="4409441" y="107983"/>
                    <a:pt x="4391139" y="104921"/>
                    <a:pt x="4374792" y="104921"/>
                  </a:cubicBezTo>
                  <a:cubicBezTo>
                    <a:pt x="4332003" y="104921"/>
                    <a:pt x="4322820" y="120227"/>
                    <a:pt x="4322820" y="144715"/>
                  </a:cubicBezTo>
                  <a:lnTo>
                    <a:pt x="4322820" y="186527"/>
                  </a:lnTo>
                  <a:lnTo>
                    <a:pt x="4404361" y="186527"/>
                  </a:lnTo>
                  <a:lnTo>
                    <a:pt x="4404361" y="302781"/>
                  </a:lnTo>
                  <a:lnTo>
                    <a:pt x="4322820" y="302781"/>
                  </a:lnTo>
                  <a:lnTo>
                    <a:pt x="4322820" y="667759"/>
                  </a:lnTo>
                  <a:lnTo>
                    <a:pt x="4202528" y="667759"/>
                  </a:lnTo>
                  <a:lnTo>
                    <a:pt x="4202528" y="302781"/>
                  </a:lnTo>
                  <a:lnTo>
                    <a:pt x="4143392" y="302781"/>
                  </a:lnTo>
                  <a:lnTo>
                    <a:pt x="4143392" y="186527"/>
                  </a:lnTo>
                  <a:lnTo>
                    <a:pt x="4202528" y="186527"/>
                  </a:lnTo>
                  <a:lnTo>
                    <a:pt x="4202528" y="128433"/>
                  </a:lnTo>
                  <a:cubicBezTo>
                    <a:pt x="4202528" y="44808"/>
                    <a:pt x="4246360" y="2019"/>
                    <a:pt x="4348350" y="2019"/>
                  </a:cubicBezTo>
                  <a:cubicBezTo>
                    <a:pt x="4380980" y="2019"/>
                    <a:pt x="4407487" y="8141"/>
                    <a:pt x="4437055" y="16282"/>
                  </a:cubicBezTo>
                  <a:close/>
                  <a:moveTo>
                    <a:pt x="2957602" y="527083"/>
                  </a:moveTo>
                  <a:lnTo>
                    <a:pt x="2940278" y="649458"/>
                  </a:lnTo>
                  <a:cubicBezTo>
                    <a:pt x="2915790" y="668802"/>
                    <a:pt x="2873001" y="677984"/>
                    <a:pt x="2843433" y="677984"/>
                  </a:cubicBezTo>
                  <a:cubicBezTo>
                    <a:pt x="2770033" y="677984"/>
                    <a:pt x="2712916" y="622951"/>
                    <a:pt x="2712916" y="535224"/>
                  </a:cubicBezTo>
                  <a:lnTo>
                    <a:pt x="2712916" y="301739"/>
                  </a:lnTo>
                  <a:lnTo>
                    <a:pt x="2629291" y="301739"/>
                  </a:lnTo>
                  <a:lnTo>
                    <a:pt x="2629291" y="186527"/>
                  </a:lnTo>
                  <a:lnTo>
                    <a:pt x="2712916" y="186527"/>
                  </a:lnTo>
                  <a:lnTo>
                    <a:pt x="2712916" y="61155"/>
                  </a:lnTo>
                  <a:lnTo>
                    <a:pt x="2833208" y="0"/>
                  </a:lnTo>
                  <a:lnTo>
                    <a:pt x="2833208" y="186592"/>
                  </a:lnTo>
                  <a:lnTo>
                    <a:pt x="2945358" y="186592"/>
                  </a:lnTo>
                  <a:lnTo>
                    <a:pt x="2945358" y="301804"/>
                  </a:lnTo>
                  <a:lnTo>
                    <a:pt x="2833208" y="301804"/>
                  </a:lnTo>
                  <a:lnTo>
                    <a:pt x="2833208" y="503701"/>
                  </a:lnTo>
                  <a:cubicBezTo>
                    <a:pt x="2833208" y="545514"/>
                    <a:pt x="2850532" y="560819"/>
                    <a:pt x="2880100" y="560819"/>
                  </a:cubicBezTo>
                  <a:cubicBezTo>
                    <a:pt x="2909668" y="560819"/>
                    <a:pt x="2938194" y="545514"/>
                    <a:pt x="2957602" y="527148"/>
                  </a:cubicBezTo>
                  <a:close/>
                  <a:moveTo>
                    <a:pt x="2397891" y="426134"/>
                  </a:moveTo>
                  <a:cubicBezTo>
                    <a:pt x="2397891" y="441439"/>
                    <a:pt x="2396849" y="460782"/>
                    <a:pt x="2395872" y="467946"/>
                  </a:cubicBezTo>
                  <a:lnTo>
                    <a:pt x="2114453" y="467946"/>
                  </a:lnTo>
                  <a:cubicBezTo>
                    <a:pt x="2119533" y="535224"/>
                    <a:pt x="2166425" y="562773"/>
                    <a:pt x="2218462" y="562773"/>
                  </a:cubicBezTo>
                  <a:cubicBezTo>
                    <a:pt x="2249073" y="562773"/>
                    <a:pt x="2276557" y="553590"/>
                    <a:pt x="2301045" y="529102"/>
                  </a:cubicBezTo>
                  <a:lnTo>
                    <a:pt x="2386689" y="601459"/>
                  </a:lnTo>
                  <a:cubicBezTo>
                    <a:pt x="2346895" y="654473"/>
                    <a:pt x="2274538" y="677919"/>
                    <a:pt x="2210321" y="677919"/>
                  </a:cubicBezTo>
                  <a:cubicBezTo>
                    <a:pt x="2072705" y="677919"/>
                    <a:pt x="1991100" y="569872"/>
                    <a:pt x="1991100" y="429130"/>
                  </a:cubicBezTo>
                  <a:cubicBezTo>
                    <a:pt x="1991100" y="288388"/>
                    <a:pt x="2079804" y="176302"/>
                    <a:pt x="2205176" y="176302"/>
                  </a:cubicBezTo>
                  <a:cubicBezTo>
                    <a:pt x="2339731" y="176302"/>
                    <a:pt x="2397891" y="298678"/>
                    <a:pt x="2397891" y="426069"/>
                  </a:cubicBezTo>
                  <a:close/>
                  <a:moveTo>
                    <a:pt x="2116472" y="374162"/>
                  </a:moveTo>
                  <a:lnTo>
                    <a:pt x="2287759" y="374162"/>
                  </a:lnTo>
                  <a:cubicBezTo>
                    <a:pt x="2282679" y="320105"/>
                    <a:pt x="2251027" y="283438"/>
                    <a:pt x="2199054" y="283438"/>
                  </a:cubicBezTo>
                  <a:cubicBezTo>
                    <a:pt x="2144021" y="283438"/>
                    <a:pt x="2119533" y="334433"/>
                    <a:pt x="2116472" y="374162"/>
                  </a:cubicBezTo>
                  <a:close/>
                  <a:moveTo>
                    <a:pt x="1933982" y="428218"/>
                  </a:moveTo>
                  <a:cubicBezTo>
                    <a:pt x="1933982" y="551571"/>
                    <a:pt x="1882987" y="677984"/>
                    <a:pt x="1746413" y="677984"/>
                  </a:cubicBezTo>
                  <a:cubicBezTo>
                    <a:pt x="1693399" y="677984"/>
                    <a:pt x="1660769" y="658642"/>
                    <a:pt x="1639342" y="638191"/>
                  </a:cubicBezTo>
                  <a:lnTo>
                    <a:pt x="1639342" y="784990"/>
                  </a:lnTo>
                  <a:lnTo>
                    <a:pt x="1519050" y="845169"/>
                  </a:lnTo>
                  <a:lnTo>
                    <a:pt x="1519050" y="186527"/>
                  </a:lnTo>
                  <a:lnTo>
                    <a:pt x="1639342" y="186527"/>
                  </a:lnTo>
                  <a:lnTo>
                    <a:pt x="1639342" y="219157"/>
                  </a:lnTo>
                  <a:cubicBezTo>
                    <a:pt x="1670929" y="190630"/>
                    <a:pt x="1703559" y="176367"/>
                    <a:pt x="1748432" y="176367"/>
                  </a:cubicBezTo>
                  <a:cubicBezTo>
                    <a:pt x="1877907" y="176367"/>
                    <a:pt x="1933982" y="298743"/>
                    <a:pt x="1933982" y="428218"/>
                  </a:cubicBezTo>
                  <a:close/>
                  <a:moveTo>
                    <a:pt x="1809587" y="434340"/>
                  </a:moveTo>
                  <a:cubicBezTo>
                    <a:pt x="1809587" y="364002"/>
                    <a:pt x="1791221" y="292621"/>
                    <a:pt x="1718864" y="292621"/>
                  </a:cubicBezTo>
                  <a:cubicBezTo>
                    <a:pt x="1685193" y="292621"/>
                    <a:pt x="1658685" y="307926"/>
                    <a:pt x="1639342" y="335410"/>
                  </a:cubicBezTo>
                  <a:lnTo>
                    <a:pt x="1639342" y="518942"/>
                  </a:lnTo>
                  <a:cubicBezTo>
                    <a:pt x="1658685" y="546491"/>
                    <a:pt x="1691315" y="562773"/>
                    <a:pt x="1726028" y="562773"/>
                  </a:cubicBezTo>
                  <a:cubicBezTo>
                    <a:pt x="1793305" y="562773"/>
                    <a:pt x="1809652" y="501618"/>
                    <a:pt x="1809652" y="434340"/>
                  </a:cubicBezTo>
                  <a:close/>
                  <a:moveTo>
                    <a:pt x="1435426" y="667825"/>
                  </a:moveTo>
                  <a:lnTo>
                    <a:pt x="1315134" y="667825"/>
                  </a:lnTo>
                  <a:lnTo>
                    <a:pt x="1315134" y="634153"/>
                  </a:lnTo>
                  <a:cubicBezTo>
                    <a:pt x="1286608" y="662680"/>
                    <a:pt x="1249876" y="677984"/>
                    <a:pt x="1202983" y="677984"/>
                  </a:cubicBezTo>
                  <a:cubicBezTo>
                    <a:pt x="1108157" y="677984"/>
                    <a:pt x="1033715" y="616829"/>
                    <a:pt x="1033715" y="510800"/>
                  </a:cubicBezTo>
                  <a:cubicBezTo>
                    <a:pt x="1033715" y="404772"/>
                    <a:pt x="1106072" y="348696"/>
                    <a:pt x="1221284" y="348696"/>
                  </a:cubicBezTo>
                  <a:cubicBezTo>
                    <a:pt x="1251894" y="348696"/>
                    <a:pt x="1283482" y="352799"/>
                    <a:pt x="1315069" y="368040"/>
                  </a:cubicBezTo>
                  <a:lnTo>
                    <a:pt x="1315069" y="342574"/>
                  </a:lnTo>
                  <a:cubicBezTo>
                    <a:pt x="1315069" y="297701"/>
                    <a:pt x="1285501" y="279335"/>
                    <a:pt x="1232486" y="279335"/>
                  </a:cubicBezTo>
                  <a:cubicBezTo>
                    <a:pt x="1194777" y="279335"/>
                    <a:pt x="1159087" y="288518"/>
                    <a:pt x="1121378" y="310922"/>
                  </a:cubicBezTo>
                  <a:lnTo>
                    <a:pt x="1073443" y="225278"/>
                  </a:lnTo>
                  <a:cubicBezTo>
                    <a:pt x="1125416" y="192649"/>
                    <a:pt x="1175369" y="176367"/>
                    <a:pt x="1239650" y="176367"/>
                  </a:cubicBezTo>
                  <a:cubicBezTo>
                    <a:pt x="1360984" y="176367"/>
                    <a:pt x="1435426" y="235503"/>
                    <a:pt x="1435426" y="344593"/>
                  </a:cubicBezTo>
                  <a:lnTo>
                    <a:pt x="1435426" y="667759"/>
                  </a:lnTo>
                  <a:close/>
                  <a:moveTo>
                    <a:pt x="1315134" y="527083"/>
                  </a:moveTo>
                  <a:lnTo>
                    <a:pt x="1315134" y="465927"/>
                  </a:lnTo>
                  <a:cubicBezTo>
                    <a:pt x="1290646" y="450622"/>
                    <a:pt x="1259059" y="445542"/>
                    <a:pt x="1234570" y="445542"/>
                  </a:cubicBezTo>
                  <a:cubicBezTo>
                    <a:pt x="1181556" y="445542"/>
                    <a:pt x="1156091" y="468988"/>
                    <a:pt x="1156091" y="507740"/>
                  </a:cubicBezTo>
                  <a:cubicBezTo>
                    <a:pt x="1156091" y="544472"/>
                    <a:pt x="1179537" y="574040"/>
                    <a:pt x="1224410" y="574040"/>
                  </a:cubicBezTo>
                  <a:cubicBezTo>
                    <a:pt x="1247857" y="574040"/>
                    <a:pt x="1288627" y="565899"/>
                    <a:pt x="1315134" y="527148"/>
                  </a:cubicBezTo>
                  <a:close/>
                  <a:moveTo>
                    <a:pt x="967480" y="667825"/>
                  </a:moveTo>
                  <a:lnTo>
                    <a:pt x="847188" y="667825"/>
                  </a:lnTo>
                  <a:lnTo>
                    <a:pt x="847188" y="405814"/>
                  </a:lnTo>
                  <a:cubicBezTo>
                    <a:pt x="847188" y="340555"/>
                    <a:pt x="832925" y="292621"/>
                    <a:pt x="765647" y="292621"/>
                  </a:cubicBezTo>
                  <a:cubicBezTo>
                    <a:pt x="698370" y="292621"/>
                    <a:pt x="683065" y="336452"/>
                    <a:pt x="683065" y="402753"/>
                  </a:cubicBezTo>
                  <a:lnTo>
                    <a:pt x="683065" y="667825"/>
                  </a:lnTo>
                  <a:lnTo>
                    <a:pt x="562773" y="667825"/>
                  </a:lnTo>
                  <a:lnTo>
                    <a:pt x="562773" y="61221"/>
                  </a:lnTo>
                  <a:lnTo>
                    <a:pt x="683065" y="65"/>
                  </a:lnTo>
                  <a:lnTo>
                    <a:pt x="683065" y="220264"/>
                  </a:lnTo>
                  <a:cubicBezTo>
                    <a:pt x="709572" y="193756"/>
                    <a:pt x="742201" y="176432"/>
                    <a:pt x="796258" y="176432"/>
                  </a:cubicBezTo>
                  <a:cubicBezTo>
                    <a:pt x="923713" y="176432"/>
                    <a:pt x="967545" y="274320"/>
                    <a:pt x="967545" y="396631"/>
                  </a:cubicBezTo>
                  <a:lnTo>
                    <a:pt x="967545" y="667825"/>
                  </a:lnTo>
                  <a:close/>
                  <a:moveTo>
                    <a:pt x="496472" y="475110"/>
                  </a:moveTo>
                  <a:cubicBezTo>
                    <a:pt x="496472" y="619890"/>
                    <a:pt x="386341" y="677984"/>
                    <a:pt x="255889" y="677984"/>
                  </a:cubicBezTo>
                  <a:cubicBezTo>
                    <a:pt x="162104" y="677984"/>
                    <a:pt x="58094" y="648416"/>
                    <a:pt x="0" y="562773"/>
                  </a:cubicBezTo>
                  <a:lnTo>
                    <a:pt x="89747" y="483251"/>
                  </a:lnTo>
                  <a:cubicBezTo>
                    <a:pt x="131559" y="533205"/>
                    <a:pt x="191672" y="556651"/>
                    <a:pt x="252893" y="556651"/>
                  </a:cubicBezTo>
                  <a:cubicBezTo>
                    <a:pt x="325250" y="556651"/>
                    <a:pt x="367063" y="524022"/>
                    <a:pt x="367063" y="478171"/>
                  </a:cubicBezTo>
                  <a:cubicBezTo>
                    <a:pt x="367063" y="459805"/>
                    <a:pt x="359899" y="441439"/>
                    <a:pt x="329353" y="426199"/>
                  </a:cubicBezTo>
                  <a:cubicBezTo>
                    <a:pt x="306949" y="414997"/>
                    <a:pt x="279400" y="407833"/>
                    <a:pt x="225344" y="394612"/>
                  </a:cubicBezTo>
                  <a:cubicBezTo>
                    <a:pt x="191672" y="386471"/>
                    <a:pt x="122376" y="370124"/>
                    <a:pt x="79522" y="335475"/>
                  </a:cubicBezTo>
                  <a:cubicBezTo>
                    <a:pt x="36732" y="300827"/>
                    <a:pt x="24488" y="250874"/>
                    <a:pt x="24488" y="207042"/>
                  </a:cubicBezTo>
                  <a:cubicBezTo>
                    <a:pt x="24488" y="71445"/>
                    <a:pt x="140742" y="16412"/>
                    <a:pt x="254912" y="16412"/>
                  </a:cubicBezTo>
                  <a:cubicBezTo>
                    <a:pt x="353776" y="16412"/>
                    <a:pt x="425157" y="57182"/>
                    <a:pt x="482274" y="115277"/>
                  </a:cubicBezTo>
                  <a:lnTo>
                    <a:pt x="392528" y="202939"/>
                  </a:lnTo>
                  <a:cubicBezTo>
                    <a:pt x="350715" y="161127"/>
                    <a:pt x="309945" y="137681"/>
                    <a:pt x="246706" y="137681"/>
                  </a:cubicBezTo>
                  <a:cubicBezTo>
                    <a:pt x="192649" y="137681"/>
                    <a:pt x="152921" y="155005"/>
                    <a:pt x="152921" y="199878"/>
                  </a:cubicBezTo>
                  <a:cubicBezTo>
                    <a:pt x="152921" y="219221"/>
                    <a:pt x="160085" y="232508"/>
                    <a:pt x="179428" y="243710"/>
                  </a:cubicBezTo>
                  <a:cubicBezTo>
                    <a:pt x="201832" y="255954"/>
                    <a:pt x="233485" y="265137"/>
                    <a:pt x="282396" y="277381"/>
                  </a:cubicBezTo>
                  <a:cubicBezTo>
                    <a:pt x="340490" y="292686"/>
                    <a:pt x="394547" y="305907"/>
                    <a:pt x="438378" y="341598"/>
                  </a:cubicBezTo>
                  <a:cubicBezTo>
                    <a:pt x="477129" y="373185"/>
                    <a:pt x="496472" y="414997"/>
                    <a:pt x="496472" y="475176"/>
                  </a:cubicBezTo>
                  <a:close/>
                  <a:moveTo>
                    <a:pt x="6100885" y="208996"/>
                  </a:moveTo>
                  <a:lnTo>
                    <a:pt x="6051778" y="329288"/>
                  </a:lnTo>
                  <a:cubicBezTo>
                    <a:pt x="6033413" y="311964"/>
                    <a:pt x="6011985" y="299720"/>
                    <a:pt x="5982482" y="299720"/>
                  </a:cubicBezTo>
                  <a:cubicBezTo>
                    <a:pt x="5925365" y="299720"/>
                    <a:pt x="5911232" y="347654"/>
                    <a:pt x="5911232" y="405749"/>
                  </a:cubicBezTo>
                  <a:lnTo>
                    <a:pt x="5911232" y="667759"/>
                  </a:lnTo>
                  <a:lnTo>
                    <a:pt x="5790940" y="667759"/>
                  </a:lnTo>
                  <a:lnTo>
                    <a:pt x="5790940" y="186527"/>
                  </a:lnTo>
                  <a:lnTo>
                    <a:pt x="5911232" y="186527"/>
                  </a:lnTo>
                  <a:lnTo>
                    <a:pt x="5911232" y="220198"/>
                  </a:lnTo>
                  <a:cubicBezTo>
                    <a:pt x="5938781" y="192649"/>
                    <a:pt x="5973429" y="176367"/>
                    <a:pt x="6012181" y="176367"/>
                  </a:cubicBezTo>
                  <a:cubicBezTo>
                    <a:pt x="6045852" y="176367"/>
                    <a:pt x="6075420" y="186592"/>
                    <a:pt x="6100885" y="208996"/>
                  </a:cubicBezTo>
                  <a:close/>
                </a:path>
              </a:pathLst>
            </a:custGeom>
            <a:solidFill>
              <a:srgbClr val="FFFFFF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6996836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rame Yellow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E4089FD7-604E-6D50-B8E8-386FF8CEA9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9938084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80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0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n-US" sz="1200" b="1">
              <a:solidFill>
                <a:schemeClr val="tx1"/>
              </a:solidFill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316936F3-C182-891A-97A0-CF098568C803}"/>
              </a:ext>
            </a:extLst>
          </p:cNvPr>
          <p:cNvGrpSpPr/>
          <p:nvPr userDrawn="1"/>
        </p:nvGrpSpPr>
        <p:grpSpPr>
          <a:xfrm>
            <a:off x="485775" y="6164633"/>
            <a:ext cx="4940935" cy="318770"/>
            <a:chOff x="485775" y="6164633"/>
            <a:chExt cx="4940935" cy="318770"/>
          </a:xfrm>
        </p:grpSpPr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BDF3ED9A-57E4-25C5-BC4E-AC1C77798191}"/>
                </a:ext>
              </a:extLst>
            </p:cNvPr>
            <p:cNvSpPr/>
            <p:nvPr userDrawn="1"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F8AD9B21-63CE-8D03-9802-DB2391C6BC13}"/>
                </a:ext>
              </a:extLst>
            </p:cNvPr>
            <p:cNvSpPr/>
            <p:nvPr userDrawn="1"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chemeClr val="bg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28" name="Subtitle 2">
            <a:extLst>
              <a:ext uri="{FF2B5EF4-FFF2-40B4-BE49-F238E27FC236}">
                <a16:creationId xmlns:a16="http://schemas.microsoft.com/office/drawing/2014/main" id="{632E76BF-46D5-8E94-88AA-4783DD302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89762" y="4436485"/>
            <a:ext cx="4907628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edit master subtitle style</a:t>
            </a:r>
            <a:endParaRPr lang="en-US" dirty="0"/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1F7B1FDC-B90E-6693-A750-B9BA4B535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9762" y="2698751"/>
            <a:ext cx="4906009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" panose="02000503020000020004" pitchFamily="2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0" name="Text Placeholder 288">
            <a:extLst>
              <a:ext uri="{FF2B5EF4-FFF2-40B4-BE49-F238E27FC236}">
                <a16:creationId xmlns:a16="http://schemas.microsoft.com/office/drawing/2014/main" id="{1673B89D-F206-B9D2-CDB7-BDE045C744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89762" y="5047485"/>
            <a:ext cx="4906010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865A0015-0244-01BA-67B6-11CDC3C588A5}"/>
              </a:ext>
            </a:extLst>
          </p:cNvPr>
          <p:cNvGrpSpPr/>
          <p:nvPr userDrawn="1"/>
        </p:nvGrpSpPr>
        <p:grpSpPr>
          <a:xfrm>
            <a:off x="485774" y="1291008"/>
            <a:ext cx="5706110" cy="4360545"/>
            <a:chOff x="485774" y="1291008"/>
            <a:chExt cx="5706110" cy="4360545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F7E50E80-DFF0-E065-898F-1AFD970459B6}"/>
                </a:ext>
              </a:extLst>
            </p:cNvPr>
            <p:cNvSpPr/>
            <p:nvPr userDrawn="1"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7E9D0337-F340-664F-6A13-B03AA4BA4F82}"/>
                </a:ext>
              </a:extLst>
            </p:cNvPr>
            <p:cNvSpPr/>
            <p:nvPr userDrawn="1"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solidFill>
              <a:schemeClr val="tx2"/>
            </a:solidFill>
            <a:ln w="81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91D5A968-1B24-01BF-95A3-4FCB6124E78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562024" y="5167683"/>
            <a:ext cx="1220400" cy="1285398"/>
            <a:chOff x="3913438" y="-99392"/>
            <a:chExt cx="6512821" cy="6859693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322D456F-2780-F98C-DE5F-2372A03E5777}"/>
                </a:ext>
              </a:extLst>
            </p:cNvPr>
            <p:cNvSpPr/>
            <p:nvPr/>
          </p:nvSpPr>
          <p:spPr>
            <a:xfrm>
              <a:off x="5319751" y="-99392"/>
              <a:ext cx="4303606" cy="1570696"/>
            </a:xfrm>
            <a:custGeom>
              <a:avLst/>
              <a:gdLst>
                <a:gd name="connsiteX0" fmla="*/ 4303607 w 4303606"/>
                <a:gd name="connsiteY0" fmla="*/ 0 h 1570696"/>
                <a:gd name="connsiteX1" fmla="*/ 0 w 4303606"/>
                <a:gd name="connsiteY1" fmla="*/ 1570697 h 1570696"/>
                <a:gd name="connsiteX2" fmla="*/ 4303607 w 4303606"/>
                <a:gd name="connsiteY2" fmla="*/ 810521 h 1570696"/>
                <a:gd name="connsiteX3" fmla="*/ 4303607 w 4303606"/>
                <a:gd name="connsiteY3" fmla="*/ 0 h 1570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03606" h="1570696">
                  <a:moveTo>
                    <a:pt x="4303607" y="0"/>
                  </a:moveTo>
                  <a:lnTo>
                    <a:pt x="0" y="1570697"/>
                  </a:lnTo>
                  <a:lnTo>
                    <a:pt x="4303607" y="810521"/>
                  </a:lnTo>
                  <a:lnTo>
                    <a:pt x="4303607" y="0"/>
                  </a:lnTo>
                  <a:close/>
                </a:path>
              </a:pathLst>
            </a:custGeom>
            <a:solidFill>
              <a:srgbClr val="FFE600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2F1A8A8B-F7CF-C180-B3E6-D7E79D33D8B9}"/>
                </a:ext>
              </a:extLst>
            </p:cNvPr>
            <p:cNvSpPr/>
            <p:nvPr/>
          </p:nvSpPr>
          <p:spPr>
            <a:xfrm>
              <a:off x="5357395" y="2124345"/>
              <a:ext cx="3613052" cy="2176910"/>
            </a:xfrm>
            <a:custGeom>
              <a:avLst/>
              <a:gdLst>
                <a:gd name="connsiteX0" fmla="*/ 652845 w 3613052"/>
                <a:gd name="connsiteY0" fmla="*/ 1676205 h 2176910"/>
                <a:gd name="connsiteX1" fmla="*/ 1741463 w 3613052"/>
                <a:gd name="connsiteY1" fmla="*/ 1676205 h 2176910"/>
                <a:gd name="connsiteX2" fmla="*/ 1741463 w 3613052"/>
                <a:gd name="connsiteY2" fmla="*/ 2176910 h 2176910"/>
                <a:gd name="connsiteX3" fmla="*/ 0 w 3613052"/>
                <a:gd name="connsiteY3" fmla="*/ 2176910 h 2176910"/>
                <a:gd name="connsiteX4" fmla="*/ 0 w 3613052"/>
                <a:gd name="connsiteY4" fmla="*/ 0 h 2176910"/>
                <a:gd name="connsiteX5" fmla="*/ 1234766 w 3613052"/>
                <a:gd name="connsiteY5" fmla="*/ 0 h 2176910"/>
                <a:gd name="connsiteX6" fmla="*/ 1523675 w 3613052"/>
                <a:gd name="connsiteY6" fmla="*/ 500706 h 2176910"/>
                <a:gd name="connsiteX7" fmla="*/ 652910 w 3613052"/>
                <a:gd name="connsiteY7" fmla="*/ 500706 h 2176910"/>
                <a:gd name="connsiteX8" fmla="*/ 652910 w 3613052"/>
                <a:gd name="connsiteY8" fmla="*/ 859953 h 2176910"/>
                <a:gd name="connsiteX9" fmla="*/ 1440050 w 3613052"/>
                <a:gd name="connsiteY9" fmla="*/ 859953 h 2176910"/>
                <a:gd name="connsiteX10" fmla="*/ 1440050 w 3613052"/>
                <a:gd name="connsiteY10" fmla="*/ 1317022 h 2176910"/>
                <a:gd name="connsiteX11" fmla="*/ 652910 w 3613052"/>
                <a:gd name="connsiteY11" fmla="*/ 1317022 h 2176910"/>
                <a:gd name="connsiteX12" fmla="*/ 652910 w 3613052"/>
                <a:gd name="connsiteY12" fmla="*/ 1676205 h 2176910"/>
                <a:gd name="connsiteX13" fmla="*/ 2900485 w 3613052"/>
                <a:gd name="connsiteY13" fmla="*/ 0 h 2176910"/>
                <a:gd name="connsiteX14" fmla="*/ 2530687 w 3613052"/>
                <a:gd name="connsiteY14" fmla="*/ 710418 h 2176910"/>
                <a:gd name="connsiteX15" fmla="*/ 2161801 w 3613052"/>
                <a:gd name="connsiteY15" fmla="*/ 0 h 2176910"/>
                <a:gd name="connsiteX16" fmla="*/ 1439985 w 3613052"/>
                <a:gd name="connsiteY16" fmla="*/ 0 h 2176910"/>
                <a:gd name="connsiteX17" fmla="*/ 2200552 w 3613052"/>
                <a:gd name="connsiteY17" fmla="*/ 1317022 h 2176910"/>
                <a:gd name="connsiteX18" fmla="*/ 2200552 w 3613052"/>
                <a:gd name="connsiteY18" fmla="*/ 2176910 h 2176910"/>
                <a:gd name="connsiteX19" fmla="*/ 2851443 w 3613052"/>
                <a:gd name="connsiteY19" fmla="*/ 2176910 h 2176910"/>
                <a:gd name="connsiteX20" fmla="*/ 2851443 w 3613052"/>
                <a:gd name="connsiteY20" fmla="*/ 1317022 h 2176910"/>
                <a:gd name="connsiteX21" fmla="*/ 3613053 w 3613052"/>
                <a:gd name="connsiteY21" fmla="*/ 0 h 2176910"/>
                <a:gd name="connsiteX22" fmla="*/ 2900485 w 3613052"/>
                <a:gd name="connsiteY22" fmla="*/ 0 h 2176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613052" h="2176910">
                  <a:moveTo>
                    <a:pt x="652845" y="1676205"/>
                  </a:moveTo>
                  <a:lnTo>
                    <a:pt x="1741463" y="1676205"/>
                  </a:lnTo>
                  <a:lnTo>
                    <a:pt x="1741463" y="2176910"/>
                  </a:lnTo>
                  <a:lnTo>
                    <a:pt x="0" y="2176910"/>
                  </a:lnTo>
                  <a:lnTo>
                    <a:pt x="0" y="0"/>
                  </a:lnTo>
                  <a:lnTo>
                    <a:pt x="1234766" y="0"/>
                  </a:lnTo>
                  <a:lnTo>
                    <a:pt x="1523675" y="500706"/>
                  </a:lnTo>
                  <a:lnTo>
                    <a:pt x="652910" y="500706"/>
                  </a:lnTo>
                  <a:lnTo>
                    <a:pt x="652910" y="859953"/>
                  </a:lnTo>
                  <a:lnTo>
                    <a:pt x="1440050" y="859953"/>
                  </a:lnTo>
                  <a:lnTo>
                    <a:pt x="1440050" y="1317022"/>
                  </a:lnTo>
                  <a:lnTo>
                    <a:pt x="652910" y="1317022"/>
                  </a:lnTo>
                  <a:lnTo>
                    <a:pt x="652910" y="1676205"/>
                  </a:lnTo>
                  <a:close/>
                  <a:moveTo>
                    <a:pt x="2900485" y="0"/>
                  </a:moveTo>
                  <a:lnTo>
                    <a:pt x="2530687" y="710418"/>
                  </a:lnTo>
                  <a:lnTo>
                    <a:pt x="2161801" y="0"/>
                  </a:lnTo>
                  <a:lnTo>
                    <a:pt x="1439985" y="0"/>
                  </a:lnTo>
                  <a:lnTo>
                    <a:pt x="2200552" y="1317022"/>
                  </a:lnTo>
                  <a:lnTo>
                    <a:pt x="2200552" y="2176910"/>
                  </a:lnTo>
                  <a:lnTo>
                    <a:pt x="2851443" y="2176910"/>
                  </a:lnTo>
                  <a:lnTo>
                    <a:pt x="2851443" y="1317022"/>
                  </a:lnTo>
                  <a:lnTo>
                    <a:pt x="3613053" y="0"/>
                  </a:lnTo>
                  <a:lnTo>
                    <a:pt x="2900485" y="0"/>
                  </a:lnTo>
                  <a:close/>
                </a:path>
              </a:pathLst>
            </a:custGeom>
            <a:solidFill>
              <a:schemeClr val="bg2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D71991EC-BAEE-610D-F5B6-BC793FB37355}"/>
                </a:ext>
              </a:extLst>
            </p:cNvPr>
            <p:cNvSpPr/>
            <p:nvPr/>
          </p:nvSpPr>
          <p:spPr>
            <a:xfrm>
              <a:off x="3913438" y="5111711"/>
              <a:ext cx="6512821" cy="1648590"/>
            </a:xfrm>
            <a:custGeom>
              <a:avLst/>
              <a:gdLst>
                <a:gd name="connsiteX0" fmla="*/ 5071143 w 6512821"/>
                <a:gd name="connsiteY0" fmla="*/ 1396740 h 1648590"/>
                <a:gd name="connsiteX1" fmla="*/ 5069124 w 6512821"/>
                <a:gd name="connsiteY1" fmla="*/ 1438552 h 1648590"/>
                <a:gd name="connsiteX2" fmla="*/ 4777545 w 6512821"/>
                <a:gd name="connsiteY2" fmla="*/ 1438552 h 1648590"/>
                <a:gd name="connsiteX3" fmla="*/ 4880513 w 6512821"/>
                <a:gd name="connsiteY3" fmla="*/ 1533378 h 1648590"/>
                <a:gd name="connsiteX4" fmla="*/ 4964137 w 6512821"/>
                <a:gd name="connsiteY4" fmla="*/ 1499707 h 1648590"/>
                <a:gd name="connsiteX5" fmla="*/ 5049781 w 6512821"/>
                <a:gd name="connsiteY5" fmla="*/ 1572065 h 1648590"/>
                <a:gd name="connsiteX6" fmla="*/ 4875433 w 6512821"/>
                <a:gd name="connsiteY6" fmla="*/ 1648525 h 1648590"/>
                <a:gd name="connsiteX7" fmla="*/ 4654192 w 6512821"/>
                <a:gd name="connsiteY7" fmla="*/ 1398759 h 1648590"/>
                <a:gd name="connsiteX8" fmla="*/ 4867292 w 6512821"/>
                <a:gd name="connsiteY8" fmla="*/ 1146908 h 1648590"/>
                <a:gd name="connsiteX9" fmla="*/ 5071208 w 6512821"/>
                <a:gd name="connsiteY9" fmla="*/ 1396675 h 1648590"/>
                <a:gd name="connsiteX10" fmla="*/ 4779564 w 6512821"/>
                <a:gd name="connsiteY10" fmla="*/ 1344767 h 1648590"/>
                <a:gd name="connsiteX11" fmla="*/ 4950851 w 6512821"/>
                <a:gd name="connsiteY11" fmla="*/ 1344767 h 1648590"/>
                <a:gd name="connsiteX12" fmla="*/ 4863189 w 6512821"/>
                <a:gd name="connsiteY12" fmla="*/ 1254044 h 1648590"/>
                <a:gd name="connsiteX13" fmla="*/ 4779564 w 6512821"/>
                <a:gd name="connsiteY13" fmla="*/ 1344767 h 1648590"/>
                <a:gd name="connsiteX14" fmla="*/ 6512756 w 6512821"/>
                <a:gd name="connsiteY14" fmla="*/ 1396740 h 1648590"/>
                <a:gd name="connsiteX15" fmla="*/ 6510737 w 6512821"/>
                <a:gd name="connsiteY15" fmla="*/ 1438552 h 1648590"/>
                <a:gd name="connsiteX16" fmla="*/ 6219158 w 6512821"/>
                <a:gd name="connsiteY16" fmla="*/ 1438552 h 1648590"/>
                <a:gd name="connsiteX17" fmla="*/ 6322126 w 6512821"/>
                <a:gd name="connsiteY17" fmla="*/ 1533378 h 1648590"/>
                <a:gd name="connsiteX18" fmla="*/ 6405751 w 6512821"/>
                <a:gd name="connsiteY18" fmla="*/ 1499707 h 1648590"/>
                <a:gd name="connsiteX19" fmla="*/ 6491394 w 6512821"/>
                <a:gd name="connsiteY19" fmla="*/ 1572065 h 1648590"/>
                <a:gd name="connsiteX20" fmla="*/ 6317046 w 6512821"/>
                <a:gd name="connsiteY20" fmla="*/ 1648525 h 1648590"/>
                <a:gd name="connsiteX21" fmla="*/ 6095805 w 6512821"/>
                <a:gd name="connsiteY21" fmla="*/ 1398759 h 1648590"/>
                <a:gd name="connsiteX22" fmla="*/ 6308905 w 6512821"/>
                <a:gd name="connsiteY22" fmla="*/ 1146908 h 1648590"/>
                <a:gd name="connsiteX23" fmla="*/ 6512821 w 6512821"/>
                <a:gd name="connsiteY23" fmla="*/ 1396675 h 1648590"/>
                <a:gd name="connsiteX24" fmla="*/ 6221177 w 6512821"/>
                <a:gd name="connsiteY24" fmla="*/ 1344767 h 1648590"/>
                <a:gd name="connsiteX25" fmla="*/ 6392465 w 6512821"/>
                <a:gd name="connsiteY25" fmla="*/ 1344767 h 1648590"/>
                <a:gd name="connsiteX26" fmla="*/ 6304802 w 6512821"/>
                <a:gd name="connsiteY26" fmla="*/ 1254044 h 1648590"/>
                <a:gd name="connsiteX27" fmla="*/ 6221177 w 6512821"/>
                <a:gd name="connsiteY27" fmla="*/ 1344767 h 1648590"/>
                <a:gd name="connsiteX28" fmla="*/ 5978509 w 6512821"/>
                <a:gd name="connsiteY28" fmla="*/ 1467143 h 1648590"/>
                <a:gd name="connsiteX29" fmla="*/ 6058031 w 6512821"/>
                <a:gd name="connsiteY29" fmla="*/ 1542561 h 1648590"/>
                <a:gd name="connsiteX30" fmla="*/ 5866359 w 6512821"/>
                <a:gd name="connsiteY30" fmla="*/ 1648590 h 1648590"/>
                <a:gd name="connsiteX31" fmla="*/ 5637954 w 6512821"/>
                <a:gd name="connsiteY31" fmla="*/ 1398823 h 1648590"/>
                <a:gd name="connsiteX32" fmla="*/ 5868378 w 6512821"/>
                <a:gd name="connsiteY32" fmla="*/ 1146973 h 1648590"/>
                <a:gd name="connsiteX33" fmla="*/ 6056989 w 6512821"/>
                <a:gd name="connsiteY33" fmla="*/ 1250983 h 1648590"/>
                <a:gd name="connsiteX34" fmla="*/ 5975448 w 6512821"/>
                <a:gd name="connsiteY34" fmla="*/ 1333565 h 1648590"/>
                <a:gd name="connsiteX35" fmla="*/ 5867401 w 6512821"/>
                <a:gd name="connsiteY35" fmla="*/ 1266288 h 1648590"/>
                <a:gd name="connsiteX36" fmla="*/ 5766452 w 6512821"/>
                <a:gd name="connsiteY36" fmla="*/ 1396804 h 1648590"/>
                <a:gd name="connsiteX37" fmla="*/ 5868378 w 6512821"/>
                <a:gd name="connsiteY37" fmla="*/ 1528299 h 1648590"/>
                <a:gd name="connsiteX38" fmla="*/ 5978509 w 6512821"/>
                <a:gd name="connsiteY38" fmla="*/ 1467143 h 1648590"/>
                <a:gd name="connsiteX39" fmla="*/ 4869246 w 6512821"/>
                <a:gd name="connsiteY39" fmla="*/ 667825 h 1648590"/>
                <a:gd name="connsiteX40" fmla="*/ 4750973 w 6512821"/>
                <a:gd name="connsiteY40" fmla="*/ 667825 h 1648590"/>
                <a:gd name="connsiteX41" fmla="*/ 4750973 w 6512821"/>
                <a:gd name="connsiteY41" fmla="*/ 634153 h 1648590"/>
                <a:gd name="connsiteX42" fmla="*/ 4638822 w 6512821"/>
                <a:gd name="connsiteY42" fmla="*/ 677984 h 1648590"/>
                <a:gd name="connsiteX43" fmla="*/ 4467535 w 6512821"/>
                <a:gd name="connsiteY43" fmla="*/ 458763 h 1648590"/>
                <a:gd name="connsiteX44" fmla="*/ 4467535 w 6512821"/>
                <a:gd name="connsiteY44" fmla="*/ 186527 h 1648590"/>
                <a:gd name="connsiteX45" fmla="*/ 4587827 w 6512821"/>
                <a:gd name="connsiteY45" fmla="*/ 186527 h 1648590"/>
                <a:gd name="connsiteX46" fmla="*/ 4587827 w 6512821"/>
                <a:gd name="connsiteY46" fmla="*/ 448538 h 1648590"/>
                <a:gd name="connsiteX47" fmla="*/ 4668390 w 6512821"/>
                <a:gd name="connsiteY47" fmla="*/ 562708 h 1648590"/>
                <a:gd name="connsiteX48" fmla="*/ 4748954 w 6512821"/>
                <a:gd name="connsiteY48" fmla="*/ 452576 h 1648590"/>
                <a:gd name="connsiteX49" fmla="*/ 4748954 w 6512821"/>
                <a:gd name="connsiteY49" fmla="*/ 186462 h 1648590"/>
                <a:gd name="connsiteX50" fmla="*/ 4869246 w 6512821"/>
                <a:gd name="connsiteY50" fmla="*/ 186462 h 1648590"/>
                <a:gd name="connsiteX51" fmla="*/ 4869246 w 6512821"/>
                <a:gd name="connsiteY51" fmla="*/ 667695 h 1648590"/>
                <a:gd name="connsiteX52" fmla="*/ 5244449 w 6512821"/>
                <a:gd name="connsiteY52" fmla="*/ 527083 h 1648590"/>
                <a:gd name="connsiteX53" fmla="*/ 5227125 w 6512821"/>
                <a:gd name="connsiteY53" fmla="*/ 649458 h 1648590"/>
                <a:gd name="connsiteX54" fmla="*/ 5128261 w 6512821"/>
                <a:gd name="connsiteY54" fmla="*/ 677984 h 1648590"/>
                <a:gd name="connsiteX55" fmla="*/ 4997744 w 6512821"/>
                <a:gd name="connsiteY55" fmla="*/ 535224 h 1648590"/>
                <a:gd name="connsiteX56" fmla="*/ 4997744 w 6512821"/>
                <a:gd name="connsiteY56" fmla="*/ 301739 h 1648590"/>
                <a:gd name="connsiteX57" fmla="*/ 4928447 w 6512821"/>
                <a:gd name="connsiteY57" fmla="*/ 301739 h 1648590"/>
                <a:gd name="connsiteX58" fmla="*/ 4928447 w 6512821"/>
                <a:gd name="connsiteY58" fmla="*/ 186527 h 1648590"/>
                <a:gd name="connsiteX59" fmla="*/ 4997744 w 6512821"/>
                <a:gd name="connsiteY59" fmla="*/ 186527 h 1648590"/>
                <a:gd name="connsiteX60" fmla="*/ 4997744 w 6512821"/>
                <a:gd name="connsiteY60" fmla="*/ 61155 h 1648590"/>
                <a:gd name="connsiteX61" fmla="*/ 5118035 w 6512821"/>
                <a:gd name="connsiteY61" fmla="*/ 0 h 1648590"/>
                <a:gd name="connsiteX62" fmla="*/ 5118035 w 6512821"/>
                <a:gd name="connsiteY62" fmla="*/ 186592 h 1648590"/>
                <a:gd name="connsiteX63" fmla="*/ 5232205 w 6512821"/>
                <a:gd name="connsiteY63" fmla="*/ 186592 h 1648590"/>
                <a:gd name="connsiteX64" fmla="*/ 5232205 w 6512821"/>
                <a:gd name="connsiteY64" fmla="*/ 301804 h 1648590"/>
                <a:gd name="connsiteX65" fmla="*/ 5118035 w 6512821"/>
                <a:gd name="connsiteY65" fmla="*/ 301804 h 1648590"/>
                <a:gd name="connsiteX66" fmla="*/ 5118035 w 6512821"/>
                <a:gd name="connsiteY66" fmla="*/ 503701 h 1648590"/>
                <a:gd name="connsiteX67" fmla="*/ 5164928 w 6512821"/>
                <a:gd name="connsiteY67" fmla="*/ 560819 h 1648590"/>
                <a:gd name="connsiteX68" fmla="*/ 5244449 w 6512821"/>
                <a:gd name="connsiteY68" fmla="*/ 527148 h 1648590"/>
                <a:gd name="connsiteX69" fmla="*/ 3417407 w 6512821"/>
                <a:gd name="connsiteY69" fmla="*/ 667825 h 1648590"/>
                <a:gd name="connsiteX70" fmla="*/ 3297116 w 6512821"/>
                <a:gd name="connsiteY70" fmla="*/ 667825 h 1648590"/>
                <a:gd name="connsiteX71" fmla="*/ 3297116 w 6512821"/>
                <a:gd name="connsiteY71" fmla="*/ 405814 h 1648590"/>
                <a:gd name="connsiteX72" fmla="*/ 3215575 w 6512821"/>
                <a:gd name="connsiteY72" fmla="*/ 292621 h 1648590"/>
                <a:gd name="connsiteX73" fmla="*/ 3132993 w 6512821"/>
                <a:gd name="connsiteY73" fmla="*/ 402753 h 1648590"/>
                <a:gd name="connsiteX74" fmla="*/ 3132993 w 6512821"/>
                <a:gd name="connsiteY74" fmla="*/ 667825 h 1648590"/>
                <a:gd name="connsiteX75" fmla="*/ 3012701 w 6512821"/>
                <a:gd name="connsiteY75" fmla="*/ 667825 h 1648590"/>
                <a:gd name="connsiteX76" fmla="*/ 3012701 w 6512821"/>
                <a:gd name="connsiteY76" fmla="*/ 61221 h 1648590"/>
                <a:gd name="connsiteX77" fmla="*/ 3132993 w 6512821"/>
                <a:gd name="connsiteY77" fmla="*/ 65 h 1648590"/>
                <a:gd name="connsiteX78" fmla="*/ 3132993 w 6512821"/>
                <a:gd name="connsiteY78" fmla="*/ 220264 h 1648590"/>
                <a:gd name="connsiteX79" fmla="*/ 3246186 w 6512821"/>
                <a:gd name="connsiteY79" fmla="*/ 176432 h 1648590"/>
                <a:gd name="connsiteX80" fmla="*/ 3417473 w 6512821"/>
                <a:gd name="connsiteY80" fmla="*/ 396631 h 1648590"/>
                <a:gd name="connsiteX81" fmla="*/ 3417473 w 6512821"/>
                <a:gd name="connsiteY81" fmla="*/ 667825 h 1648590"/>
                <a:gd name="connsiteX82" fmla="*/ 5564554 w 6512821"/>
                <a:gd name="connsiteY82" fmla="*/ 1638365 h 1648590"/>
                <a:gd name="connsiteX83" fmla="*/ 5440160 w 6512821"/>
                <a:gd name="connsiteY83" fmla="*/ 1638365 h 1648590"/>
                <a:gd name="connsiteX84" fmla="*/ 5440160 w 6512821"/>
                <a:gd name="connsiteY84" fmla="*/ 1376355 h 1648590"/>
                <a:gd name="connsiteX85" fmla="*/ 5357577 w 6512821"/>
                <a:gd name="connsiteY85" fmla="*/ 1264204 h 1648590"/>
                <a:gd name="connsiteX86" fmla="*/ 5273952 w 6512821"/>
                <a:gd name="connsiteY86" fmla="*/ 1373293 h 1648590"/>
                <a:gd name="connsiteX87" fmla="*/ 5273952 w 6512821"/>
                <a:gd name="connsiteY87" fmla="*/ 1638365 h 1648590"/>
                <a:gd name="connsiteX88" fmla="*/ 5149558 w 6512821"/>
                <a:gd name="connsiteY88" fmla="*/ 1638365 h 1648590"/>
                <a:gd name="connsiteX89" fmla="*/ 5149558 w 6512821"/>
                <a:gd name="connsiteY89" fmla="*/ 1157133 h 1648590"/>
                <a:gd name="connsiteX90" fmla="*/ 5273952 w 6512821"/>
                <a:gd name="connsiteY90" fmla="*/ 1157133 h 1648590"/>
                <a:gd name="connsiteX91" fmla="*/ 5273952 w 6512821"/>
                <a:gd name="connsiteY91" fmla="*/ 1189762 h 1648590"/>
                <a:gd name="connsiteX92" fmla="*/ 5391183 w 6512821"/>
                <a:gd name="connsiteY92" fmla="*/ 1146973 h 1648590"/>
                <a:gd name="connsiteX93" fmla="*/ 5564490 w 6512821"/>
                <a:gd name="connsiteY93" fmla="*/ 1366195 h 1648590"/>
                <a:gd name="connsiteX94" fmla="*/ 5564490 w 6512821"/>
                <a:gd name="connsiteY94" fmla="*/ 1638430 h 1648590"/>
                <a:gd name="connsiteX95" fmla="*/ 4008772 w 6512821"/>
                <a:gd name="connsiteY95" fmla="*/ 1115386 h 1648590"/>
                <a:gd name="connsiteX96" fmla="*/ 4080152 w 6512821"/>
                <a:gd name="connsiteY96" fmla="*/ 1044005 h 1648590"/>
                <a:gd name="connsiteX97" fmla="*/ 4008772 w 6512821"/>
                <a:gd name="connsiteY97" fmla="*/ 972624 h 1648590"/>
                <a:gd name="connsiteX98" fmla="*/ 3937391 w 6512821"/>
                <a:gd name="connsiteY98" fmla="*/ 1044005 h 1648590"/>
                <a:gd name="connsiteX99" fmla="*/ 4008772 w 6512821"/>
                <a:gd name="connsiteY99" fmla="*/ 1115386 h 1648590"/>
                <a:gd name="connsiteX100" fmla="*/ 829864 w 6512821"/>
                <a:gd name="connsiteY100" fmla="*/ 1115386 h 1648590"/>
                <a:gd name="connsiteX101" fmla="*/ 901244 w 6512821"/>
                <a:gd name="connsiteY101" fmla="*/ 1044005 h 1648590"/>
                <a:gd name="connsiteX102" fmla="*/ 829864 w 6512821"/>
                <a:gd name="connsiteY102" fmla="*/ 972624 h 1648590"/>
                <a:gd name="connsiteX103" fmla="*/ 758483 w 6512821"/>
                <a:gd name="connsiteY103" fmla="*/ 1044005 h 1648590"/>
                <a:gd name="connsiteX104" fmla="*/ 829864 w 6512821"/>
                <a:gd name="connsiteY104" fmla="*/ 1115386 h 1648590"/>
                <a:gd name="connsiteX105" fmla="*/ 6512756 w 6512821"/>
                <a:gd name="connsiteY105" fmla="*/ 426134 h 1648590"/>
                <a:gd name="connsiteX106" fmla="*/ 6510737 w 6512821"/>
                <a:gd name="connsiteY106" fmla="*/ 467946 h 1648590"/>
                <a:gd name="connsiteX107" fmla="*/ 6219158 w 6512821"/>
                <a:gd name="connsiteY107" fmla="*/ 467946 h 1648590"/>
                <a:gd name="connsiteX108" fmla="*/ 6322126 w 6512821"/>
                <a:gd name="connsiteY108" fmla="*/ 562773 h 1648590"/>
                <a:gd name="connsiteX109" fmla="*/ 6405751 w 6512821"/>
                <a:gd name="connsiteY109" fmla="*/ 529102 h 1648590"/>
                <a:gd name="connsiteX110" fmla="*/ 6491394 w 6512821"/>
                <a:gd name="connsiteY110" fmla="*/ 601459 h 1648590"/>
                <a:gd name="connsiteX111" fmla="*/ 6317046 w 6512821"/>
                <a:gd name="connsiteY111" fmla="*/ 677919 h 1648590"/>
                <a:gd name="connsiteX112" fmla="*/ 6095805 w 6512821"/>
                <a:gd name="connsiteY112" fmla="*/ 428153 h 1648590"/>
                <a:gd name="connsiteX113" fmla="*/ 6308905 w 6512821"/>
                <a:gd name="connsiteY113" fmla="*/ 176302 h 1648590"/>
                <a:gd name="connsiteX114" fmla="*/ 6512821 w 6512821"/>
                <a:gd name="connsiteY114" fmla="*/ 426069 h 1648590"/>
                <a:gd name="connsiteX115" fmla="*/ 6221177 w 6512821"/>
                <a:gd name="connsiteY115" fmla="*/ 374162 h 1648590"/>
                <a:gd name="connsiteX116" fmla="*/ 6392465 w 6512821"/>
                <a:gd name="connsiteY116" fmla="*/ 374162 h 1648590"/>
                <a:gd name="connsiteX117" fmla="*/ 6304802 w 6512821"/>
                <a:gd name="connsiteY117" fmla="*/ 283438 h 1648590"/>
                <a:gd name="connsiteX118" fmla="*/ 6221177 w 6512821"/>
                <a:gd name="connsiteY118" fmla="*/ 374162 h 1648590"/>
                <a:gd name="connsiteX119" fmla="*/ 5702235 w 6512821"/>
                <a:gd name="connsiteY119" fmla="*/ 667825 h 1648590"/>
                <a:gd name="connsiteX120" fmla="*/ 5583963 w 6512821"/>
                <a:gd name="connsiteY120" fmla="*/ 667825 h 1648590"/>
                <a:gd name="connsiteX121" fmla="*/ 5583963 w 6512821"/>
                <a:gd name="connsiteY121" fmla="*/ 634153 h 1648590"/>
                <a:gd name="connsiteX122" fmla="*/ 5471812 w 6512821"/>
                <a:gd name="connsiteY122" fmla="*/ 677984 h 1648590"/>
                <a:gd name="connsiteX123" fmla="*/ 5300525 w 6512821"/>
                <a:gd name="connsiteY123" fmla="*/ 458763 h 1648590"/>
                <a:gd name="connsiteX124" fmla="*/ 5300525 w 6512821"/>
                <a:gd name="connsiteY124" fmla="*/ 186527 h 1648590"/>
                <a:gd name="connsiteX125" fmla="*/ 5420817 w 6512821"/>
                <a:gd name="connsiteY125" fmla="*/ 186527 h 1648590"/>
                <a:gd name="connsiteX126" fmla="*/ 5420817 w 6512821"/>
                <a:gd name="connsiteY126" fmla="*/ 448538 h 1648590"/>
                <a:gd name="connsiteX127" fmla="*/ 5501380 w 6512821"/>
                <a:gd name="connsiteY127" fmla="*/ 562708 h 1648590"/>
                <a:gd name="connsiteX128" fmla="*/ 5581944 w 6512821"/>
                <a:gd name="connsiteY128" fmla="*/ 452576 h 1648590"/>
                <a:gd name="connsiteX129" fmla="*/ 5581944 w 6512821"/>
                <a:gd name="connsiteY129" fmla="*/ 186462 h 1648590"/>
                <a:gd name="connsiteX130" fmla="*/ 5702235 w 6512821"/>
                <a:gd name="connsiteY130" fmla="*/ 186462 h 1648590"/>
                <a:gd name="connsiteX131" fmla="*/ 5702235 w 6512821"/>
                <a:gd name="connsiteY131" fmla="*/ 667695 h 1648590"/>
                <a:gd name="connsiteX132" fmla="*/ 3895579 w 6512821"/>
                <a:gd name="connsiteY132" fmla="*/ 426134 h 1648590"/>
                <a:gd name="connsiteX133" fmla="*/ 3893560 w 6512821"/>
                <a:gd name="connsiteY133" fmla="*/ 467946 h 1648590"/>
                <a:gd name="connsiteX134" fmla="*/ 3601981 w 6512821"/>
                <a:gd name="connsiteY134" fmla="*/ 467946 h 1648590"/>
                <a:gd name="connsiteX135" fmla="*/ 3704949 w 6512821"/>
                <a:gd name="connsiteY135" fmla="*/ 562773 h 1648590"/>
                <a:gd name="connsiteX136" fmla="*/ 3788573 w 6512821"/>
                <a:gd name="connsiteY136" fmla="*/ 529102 h 1648590"/>
                <a:gd name="connsiteX137" fmla="*/ 3874217 w 6512821"/>
                <a:gd name="connsiteY137" fmla="*/ 601459 h 1648590"/>
                <a:gd name="connsiteX138" fmla="*/ 3699868 w 6512821"/>
                <a:gd name="connsiteY138" fmla="*/ 677919 h 1648590"/>
                <a:gd name="connsiteX139" fmla="*/ 3478628 w 6512821"/>
                <a:gd name="connsiteY139" fmla="*/ 428153 h 1648590"/>
                <a:gd name="connsiteX140" fmla="*/ 3691727 w 6512821"/>
                <a:gd name="connsiteY140" fmla="*/ 176302 h 1648590"/>
                <a:gd name="connsiteX141" fmla="*/ 3895644 w 6512821"/>
                <a:gd name="connsiteY141" fmla="*/ 426069 h 1648590"/>
                <a:gd name="connsiteX142" fmla="*/ 3604000 w 6512821"/>
                <a:gd name="connsiteY142" fmla="*/ 374162 h 1648590"/>
                <a:gd name="connsiteX143" fmla="*/ 3775287 w 6512821"/>
                <a:gd name="connsiteY143" fmla="*/ 374162 h 1648590"/>
                <a:gd name="connsiteX144" fmla="*/ 3687624 w 6512821"/>
                <a:gd name="connsiteY144" fmla="*/ 283438 h 1648590"/>
                <a:gd name="connsiteX145" fmla="*/ 3604000 w 6512821"/>
                <a:gd name="connsiteY145" fmla="*/ 374162 h 1648590"/>
                <a:gd name="connsiteX146" fmla="*/ 4579686 w 6512821"/>
                <a:gd name="connsiteY146" fmla="*/ 1638365 h 1648590"/>
                <a:gd name="connsiteX147" fmla="*/ 4455291 w 6512821"/>
                <a:gd name="connsiteY147" fmla="*/ 1638365 h 1648590"/>
                <a:gd name="connsiteX148" fmla="*/ 4455291 w 6512821"/>
                <a:gd name="connsiteY148" fmla="*/ 1606778 h 1648590"/>
                <a:gd name="connsiteX149" fmla="*/ 4346201 w 6512821"/>
                <a:gd name="connsiteY149" fmla="*/ 1648590 h 1648590"/>
                <a:gd name="connsiteX150" fmla="*/ 4148406 w 6512821"/>
                <a:gd name="connsiteY150" fmla="*/ 1393678 h 1648590"/>
                <a:gd name="connsiteX151" fmla="*/ 4343140 w 6512821"/>
                <a:gd name="connsiteY151" fmla="*/ 1146973 h 1648590"/>
                <a:gd name="connsiteX152" fmla="*/ 4455291 w 6512821"/>
                <a:gd name="connsiteY152" fmla="*/ 1185724 h 1648590"/>
                <a:gd name="connsiteX153" fmla="*/ 4455291 w 6512821"/>
                <a:gd name="connsiteY153" fmla="*/ 1031761 h 1648590"/>
                <a:gd name="connsiteX154" fmla="*/ 4579686 w 6512821"/>
                <a:gd name="connsiteY154" fmla="*/ 969564 h 1648590"/>
                <a:gd name="connsiteX155" fmla="*/ 4579686 w 6512821"/>
                <a:gd name="connsiteY155" fmla="*/ 1638365 h 1648590"/>
                <a:gd name="connsiteX156" fmla="*/ 4455356 w 6512821"/>
                <a:gd name="connsiteY156" fmla="*/ 1489547 h 1648590"/>
                <a:gd name="connsiteX157" fmla="*/ 4455356 w 6512821"/>
                <a:gd name="connsiteY157" fmla="*/ 1306016 h 1648590"/>
                <a:gd name="connsiteX158" fmla="*/ 4368670 w 6512821"/>
                <a:gd name="connsiteY158" fmla="*/ 1264204 h 1648590"/>
                <a:gd name="connsiteX159" fmla="*/ 4278924 w 6512821"/>
                <a:gd name="connsiteY159" fmla="*/ 1389575 h 1648590"/>
                <a:gd name="connsiteX160" fmla="*/ 4371731 w 6512821"/>
                <a:gd name="connsiteY160" fmla="*/ 1531294 h 1648590"/>
                <a:gd name="connsiteX161" fmla="*/ 4455356 w 6512821"/>
                <a:gd name="connsiteY161" fmla="*/ 1489482 h 1648590"/>
                <a:gd name="connsiteX162" fmla="*/ 3945532 w 6512821"/>
                <a:gd name="connsiteY162" fmla="*/ 1157198 h 1648590"/>
                <a:gd name="connsiteX163" fmla="*/ 3945532 w 6512821"/>
                <a:gd name="connsiteY163" fmla="*/ 1638430 h 1648590"/>
                <a:gd name="connsiteX164" fmla="*/ 4069927 w 6512821"/>
                <a:gd name="connsiteY164" fmla="*/ 1638430 h 1648590"/>
                <a:gd name="connsiteX165" fmla="*/ 4069927 w 6512821"/>
                <a:gd name="connsiteY165" fmla="*/ 1157198 h 1648590"/>
                <a:gd name="connsiteX166" fmla="*/ 3945532 w 6512821"/>
                <a:gd name="connsiteY166" fmla="*/ 1157198 h 1648590"/>
                <a:gd name="connsiteX167" fmla="*/ 3873175 w 6512821"/>
                <a:gd name="connsiteY167" fmla="*/ 985911 h 1648590"/>
                <a:gd name="connsiteX168" fmla="*/ 3873175 w 6512821"/>
                <a:gd name="connsiteY168" fmla="*/ 1085817 h 1648590"/>
                <a:gd name="connsiteX169" fmla="*/ 3812019 w 6512821"/>
                <a:gd name="connsiteY169" fmla="*/ 1076634 h 1648590"/>
                <a:gd name="connsiteX170" fmla="*/ 3760047 w 6512821"/>
                <a:gd name="connsiteY170" fmla="*/ 1118447 h 1648590"/>
                <a:gd name="connsiteX171" fmla="*/ 3760047 w 6512821"/>
                <a:gd name="connsiteY171" fmla="*/ 1157198 h 1648590"/>
                <a:gd name="connsiteX172" fmla="*/ 3863015 w 6512821"/>
                <a:gd name="connsiteY172" fmla="*/ 1157198 h 1648590"/>
                <a:gd name="connsiteX173" fmla="*/ 3863015 w 6512821"/>
                <a:gd name="connsiteY173" fmla="*/ 1273452 h 1648590"/>
                <a:gd name="connsiteX174" fmla="*/ 3760047 w 6512821"/>
                <a:gd name="connsiteY174" fmla="*/ 1273452 h 1648590"/>
                <a:gd name="connsiteX175" fmla="*/ 3760047 w 6512821"/>
                <a:gd name="connsiteY175" fmla="*/ 1638430 h 1648590"/>
                <a:gd name="connsiteX176" fmla="*/ 3635652 w 6512821"/>
                <a:gd name="connsiteY176" fmla="*/ 1638430 h 1648590"/>
                <a:gd name="connsiteX177" fmla="*/ 3635652 w 6512821"/>
                <a:gd name="connsiteY177" fmla="*/ 1273452 h 1648590"/>
                <a:gd name="connsiteX178" fmla="*/ 3568375 w 6512821"/>
                <a:gd name="connsiteY178" fmla="*/ 1273452 h 1648590"/>
                <a:gd name="connsiteX179" fmla="*/ 3568375 w 6512821"/>
                <a:gd name="connsiteY179" fmla="*/ 1157198 h 1648590"/>
                <a:gd name="connsiteX180" fmla="*/ 3635652 w 6512821"/>
                <a:gd name="connsiteY180" fmla="*/ 1157198 h 1648590"/>
                <a:gd name="connsiteX181" fmla="*/ 3635652 w 6512821"/>
                <a:gd name="connsiteY181" fmla="*/ 1099104 h 1648590"/>
                <a:gd name="connsiteX182" fmla="*/ 3782451 w 6512821"/>
                <a:gd name="connsiteY182" fmla="*/ 972690 h 1648590"/>
                <a:gd name="connsiteX183" fmla="*/ 3873175 w 6512821"/>
                <a:gd name="connsiteY183" fmla="*/ 985976 h 1648590"/>
                <a:gd name="connsiteX184" fmla="*/ 3507154 w 6512821"/>
                <a:gd name="connsiteY184" fmla="*/ 1638365 h 1648590"/>
                <a:gd name="connsiteX185" fmla="*/ 3382759 w 6512821"/>
                <a:gd name="connsiteY185" fmla="*/ 1638365 h 1648590"/>
                <a:gd name="connsiteX186" fmla="*/ 3382759 w 6512821"/>
                <a:gd name="connsiteY186" fmla="*/ 1376355 h 1648590"/>
                <a:gd name="connsiteX187" fmla="*/ 3300177 w 6512821"/>
                <a:gd name="connsiteY187" fmla="*/ 1264204 h 1648590"/>
                <a:gd name="connsiteX188" fmla="*/ 3216552 w 6512821"/>
                <a:gd name="connsiteY188" fmla="*/ 1373293 h 1648590"/>
                <a:gd name="connsiteX189" fmla="*/ 3216552 w 6512821"/>
                <a:gd name="connsiteY189" fmla="*/ 1638365 h 1648590"/>
                <a:gd name="connsiteX190" fmla="*/ 3092157 w 6512821"/>
                <a:gd name="connsiteY190" fmla="*/ 1638365 h 1648590"/>
                <a:gd name="connsiteX191" fmla="*/ 3092157 w 6512821"/>
                <a:gd name="connsiteY191" fmla="*/ 1157133 h 1648590"/>
                <a:gd name="connsiteX192" fmla="*/ 3216552 w 6512821"/>
                <a:gd name="connsiteY192" fmla="*/ 1157133 h 1648590"/>
                <a:gd name="connsiteX193" fmla="*/ 3216552 w 6512821"/>
                <a:gd name="connsiteY193" fmla="*/ 1189762 h 1648590"/>
                <a:gd name="connsiteX194" fmla="*/ 3333783 w 6512821"/>
                <a:gd name="connsiteY194" fmla="*/ 1146973 h 1648590"/>
                <a:gd name="connsiteX195" fmla="*/ 3507089 w 6512821"/>
                <a:gd name="connsiteY195" fmla="*/ 1366195 h 1648590"/>
                <a:gd name="connsiteX196" fmla="*/ 3507089 w 6512821"/>
                <a:gd name="connsiteY196" fmla="*/ 1638430 h 1648590"/>
                <a:gd name="connsiteX197" fmla="*/ 2792437 w 6512821"/>
                <a:gd name="connsiteY197" fmla="*/ 1146973 h 1648590"/>
                <a:gd name="connsiteX198" fmla="*/ 2567094 w 6512821"/>
                <a:gd name="connsiteY198" fmla="*/ 1397782 h 1648590"/>
                <a:gd name="connsiteX199" fmla="*/ 2792437 w 6512821"/>
                <a:gd name="connsiteY199" fmla="*/ 1648590 h 1648590"/>
                <a:gd name="connsiteX200" fmla="*/ 3017781 w 6512821"/>
                <a:gd name="connsiteY200" fmla="*/ 1397782 h 1648590"/>
                <a:gd name="connsiteX201" fmla="*/ 2792437 w 6512821"/>
                <a:gd name="connsiteY201" fmla="*/ 1146973 h 1648590"/>
                <a:gd name="connsiteX202" fmla="*/ 2792437 w 6512821"/>
                <a:gd name="connsiteY202" fmla="*/ 1528299 h 1648590"/>
                <a:gd name="connsiteX203" fmla="*/ 2695592 w 6512821"/>
                <a:gd name="connsiteY203" fmla="*/ 1397782 h 1648590"/>
                <a:gd name="connsiteX204" fmla="*/ 2792437 w 6512821"/>
                <a:gd name="connsiteY204" fmla="*/ 1266288 h 1648590"/>
                <a:gd name="connsiteX205" fmla="*/ 2889283 w 6512821"/>
                <a:gd name="connsiteY205" fmla="*/ 1397782 h 1648590"/>
                <a:gd name="connsiteX206" fmla="*/ 2792437 w 6512821"/>
                <a:gd name="connsiteY206" fmla="*/ 1528299 h 1648590"/>
                <a:gd name="connsiteX207" fmla="*/ 2446802 w 6512821"/>
                <a:gd name="connsiteY207" fmla="*/ 1467143 h 1648590"/>
                <a:gd name="connsiteX208" fmla="*/ 2526323 w 6512821"/>
                <a:gd name="connsiteY208" fmla="*/ 1542561 h 1648590"/>
                <a:gd name="connsiteX209" fmla="*/ 2334651 w 6512821"/>
                <a:gd name="connsiteY209" fmla="*/ 1648590 h 1648590"/>
                <a:gd name="connsiteX210" fmla="*/ 2106246 w 6512821"/>
                <a:gd name="connsiteY210" fmla="*/ 1398823 h 1648590"/>
                <a:gd name="connsiteX211" fmla="*/ 2336670 w 6512821"/>
                <a:gd name="connsiteY211" fmla="*/ 1146973 h 1648590"/>
                <a:gd name="connsiteX212" fmla="*/ 2525281 w 6512821"/>
                <a:gd name="connsiteY212" fmla="*/ 1250983 h 1648590"/>
                <a:gd name="connsiteX213" fmla="*/ 2443741 w 6512821"/>
                <a:gd name="connsiteY213" fmla="*/ 1333565 h 1648590"/>
                <a:gd name="connsiteX214" fmla="*/ 2335693 w 6512821"/>
                <a:gd name="connsiteY214" fmla="*/ 1266288 h 1648590"/>
                <a:gd name="connsiteX215" fmla="*/ 2234744 w 6512821"/>
                <a:gd name="connsiteY215" fmla="*/ 1396804 h 1648590"/>
                <a:gd name="connsiteX216" fmla="*/ 2336670 w 6512821"/>
                <a:gd name="connsiteY216" fmla="*/ 1528299 h 1648590"/>
                <a:gd name="connsiteX217" fmla="*/ 2446802 w 6512821"/>
                <a:gd name="connsiteY217" fmla="*/ 1467143 h 1648590"/>
                <a:gd name="connsiteX218" fmla="*/ 1803530 w 6512821"/>
                <a:gd name="connsiteY218" fmla="*/ 1638365 h 1648590"/>
                <a:gd name="connsiteX219" fmla="*/ 1679135 w 6512821"/>
                <a:gd name="connsiteY219" fmla="*/ 1638365 h 1648590"/>
                <a:gd name="connsiteX220" fmla="*/ 1679135 w 6512821"/>
                <a:gd name="connsiteY220" fmla="*/ 1376355 h 1648590"/>
                <a:gd name="connsiteX221" fmla="*/ 1596553 w 6512821"/>
                <a:gd name="connsiteY221" fmla="*/ 1264204 h 1648590"/>
                <a:gd name="connsiteX222" fmla="*/ 1511951 w 6512821"/>
                <a:gd name="connsiteY222" fmla="*/ 1373293 h 1648590"/>
                <a:gd name="connsiteX223" fmla="*/ 1511951 w 6512821"/>
                <a:gd name="connsiteY223" fmla="*/ 1638365 h 1648590"/>
                <a:gd name="connsiteX224" fmla="*/ 1387557 w 6512821"/>
                <a:gd name="connsiteY224" fmla="*/ 1638365 h 1648590"/>
                <a:gd name="connsiteX225" fmla="*/ 1387557 w 6512821"/>
                <a:gd name="connsiteY225" fmla="*/ 1031761 h 1648590"/>
                <a:gd name="connsiteX226" fmla="*/ 1511951 w 6512821"/>
                <a:gd name="connsiteY226" fmla="*/ 969564 h 1648590"/>
                <a:gd name="connsiteX227" fmla="*/ 1511951 w 6512821"/>
                <a:gd name="connsiteY227" fmla="*/ 1189762 h 1648590"/>
                <a:gd name="connsiteX228" fmla="*/ 1632243 w 6512821"/>
                <a:gd name="connsiteY228" fmla="*/ 1146973 h 1648590"/>
                <a:gd name="connsiteX229" fmla="*/ 1803530 w 6512821"/>
                <a:gd name="connsiteY229" fmla="*/ 1366195 h 1648590"/>
                <a:gd name="connsiteX230" fmla="*/ 1803530 w 6512821"/>
                <a:gd name="connsiteY230" fmla="*/ 1638430 h 1648590"/>
                <a:gd name="connsiteX231" fmla="*/ 1311031 w 6512821"/>
                <a:gd name="connsiteY231" fmla="*/ 1493650 h 1648590"/>
                <a:gd name="connsiteX232" fmla="*/ 1292665 w 6512821"/>
                <a:gd name="connsiteY232" fmla="*/ 1619022 h 1648590"/>
                <a:gd name="connsiteX233" fmla="*/ 1173350 w 6512821"/>
                <a:gd name="connsiteY233" fmla="*/ 1648590 h 1648590"/>
                <a:gd name="connsiteX234" fmla="*/ 1043875 w 6512821"/>
                <a:gd name="connsiteY234" fmla="*/ 1504852 h 1648590"/>
                <a:gd name="connsiteX235" fmla="*/ 1043875 w 6512821"/>
                <a:gd name="connsiteY235" fmla="*/ 1273387 h 1648590"/>
                <a:gd name="connsiteX236" fmla="*/ 960250 w 6512821"/>
                <a:gd name="connsiteY236" fmla="*/ 1273387 h 1648590"/>
                <a:gd name="connsiteX237" fmla="*/ 960250 w 6512821"/>
                <a:gd name="connsiteY237" fmla="*/ 1157133 h 1648590"/>
                <a:gd name="connsiteX238" fmla="*/ 1043875 w 6512821"/>
                <a:gd name="connsiteY238" fmla="*/ 1157133 h 1648590"/>
                <a:gd name="connsiteX239" fmla="*/ 1043875 w 6512821"/>
                <a:gd name="connsiteY239" fmla="*/ 1031761 h 1648590"/>
                <a:gd name="connsiteX240" fmla="*/ 1168270 w 6512821"/>
                <a:gd name="connsiteY240" fmla="*/ 969564 h 1648590"/>
                <a:gd name="connsiteX241" fmla="*/ 1168270 w 6512821"/>
                <a:gd name="connsiteY241" fmla="*/ 1157133 h 1648590"/>
                <a:gd name="connsiteX242" fmla="*/ 1308947 w 6512821"/>
                <a:gd name="connsiteY242" fmla="*/ 1157133 h 1648590"/>
                <a:gd name="connsiteX243" fmla="*/ 1308947 w 6512821"/>
                <a:gd name="connsiteY243" fmla="*/ 1273387 h 1648590"/>
                <a:gd name="connsiteX244" fmla="*/ 1168270 w 6512821"/>
                <a:gd name="connsiteY244" fmla="*/ 1273387 h 1648590"/>
                <a:gd name="connsiteX245" fmla="*/ 1168270 w 6512821"/>
                <a:gd name="connsiteY245" fmla="*/ 1471181 h 1648590"/>
                <a:gd name="connsiteX246" fmla="*/ 1214120 w 6512821"/>
                <a:gd name="connsiteY246" fmla="*/ 1529275 h 1648590"/>
                <a:gd name="connsiteX247" fmla="*/ 1310966 w 6512821"/>
                <a:gd name="connsiteY247" fmla="*/ 1493585 h 1648590"/>
                <a:gd name="connsiteX248" fmla="*/ 767666 w 6512821"/>
                <a:gd name="connsiteY248" fmla="*/ 1157198 h 1648590"/>
                <a:gd name="connsiteX249" fmla="*/ 767666 w 6512821"/>
                <a:gd name="connsiteY249" fmla="*/ 1638430 h 1648590"/>
                <a:gd name="connsiteX250" fmla="*/ 892061 w 6512821"/>
                <a:gd name="connsiteY250" fmla="*/ 1638430 h 1648590"/>
                <a:gd name="connsiteX251" fmla="*/ 892061 w 6512821"/>
                <a:gd name="connsiteY251" fmla="*/ 1157198 h 1648590"/>
                <a:gd name="connsiteX252" fmla="*/ 767666 w 6512821"/>
                <a:gd name="connsiteY252" fmla="*/ 1157198 h 1648590"/>
                <a:gd name="connsiteX253" fmla="*/ 702408 w 6512821"/>
                <a:gd name="connsiteY253" fmla="*/ 1157198 h 1648590"/>
                <a:gd name="connsiteX254" fmla="*/ 550529 w 6512821"/>
                <a:gd name="connsiteY254" fmla="*/ 1638430 h 1648590"/>
                <a:gd name="connsiteX255" fmla="*/ 436359 w 6512821"/>
                <a:gd name="connsiteY255" fmla="*/ 1638430 h 1648590"/>
                <a:gd name="connsiteX256" fmla="*/ 354819 w 6512821"/>
                <a:gd name="connsiteY256" fmla="*/ 1345809 h 1648590"/>
                <a:gd name="connsiteX257" fmla="*/ 272236 w 6512821"/>
                <a:gd name="connsiteY257" fmla="*/ 1638430 h 1648590"/>
                <a:gd name="connsiteX258" fmla="*/ 158066 w 6512821"/>
                <a:gd name="connsiteY258" fmla="*/ 1638430 h 1648590"/>
                <a:gd name="connsiteX259" fmla="*/ 7099 w 6512821"/>
                <a:gd name="connsiteY259" fmla="*/ 1157198 h 1648590"/>
                <a:gd name="connsiteX260" fmla="*/ 145757 w 6512821"/>
                <a:gd name="connsiteY260" fmla="*/ 1157198 h 1648590"/>
                <a:gd name="connsiteX261" fmla="*/ 218114 w 6512821"/>
                <a:gd name="connsiteY261" fmla="*/ 1436533 h 1648590"/>
                <a:gd name="connsiteX262" fmla="*/ 299655 w 6512821"/>
                <a:gd name="connsiteY262" fmla="*/ 1157198 h 1648590"/>
                <a:gd name="connsiteX263" fmla="*/ 412848 w 6512821"/>
                <a:gd name="connsiteY263" fmla="*/ 1157198 h 1648590"/>
                <a:gd name="connsiteX264" fmla="*/ 494388 w 6512821"/>
                <a:gd name="connsiteY264" fmla="*/ 1436533 h 1648590"/>
                <a:gd name="connsiteX265" fmla="*/ 567788 w 6512821"/>
                <a:gd name="connsiteY265" fmla="*/ 1157198 h 1648590"/>
                <a:gd name="connsiteX266" fmla="*/ 702343 w 6512821"/>
                <a:gd name="connsiteY266" fmla="*/ 1157198 h 1648590"/>
                <a:gd name="connsiteX267" fmla="*/ 4436990 w 6512821"/>
                <a:gd name="connsiteY267" fmla="*/ 16282 h 1648590"/>
                <a:gd name="connsiteX268" fmla="*/ 4436990 w 6512821"/>
                <a:gd name="connsiteY268" fmla="*/ 115147 h 1648590"/>
                <a:gd name="connsiteX269" fmla="*/ 4374792 w 6512821"/>
                <a:gd name="connsiteY269" fmla="*/ 104921 h 1648590"/>
                <a:gd name="connsiteX270" fmla="*/ 4322820 w 6512821"/>
                <a:gd name="connsiteY270" fmla="*/ 144715 h 1648590"/>
                <a:gd name="connsiteX271" fmla="*/ 4322820 w 6512821"/>
                <a:gd name="connsiteY271" fmla="*/ 186527 h 1648590"/>
                <a:gd name="connsiteX272" fmla="*/ 4404361 w 6512821"/>
                <a:gd name="connsiteY272" fmla="*/ 186527 h 1648590"/>
                <a:gd name="connsiteX273" fmla="*/ 4404361 w 6512821"/>
                <a:gd name="connsiteY273" fmla="*/ 302781 h 1648590"/>
                <a:gd name="connsiteX274" fmla="*/ 4322820 w 6512821"/>
                <a:gd name="connsiteY274" fmla="*/ 302781 h 1648590"/>
                <a:gd name="connsiteX275" fmla="*/ 4322820 w 6512821"/>
                <a:gd name="connsiteY275" fmla="*/ 667759 h 1648590"/>
                <a:gd name="connsiteX276" fmla="*/ 4202528 w 6512821"/>
                <a:gd name="connsiteY276" fmla="*/ 667759 h 1648590"/>
                <a:gd name="connsiteX277" fmla="*/ 4202528 w 6512821"/>
                <a:gd name="connsiteY277" fmla="*/ 302781 h 1648590"/>
                <a:gd name="connsiteX278" fmla="*/ 4143392 w 6512821"/>
                <a:gd name="connsiteY278" fmla="*/ 302781 h 1648590"/>
                <a:gd name="connsiteX279" fmla="*/ 4143392 w 6512821"/>
                <a:gd name="connsiteY279" fmla="*/ 186527 h 1648590"/>
                <a:gd name="connsiteX280" fmla="*/ 4202528 w 6512821"/>
                <a:gd name="connsiteY280" fmla="*/ 186527 h 1648590"/>
                <a:gd name="connsiteX281" fmla="*/ 4202528 w 6512821"/>
                <a:gd name="connsiteY281" fmla="*/ 128433 h 1648590"/>
                <a:gd name="connsiteX282" fmla="*/ 4348350 w 6512821"/>
                <a:gd name="connsiteY282" fmla="*/ 2019 h 1648590"/>
                <a:gd name="connsiteX283" fmla="*/ 4437055 w 6512821"/>
                <a:gd name="connsiteY283" fmla="*/ 16282 h 1648590"/>
                <a:gd name="connsiteX284" fmla="*/ 2957602 w 6512821"/>
                <a:gd name="connsiteY284" fmla="*/ 527083 h 1648590"/>
                <a:gd name="connsiteX285" fmla="*/ 2940278 w 6512821"/>
                <a:gd name="connsiteY285" fmla="*/ 649458 h 1648590"/>
                <a:gd name="connsiteX286" fmla="*/ 2843433 w 6512821"/>
                <a:gd name="connsiteY286" fmla="*/ 677984 h 1648590"/>
                <a:gd name="connsiteX287" fmla="*/ 2712916 w 6512821"/>
                <a:gd name="connsiteY287" fmla="*/ 535224 h 1648590"/>
                <a:gd name="connsiteX288" fmla="*/ 2712916 w 6512821"/>
                <a:gd name="connsiteY288" fmla="*/ 301739 h 1648590"/>
                <a:gd name="connsiteX289" fmla="*/ 2629291 w 6512821"/>
                <a:gd name="connsiteY289" fmla="*/ 301739 h 1648590"/>
                <a:gd name="connsiteX290" fmla="*/ 2629291 w 6512821"/>
                <a:gd name="connsiteY290" fmla="*/ 186527 h 1648590"/>
                <a:gd name="connsiteX291" fmla="*/ 2712916 w 6512821"/>
                <a:gd name="connsiteY291" fmla="*/ 186527 h 1648590"/>
                <a:gd name="connsiteX292" fmla="*/ 2712916 w 6512821"/>
                <a:gd name="connsiteY292" fmla="*/ 61155 h 1648590"/>
                <a:gd name="connsiteX293" fmla="*/ 2833208 w 6512821"/>
                <a:gd name="connsiteY293" fmla="*/ 0 h 1648590"/>
                <a:gd name="connsiteX294" fmla="*/ 2833208 w 6512821"/>
                <a:gd name="connsiteY294" fmla="*/ 186592 h 1648590"/>
                <a:gd name="connsiteX295" fmla="*/ 2945358 w 6512821"/>
                <a:gd name="connsiteY295" fmla="*/ 186592 h 1648590"/>
                <a:gd name="connsiteX296" fmla="*/ 2945358 w 6512821"/>
                <a:gd name="connsiteY296" fmla="*/ 301804 h 1648590"/>
                <a:gd name="connsiteX297" fmla="*/ 2833208 w 6512821"/>
                <a:gd name="connsiteY297" fmla="*/ 301804 h 1648590"/>
                <a:gd name="connsiteX298" fmla="*/ 2833208 w 6512821"/>
                <a:gd name="connsiteY298" fmla="*/ 503701 h 1648590"/>
                <a:gd name="connsiteX299" fmla="*/ 2880100 w 6512821"/>
                <a:gd name="connsiteY299" fmla="*/ 560819 h 1648590"/>
                <a:gd name="connsiteX300" fmla="*/ 2957602 w 6512821"/>
                <a:gd name="connsiteY300" fmla="*/ 527148 h 1648590"/>
                <a:gd name="connsiteX301" fmla="*/ 2397891 w 6512821"/>
                <a:gd name="connsiteY301" fmla="*/ 426134 h 1648590"/>
                <a:gd name="connsiteX302" fmla="*/ 2395872 w 6512821"/>
                <a:gd name="connsiteY302" fmla="*/ 467946 h 1648590"/>
                <a:gd name="connsiteX303" fmla="*/ 2114453 w 6512821"/>
                <a:gd name="connsiteY303" fmla="*/ 467946 h 1648590"/>
                <a:gd name="connsiteX304" fmla="*/ 2218462 w 6512821"/>
                <a:gd name="connsiteY304" fmla="*/ 562773 h 1648590"/>
                <a:gd name="connsiteX305" fmla="*/ 2301045 w 6512821"/>
                <a:gd name="connsiteY305" fmla="*/ 529102 h 1648590"/>
                <a:gd name="connsiteX306" fmla="*/ 2386689 w 6512821"/>
                <a:gd name="connsiteY306" fmla="*/ 601459 h 1648590"/>
                <a:gd name="connsiteX307" fmla="*/ 2210321 w 6512821"/>
                <a:gd name="connsiteY307" fmla="*/ 677919 h 1648590"/>
                <a:gd name="connsiteX308" fmla="*/ 1991100 w 6512821"/>
                <a:gd name="connsiteY308" fmla="*/ 429130 h 1648590"/>
                <a:gd name="connsiteX309" fmla="*/ 2205176 w 6512821"/>
                <a:gd name="connsiteY309" fmla="*/ 176302 h 1648590"/>
                <a:gd name="connsiteX310" fmla="*/ 2397891 w 6512821"/>
                <a:gd name="connsiteY310" fmla="*/ 426069 h 1648590"/>
                <a:gd name="connsiteX311" fmla="*/ 2116472 w 6512821"/>
                <a:gd name="connsiteY311" fmla="*/ 374162 h 1648590"/>
                <a:gd name="connsiteX312" fmla="*/ 2287759 w 6512821"/>
                <a:gd name="connsiteY312" fmla="*/ 374162 h 1648590"/>
                <a:gd name="connsiteX313" fmla="*/ 2199054 w 6512821"/>
                <a:gd name="connsiteY313" fmla="*/ 283438 h 1648590"/>
                <a:gd name="connsiteX314" fmla="*/ 2116472 w 6512821"/>
                <a:gd name="connsiteY314" fmla="*/ 374162 h 1648590"/>
                <a:gd name="connsiteX315" fmla="*/ 1933982 w 6512821"/>
                <a:gd name="connsiteY315" fmla="*/ 428218 h 1648590"/>
                <a:gd name="connsiteX316" fmla="*/ 1746413 w 6512821"/>
                <a:gd name="connsiteY316" fmla="*/ 677984 h 1648590"/>
                <a:gd name="connsiteX317" fmla="*/ 1639342 w 6512821"/>
                <a:gd name="connsiteY317" fmla="*/ 638191 h 1648590"/>
                <a:gd name="connsiteX318" fmla="*/ 1639342 w 6512821"/>
                <a:gd name="connsiteY318" fmla="*/ 784990 h 1648590"/>
                <a:gd name="connsiteX319" fmla="*/ 1519050 w 6512821"/>
                <a:gd name="connsiteY319" fmla="*/ 845169 h 1648590"/>
                <a:gd name="connsiteX320" fmla="*/ 1519050 w 6512821"/>
                <a:gd name="connsiteY320" fmla="*/ 186527 h 1648590"/>
                <a:gd name="connsiteX321" fmla="*/ 1639342 w 6512821"/>
                <a:gd name="connsiteY321" fmla="*/ 186527 h 1648590"/>
                <a:gd name="connsiteX322" fmla="*/ 1639342 w 6512821"/>
                <a:gd name="connsiteY322" fmla="*/ 219157 h 1648590"/>
                <a:gd name="connsiteX323" fmla="*/ 1748432 w 6512821"/>
                <a:gd name="connsiteY323" fmla="*/ 176367 h 1648590"/>
                <a:gd name="connsiteX324" fmla="*/ 1933982 w 6512821"/>
                <a:gd name="connsiteY324" fmla="*/ 428218 h 1648590"/>
                <a:gd name="connsiteX325" fmla="*/ 1809587 w 6512821"/>
                <a:gd name="connsiteY325" fmla="*/ 434340 h 1648590"/>
                <a:gd name="connsiteX326" fmla="*/ 1718864 w 6512821"/>
                <a:gd name="connsiteY326" fmla="*/ 292621 h 1648590"/>
                <a:gd name="connsiteX327" fmla="*/ 1639342 w 6512821"/>
                <a:gd name="connsiteY327" fmla="*/ 335410 h 1648590"/>
                <a:gd name="connsiteX328" fmla="*/ 1639342 w 6512821"/>
                <a:gd name="connsiteY328" fmla="*/ 518942 h 1648590"/>
                <a:gd name="connsiteX329" fmla="*/ 1726028 w 6512821"/>
                <a:gd name="connsiteY329" fmla="*/ 562773 h 1648590"/>
                <a:gd name="connsiteX330" fmla="*/ 1809652 w 6512821"/>
                <a:gd name="connsiteY330" fmla="*/ 434340 h 1648590"/>
                <a:gd name="connsiteX331" fmla="*/ 1435426 w 6512821"/>
                <a:gd name="connsiteY331" fmla="*/ 667825 h 1648590"/>
                <a:gd name="connsiteX332" fmla="*/ 1315134 w 6512821"/>
                <a:gd name="connsiteY332" fmla="*/ 667825 h 1648590"/>
                <a:gd name="connsiteX333" fmla="*/ 1315134 w 6512821"/>
                <a:gd name="connsiteY333" fmla="*/ 634153 h 1648590"/>
                <a:gd name="connsiteX334" fmla="*/ 1202983 w 6512821"/>
                <a:gd name="connsiteY334" fmla="*/ 677984 h 1648590"/>
                <a:gd name="connsiteX335" fmla="*/ 1033715 w 6512821"/>
                <a:gd name="connsiteY335" fmla="*/ 510800 h 1648590"/>
                <a:gd name="connsiteX336" fmla="*/ 1221284 w 6512821"/>
                <a:gd name="connsiteY336" fmla="*/ 348696 h 1648590"/>
                <a:gd name="connsiteX337" fmla="*/ 1315069 w 6512821"/>
                <a:gd name="connsiteY337" fmla="*/ 368040 h 1648590"/>
                <a:gd name="connsiteX338" fmla="*/ 1315069 w 6512821"/>
                <a:gd name="connsiteY338" fmla="*/ 342574 h 1648590"/>
                <a:gd name="connsiteX339" fmla="*/ 1232486 w 6512821"/>
                <a:gd name="connsiteY339" fmla="*/ 279335 h 1648590"/>
                <a:gd name="connsiteX340" fmla="*/ 1121378 w 6512821"/>
                <a:gd name="connsiteY340" fmla="*/ 310922 h 1648590"/>
                <a:gd name="connsiteX341" fmla="*/ 1073443 w 6512821"/>
                <a:gd name="connsiteY341" fmla="*/ 225278 h 1648590"/>
                <a:gd name="connsiteX342" fmla="*/ 1239650 w 6512821"/>
                <a:gd name="connsiteY342" fmla="*/ 176367 h 1648590"/>
                <a:gd name="connsiteX343" fmla="*/ 1435426 w 6512821"/>
                <a:gd name="connsiteY343" fmla="*/ 344593 h 1648590"/>
                <a:gd name="connsiteX344" fmla="*/ 1435426 w 6512821"/>
                <a:gd name="connsiteY344" fmla="*/ 667759 h 1648590"/>
                <a:gd name="connsiteX345" fmla="*/ 1315134 w 6512821"/>
                <a:gd name="connsiteY345" fmla="*/ 527083 h 1648590"/>
                <a:gd name="connsiteX346" fmla="*/ 1315134 w 6512821"/>
                <a:gd name="connsiteY346" fmla="*/ 465927 h 1648590"/>
                <a:gd name="connsiteX347" fmla="*/ 1234570 w 6512821"/>
                <a:gd name="connsiteY347" fmla="*/ 445542 h 1648590"/>
                <a:gd name="connsiteX348" fmla="*/ 1156091 w 6512821"/>
                <a:gd name="connsiteY348" fmla="*/ 507740 h 1648590"/>
                <a:gd name="connsiteX349" fmla="*/ 1224410 w 6512821"/>
                <a:gd name="connsiteY349" fmla="*/ 574040 h 1648590"/>
                <a:gd name="connsiteX350" fmla="*/ 1315134 w 6512821"/>
                <a:gd name="connsiteY350" fmla="*/ 527148 h 1648590"/>
                <a:gd name="connsiteX351" fmla="*/ 967480 w 6512821"/>
                <a:gd name="connsiteY351" fmla="*/ 667825 h 1648590"/>
                <a:gd name="connsiteX352" fmla="*/ 847188 w 6512821"/>
                <a:gd name="connsiteY352" fmla="*/ 667825 h 1648590"/>
                <a:gd name="connsiteX353" fmla="*/ 847188 w 6512821"/>
                <a:gd name="connsiteY353" fmla="*/ 405814 h 1648590"/>
                <a:gd name="connsiteX354" fmla="*/ 765647 w 6512821"/>
                <a:gd name="connsiteY354" fmla="*/ 292621 h 1648590"/>
                <a:gd name="connsiteX355" fmla="*/ 683065 w 6512821"/>
                <a:gd name="connsiteY355" fmla="*/ 402753 h 1648590"/>
                <a:gd name="connsiteX356" fmla="*/ 683065 w 6512821"/>
                <a:gd name="connsiteY356" fmla="*/ 667825 h 1648590"/>
                <a:gd name="connsiteX357" fmla="*/ 562773 w 6512821"/>
                <a:gd name="connsiteY357" fmla="*/ 667825 h 1648590"/>
                <a:gd name="connsiteX358" fmla="*/ 562773 w 6512821"/>
                <a:gd name="connsiteY358" fmla="*/ 61221 h 1648590"/>
                <a:gd name="connsiteX359" fmla="*/ 683065 w 6512821"/>
                <a:gd name="connsiteY359" fmla="*/ 65 h 1648590"/>
                <a:gd name="connsiteX360" fmla="*/ 683065 w 6512821"/>
                <a:gd name="connsiteY360" fmla="*/ 220264 h 1648590"/>
                <a:gd name="connsiteX361" fmla="*/ 796258 w 6512821"/>
                <a:gd name="connsiteY361" fmla="*/ 176432 h 1648590"/>
                <a:gd name="connsiteX362" fmla="*/ 967545 w 6512821"/>
                <a:gd name="connsiteY362" fmla="*/ 396631 h 1648590"/>
                <a:gd name="connsiteX363" fmla="*/ 967545 w 6512821"/>
                <a:gd name="connsiteY363" fmla="*/ 667825 h 1648590"/>
                <a:gd name="connsiteX364" fmla="*/ 496472 w 6512821"/>
                <a:gd name="connsiteY364" fmla="*/ 475110 h 1648590"/>
                <a:gd name="connsiteX365" fmla="*/ 255889 w 6512821"/>
                <a:gd name="connsiteY365" fmla="*/ 677984 h 1648590"/>
                <a:gd name="connsiteX366" fmla="*/ 0 w 6512821"/>
                <a:gd name="connsiteY366" fmla="*/ 562773 h 1648590"/>
                <a:gd name="connsiteX367" fmla="*/ 89747 w 6512821"/>
                <a:gd name="connsiteY367" fmla="*/ 483251 h 1648590"/>
                <a:gd name="connsiteX368" fmla="*/ 252893 w 6512821"/>
                <a:gd name="connsiteY368" fmla="*/ 556651 h 1648590"/>
                <a:gd name="connsiteX369" fmla="*/ 367063 w 6512821"/>
                <a:gd name="connsiteY369" fmla="*/ 478171 h 1648590"/>
                <a:gd name="connsiteX370" fmla="*/ 329353 w 6512821"/>
                <a:gd name="connsiteY370" fmla="*/ 426199 h 1648590"/>
                <a:gd name="connsiteX371" fmla="*/ 225344 w 6512821"/>
                <a:gd name="connsiteY371" fmla="*/ 394612 h 1648590"/>
                <a:gd name="connsiteX372" fmla="*/ 79522 w 6512821"/>
                <a:gd name="connsiteY372" fmla="*/ 335475 h 1648590"/>
                <a:gd name="connsiteX373" fmla="*/ 24488 w 6512821"/>
                <a:gd name="connsiteY373" fmla="*/ 207042 h 1648590"/>
                <a:gd name="connsiteX374" fmla="*/ 254912 w 6512821"/>
                <a:gd name="connsiteY374" fmla="*/ 16412 h 1648590"/>
                <a:gd name="connsiteX375" fmla="*/ 482274 w 6512821"/>
                <a:gd name="connsiteY375" fmla="*/ 115277 h 1648590"/>
                <a:gd name="connsiteX376" fmla="*/ 392528 w 6512821"/>
                <a:gd name="connsiteY376" fmla="*/ 202939 h 1648590"/>
                <a:gd name="connsiteX377" fmla="*/ 246706 w 6512821"/>
                <a:gd name="connsiteY377" fmla="*/ 137681 h 1648590"/>
                <a:gd name="connsiteX378" fmla="*/ 152921 w 6512821"/>
                <a:gd name="connsiteY378" fmla="*/ 199878 h 1648590"/>
                <a:gd name="connsiteX379" fmla="*/ 179428 w 6512821"/>
                <a:gd name="connsiteY379" fmla="*/ 243710 h 1648590"/>
                <a:gd name="connsiteX380" fmla="*/ 282396 w 6512821"/>
                <a:gd name="connsiteY380" fmla="*/ 277381 h 1648590"/>
                <a:gd name="connsiteX381" fmla="*/ 438378 w 6512821"/>
                <a:gd name="connsiteY381" fmla="*/ 341598 h 1648590"/>
                <a:gd name="connsiteX382" fmla="*/ 496472 w 6512821"/>
                <a:gd name="connsiteY382" fmla="*/ 475176 h 1648590"/>
                <a:gd name="connsiteX383" fmla="*/ 6100885 w 6512821"/>
                <a:gd name="connsiteY383" fmla="*/ 208996 h 1648590"/>
                <a:gd name="connsiteX384" fmla="*/ 6051778 w 6512821"/>
                <a:gd name="connsiteY384" fmla="*/ 329288 h 1648590"/>
                <a:gd name="connsiteX385" fmla="*/ 5982482 w 6512821"/>
                <a:gd name="connsiteY385" fmla="*/ 299720 h 1648590"/>
                <a:gd name="connsiteX386" fmla="*/ 5911232 w 6512821"/>
                <a:gd name="connsiteY386" fmla="*/ 405749 h 1648590"/>
                <a:gd name="connsiteX387" fmla="*/ 5911232 w 6512821"/>
                <a:gd name="connsiteY387" fmla="*/ 667759 h 1648590"/>
                <a:gd name="connsiteX388" fmla="*/ 5790940 w 6512821"/>
                <a:gd name="connsiteY388" fmla="*/ 667759 h 1648590"/>
                <a:gd name="connsiteX389" fmla="*/ 5790940 w 6512821"/>
                <a:gd name="connsiteY389" fmla="*/ 186527 h 1648590"/>
                <a:gd name="connsiteX390" fmla="*/ 5911232 w 6512821"/>
                <a:gd name="connsiteY390" fmla="*/ 186527 h 1648590"/>
                <a:gd name="connsiteX391" fmla="*/ 5911232 w 6512821"/>
                <a:gd name="connsiteY391" fmla="*/ 220198 h 1648590"/>
                <a:gd name="connsiteX392" fmla="*/ 6012181 w 6512821"/>
                <a:gd name="connsiteY392" fmla="*/ 176367 h 1648590"/>
                <a:gd name="connsiteX393" fmla="*/ 6100885 w 6512821"/>
                <a:gd name="connsiteY393" fmla="*/ 208996 h 1648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</a:cxnLst>
              <a:rect l="l" t="t" r="r" b="b"/>
              <a:pathLst>
                <a:path w="6512821" h="1648590">
                  <a:moveTo>
                    <a:pt x="5071143" y="1396740"/>
                  </a:moveTo>
                  <a:cubicBezTo>
                    <a:pt x="5071143" y="1412045"/>
                    <a:pt x="5070101" y="1431388"/>
                    <a:pt x="5069124" y="1438552"/>
                  </a:cubicBezTo>
                  <a:lnTo>
                    <a:pt x="4777545" y="1438552"/>
                  </a:lnTo>
                  <a:cubicBezTo>
                    <a:pt x="4782625" y="1505829"/>
                    <a:pt x="4828541" y="1533378"/>
                    <a:pt x="4880513" y="1533378"/>
                  </a:cubicBezTo>
                  <a:cubicBezTo>
                    <a:pt x="4911123" y="1533378"/>
                    <a:pt x="4939649" y="1524196"/>
                    <a:pt x="4964137" y="1499707"/>
                  </a:cubicBezTo>
                  <a:lnTo>
                    <a:pt x="5049781" y="1572065"/>
                  </a:lnTo>
                  <a:cubicBezTo>
                    <a:pt x="5004908" y="1628140"/>
                    <a:pt x="4936588" y="1648525"/>
                    <a:pt x="4875433" y="1648525"/>
                  </a:cubicBezTo>
                  <a:cubicBezTo>
                    <a:pt x="4734756" y="1648525"/>
                    <a:pt x="4654192" y="1540478"/>
                    <a:pt x="4654192" y="1398759"/>
                  </a:cubicBezTo>
                  <a:cubicBezTo>
                    <a:pt x="4654192" y="1244795"/>
                    <a:pt x="4749019" y="1146908"/>
                    <a:pt x="4867292" y="1146908"/>
                  </a:cubicBezTo>
                  <a:cubicBezTo>
                    <a:pt x="4993706" y="1146908"/>
                    <a:pt x="5071208" y="1258016"/>
                    <a:pt x="5071208" y="1396675"/>
                  </a:cubicBezTo>
                  <a:close/>
                  <a:moveTo>
                    <a:pt x="4779564" y="1344767"/>
                  </a:moveTo>
                  <a:lnTo>
                    <a:pt x="4950851" y="1344767"/>
                  </a:lnTo>
                  <a:cubicBezTo>
                    <a:pt x="4946748" y="1290711"/>
                    <a:pt x="4912100" y="1254044"/>
                    <a:pt x="4863189" y="1254044"/>
                  </a:cubicBezTo>
                  <a:cubicBezTo>
                    <a:pt x="4805094" y="1254044"/>
                    <a:pt x="4782625" y="1305039"/>
                    <a:pt x="4779564" y="1344767"/>
                  </a:cubicBezTo>
                  <a:close/>
                  <a:moveTo>
                    <a:pt x="6512756" y="1396740"/>
                  </a:moveTo>
                  <a:cubicBezTo>
                    <a:pt x="6512756" y="1412045"/>
                    <a:pt x="6511714" y="1431388"/>
                    <a:pt x="6510737" y="1438552"/>
                  </a:cubicBezTo>
                  <a:lnTo>
                    <a:pt x="6219158" y="1438552"/>
                  </a:lnTo>
                  <a:cubicBezTo>
                    <a:pt x="6224238" y="1505829"/>
                    <a:pt x="6270154" y="1533378"/>
                    <a:pt x="6322126" y="1533378"/>
                  </a:cubicBezTo>
                  <a:cubicBezTo>
                    <a:pt x="6352736" y="1533378"/>
                    <a:pt x="6381262" y="1524196"/>
                    <a:pt x="6405751" y="1499707"/>
                  </a:cubicBezTo>
                  <a:lnTo>
                    <a:pt x="6491394" y="1572065"/>
                  </a:lnTo>
                  <a:cubicBezTo>
                    <a:pt x="6446521" y="1628140"/>
                    <a:pt x="6378201" y="1648525"/>
                    <a:pt x="6317046" y="1648525"/>
                  </a:cubicBezTo>
                  <a:cubicBezTo>
                    <a:pt x="6176369" y="1648525"/>
                    <a:pt x="6095805" y="1540478"/>
                    <a:pt x="6095805" y="1398759"/>
                  </a:cubicBezTo>
                  <a:cubicBezTo>
                    <a:pt x="6095805" y="1244795"/>
                    <a:pt x="6190632" y="1146908"/>
                    <a:pt x="6308905" y="1146908"/>
                  </a:cubicBezTo>
                  <a:cubicBezTo>
                    <a:pt x="6435319" y="1146908"/>
                    <a:pt x="6512821" y="1258016"/>
                    <a:pt x="6512821" y="1396675"/>
                  </a:cubicBezTo>
                  <a:close/>
                  <a:moveTo>
                    <a:pt x="6221177" y="1344767"/>
                  </a:moveTo>
                  <a:lnTo>
                    <a:pt x="6392465" y="1344767"/>
                  </a:lnTo>
                  <a:cubicBezTo>
                    <a:pt x="6388361" y="1290711"/>
                    <a:pt x="6353713" y="1254044"/>
                    <a:pt x="6304802" y="1254044"/>
                  </a:cubicBezTo>
                  <a:cubicBezTo>
                    <a:pt x="6246708" y="1254044"/>
                    <a:pt x="6224238" y="1305039"/>
                    <a:pt x="6221177" y="1344767"/>
                  </a:cubicBezTo>
                  <a:close/>
                  <a:moveTo>
                    <a:pt x="5978509" y="1467143"/>
                  </a:moveTo>
                  <a:lnTo>
                    <a:pt x="6058031" y="1542561"/>
                  </a:lnTo>
                  <a:cubicBezTo>
                    <a:pt x="6017261" y="1594534"/>
                    <a:pt x="5961185" y="1648590"/>
                    <a:pt x="5866359" y="1648590"/>
                  </a:cubicBezTo>
                  <a:cubicBezTo>
                    <a:pt x="5734865" y="1648590"/>
                    <a:pt x="5637954" y="1543604"/>
                    <a:pt x="5637954" y="1398823"/>
                  </a:cubicBezTo>
                  <a:cubicBezTo>
                    <a:pt x="5637954" y="1266288"/>
                    <a:pt x="5718518" y="1146973"/>
                    <a:pt x="5868378" y="1146973"/>
                  </a:cubicBezTo>
                  <a:cubicBezTo>
                    <a:pt x="5954021" y="1146973"/>
                    <a:pt x="6013157" y="1185724"/>
                    <a:pt x="6056989" y="1250983"/>
                  </a:cubicBezTo>
                  <a:lnTo>
                    <a:pt x="5975448" y="1333565"/>
                  </a:lnTo>
                  <a:cubicBezTo>
                    <a:pt x="5946922" y="1295856"/>
                    <a:pt x="5916312" y="1266288"/>
                    <a:pt x="5867401" y="1266288"/>
                  </a:cubicBezTo>
                  <a:cubicBezTo>
                    <a:pt x="5801100" y="1266288"/>
                    <a:pt x="5766452" y="1322363"/>
                    <a:pt x="5766452" y="1396804"/>
                  </a:cubicBezTo>
                  <a:cubicBezTo>
                    <a:pt x="5766452" y="1466101"/>
                    <a:pt x="5797062" y="1528299"/>
                    <a:pt x="5868378" y="1528299"/>
                  </a:cubicBezTo>
                  <a:cubicBezTo>
                    <a:pt x="5912209" y="1528299"/>
                    <a:pt x="5948941" y="1504852"/>
                    <a:pt x="5978509" y="1467143"/>
                  </a:cubicBezTo>
                  <a:close/>
                  <a:moveTo>
                    <a:pt x="4869246" y="667825"/>
                  </a:moveTo>
                  <a:lnTo>
                    <a:pt x="4750973" y="667825"/>
                  </a:lnTo>
                  <a:lnTo>
                    <a:pt x="4750973" y="634153"/>
                  </a:lnTo>
                  <a:cubicBezTo>
                    <a:pt x="4724466" y="663721"/>
                    <a:pt x="4681676" y="677984"/>
                    <a:pt x="4638822" y="677984"/>
                  </a:cubicBezTo>
                  <a:cubicBezTo>
                    <a:pt x="4514427" y="677984"/>
                    <a:pt x="4467535" y="588238"/>
                    <a:pt x="4467535" y="458763"/>
                  </a:cubicBezTo>
                  <a:lnTo>
                    <a:pt x="4467535" y="186527"/>
                  </a:lnTo>
                  <a:lnTo>
                    <a:pt x="4587827" y="186527"/>
                  </a:lnTo>
                  <a:lnTo>
                    <a:pt x="4587827" y="448538"/>
                  </a:lnTo>
                  <a:cubicBezTo>
                    <a:pt x="4587827" y="513797"/>
                    <a:pt x="4601113" y="562708"/>
                    <a:pt x="4668390" y="562708"/>
                  </a:cubicBezTo>
                  <a:cubicBezTo>
                    <a:pt x="4735668" y="562708"/>
                    <a:pt x="4748954" y="511712"/>
                    <a:pt x="4748954" y="452576"/>
                  </a:cubicBezTo>
                  <a:lnTo>
                    <a:pt x="4748954" y="186462"/>
                  </a:lnTo>
                  <a:lnTo>
                    <a:pt x="4869246" y="186462"/>
                  </a:lnTo>
                  <a:lnTo>
                    <a:pt x="4869246" y="667695"/>
                  </a:lnTo>
                  <a:close/>
                  <a:moveTo>
                    <a:pt x="5244449" y="527083"/>
                  </a:moveTo>
                  <a:lnTo>
                    <a:pt x="5227125" y="649458"/>
                  </a:lnTo>
                  <a:cubicBezTo>
                    <a:pt x="5202637" y="668802"/>
                    <a:pt x="5157829" y="677984"/>
                    <a:pt x="5128261" y="677984"/>
                  </a:cubicBezTo>
                  <a:cubicBezTo>
                    <a:pt x="5054861" y="677984"/>
                    <a:pt x="4997744" y="622951"/>
                    <a:pt x="4997744" y="535224"/>
                  </a:cubicBezTo>
                  <a:lnTo>
                    <a:pt x="4997744" y="301739"/>
                  </a:lnTo>
                  <a:lnTo>
                    <a:pt x="4928447" y="301739"/>
                  </a:lnTo>
                  <a:lnTo>
                    <a:pt x="4928447" y="186527"/>
                  </a:lnTo>
                  <a:lnTo>
                    <a:pt x="4997744" y="186527"/>
                  </a:lnTo>
                  <a:lnTo>
                    <a:pt x="4997744" y="61155"/>
                  </a:lnTo>
                  <a:lnTo>
                    <a:pt x="5118035" y="0"/>
                  </a:lnTo>
                  <a:lnTo>
                    <a:pt x="5118035" y="186592"/>
                  </a:lnTo>
                  <a:lnTo>
                    <a:pt x="5232205" y="186592"/>
                  </a:lnTo>
                  <a:lnTo>
                    <a:pt x="5232205" y="301804"/>
                  </a:lnTo>
                  <a:lnTo>
                    <a:pt x="5118035" y="301804"/>
                  </a:lnTo>
                  <a:lnTo>
                    <a:pt x="5118035" y="503701"/>
                  </a:lnTo>
                  <a:cubicBezTo>
                    <a:pt x="5118035" y="545514"/>
                    <a:pt x="5135360" y="560819"/>
                    <a:pt x="5164928" y="560819"/>
                  </a:cubicBezTo>
                  <a:cubicBezTo>
                    <a:pt x="5194496" y="560819"/>
                    <a:pt x="5225106" y="545514"/>
                    <a:pt x="5244449" y="527148"/>
                  </a:cubicBezTo>
                  <a:close/>
                  <a:moveTo>
                    <a:pt x="3417407" y="667825"/>
                  </a:moveTo>
                  <a:lnTo>
                    <a:pt x="3297116" y="667825"/>
                  </a:lnTo>
                  <a:lnTo>
                    <a:pt x="3297116" y="405814"/>
                  </a:lnTo>
                  <a:cubicBezTo>
                    <a:pt x="3297116" y="340555"/>
                    <a:pt x="3282853" y="292621"/>
                    <a:pt x="3215575" y="292621"/>
                  </a:cubicBezTo>
                  <a:cubicBezTo>
                    <a:pt x="3148298" y="292621"/>
                    <a:pt x="3132993" y="336452"/>
                    <a:pt x="3132993" y="402753"/>
                  </a:cubicBezTo>
                  <a:lnTo>
                    <a:pt x="3132993" y="667825"/>
                  </a:lnTo>
                  <a:lnTo>
                    <a:pt x="3012701" y="667825"/>
                  </a:lnTo>
                  <a:lnTo>
                    <a:pt x="3012701" y="61221"/>
                  </a:lnTo>
                  <a:lnTo>
                    <a:pt x="3132993" y="65"/>
                  </a:lnTo>
                  <a:lnTo>
                    <a:pt x="3132993" y="220264"/>
                  </a:lnTo>
                  <a:cubicBezTo>
                    <a:pt x="3159500" y="193756"/>
                    <a:pt x="3192129" y="176432"/>
                    <a:pt x="3246186" y="176432"/>
                  </a:cubicBezTo>
                  <a:cubicBezTo>
                    <a:pt x="3373641" y="176432"/>
                    <a:pt x="3417473" y="274320"/>
                    <a:pt x="3417473" y="396631"/>
                  </a:cubicBezTo>
                  <a:lnTo>
                    <a:pt x="3417473" y="667825"/>
                  </a:lnTo>
                  <a:close/>
                  <a:moveTo>
                    <a:pt x="5564554" y="1638365"/>
                  </a:moveTo>
                  <a:lnTo>
                    <a:pt x="5440160" y="1638365"/>
                  </a:lnTo>
                  <a:lnTo>
                    <a:pt x="5440160" y="1376355"/>
                  </a:lnTo>
                  <a:cubicBezTo>
                    <a:pt x="5440160" y="1309077"/>
                    <a:pt x="5424855" y="1264204"/>
                    <a:pt x="5357577" y="1264204"/>
                  </a:cubicBezTo>
                  <a:cubicBezTo>
                    <a:pt x="5294337" y="1264204"/>
                    <a:pt x="5273952" y="1301913"/>
                    <a:pt x="5273952" y="1373293"/>
                  </a:cubicBezTo>
                  <a:lnTo>
                    <a:pt x="5273952" y="1638365"/>
                  </a:lnTo>
                  <a:lnTo>
                    <a:pt x="5149558" y="1638365"/>
                  </a:lnTo>
                  <a:lnTo>
                    <a:pt x="5149558" y="1157133"/>
                  </a:lnTo>
                  <a:lnTo>
                    <a:pt x="5273952" y="1157133"/>
                  </a:lnTo>
                  <a:lnTo>
                    <a:pt x="5273952" y="1189762"/>
                  </a:lnTo>
                  <a:cubicBezTo>
                    <a:pt x="5299418" y="1164297"/>
                    <a:pt x="5337192" y="1146973"/>
                    <a:pt x="5391183" y="1146973"/>
                  </a:cubicBezTo>
                  <a:cubicBezTo>
                    <a:pt x="5521700" y="1146973"/>
                    <a:pt x="5564490" y="1247922"/>
                    <a:pt x="5564490" y="1366195"/>
                  </a:cubicBezTo>
                  <a:lnTo>
                    <a:pt x="5564490" y="1638430"/>
                  </a:lnTo>
                  <a:close/>
                  <a:moveTo>
                    <a:pt x="4008772" y="1115386"/>
                  </a:moveTo>
                  <a:cubicBezTo>
                    <a:pt x="4048565" y="1115386"/>
                    <a:pt x="4080152" y="1083798"/>
                    <a:pt x="4080152" y="1044005"/>
                  </a:cubicBezTo>
                  <a:cubicBezTo>
                    <a:pt x="4080152" y="1004212"/>
                    <a:pt x="4048565" y="972624"/>
                    <a:pt x="4008772" y="972624"/>
                  </a:cubicBezTo>
                  <a:cubicBezTo>
                    <a:pt x="3968978" y="972624"/>
                    <a:pt x="3937391" y="1004212"/>
                    <a:pt x="3937391" y="1044005"/>
                  </a:cubicBezTo>
                  <a:cubicBezTo>
                    <a:pt x="3937391" y="1083798"/>
                    <a:pt x="3968978" y="1115386"/>
                    <a:pt x="4008772" y="1115386"/>
                  </a:cubicBezTo>
                  <a:close/>
                  <a:moveTo>
                    <a:pt x="829864" y="1115386"/>
                  </a:moveTo>
                  <a:cubicBezTo>
                    <a:pt x="869657" y="1115386"/>
                    <a:pt x="901244" y="1083798"/>
                    <a:pt x="901244" y="1044005"/>
                  </a:cubicBezTo>
                  <a:cubicBezTo>
                    <a:pt x="901244" y="1004212"/>
                    <a:pt x="869657" y="972624"/>
                    <a:pt x="829864" y="972624"/>
                  </a:cubicBezTo>
                  <a:cubicBezTo>
                    <a:pt x="790070" y="972624"/>
                    <a:pt x="758483" y="1004212"/>
                    <a:pt x="758483" y="1044005"/>
                  </a:cubicBezTo>
                  <a:cubicBezTo>
                    <a:pt x="758483" y="1083798"/>
                    <a:pt x="790070" y="1115386"/>
                    <a:pt x="829864" y="1115386"/>
                  </a:cubicBezTo>
                  <a:close/>
                  <a:moveTo>
                    <a:pt x="6512756" y="426134"/>
                  </a:moveTo>
                  <a:cubicBezTo>
                    <a:pt x="6512756" y="441439"/>
                    <a:pt x="6511714" y="460782"/>
                    <a:pt x="6510737" y="467946"/>
                  </a:cubicBezTo>
                  <a:lnTo>
                    <a:pt x="6219158" y="467946"/>
                  </a:lnTo>
                  <a:cubicBezTo>
                    <a:pt x="6224238" y="535224"/>
                    <a:pt x="6270154" y="562773"/>
                    <a:pt x="6322126" y="562773"/>
                  </a:cubicBezTo>
                  <a:cubicBezTo>
                    <a:pt x="6352736" y="562773"/>
                    <a:pt x="6381262" y="553590"/>
                    <a:pt x="6405751" y="529102"/>
                  </a:cubicBezTo>
                  <a:lnTo>
                    <a:pt x="6491394" y="601459"/>
                  </a:lnTo>
                  <a:cubicBezTo>
                    <a:pt x="6446521" y="657535"/>
                    <a:pt x="6378201" y="677919"/>
                    <a:pt x="6317046" y="677919"/>
                  </a:cubicBezTo>
                  <a:cubicBezTo>
                    <a:pt x="6176369" y="677919"/>
                    <a:pt x="6095805" y="569872"/>
                    <a:pt x="6095805" y="428153"/>
                  </a:cubicBezTo>
                  <a:cubicBezTo>
                    <a:pt x="6095805" y="274190"/>
                    <a:pt x="6190632" y="176302"/>
                    <a:pt x="6308905" y="176302"/>
                  </a:cubicBezTo>
                  <a:cubicBezTo>
                    <a:pt x="6435319" y="176302"/>
                    <a:pt x="6512821" y="287411"/>
                    <a:pt x="6512821" y="426069"/>
                  </a:cubicBezTo>
                  <a:close/>
                  <a:moveTo>
                    <a:pt x="6221177" y="374162"/>
                  </a:moveTo>
                  <a:lnTo>
                    <a:pt x="6392465" y="374162"/>
                  </a:lnTo>
                  <a:cubicBezTo>
                    <a:pt x="6388361" y="320105"/>
                    <a:pt x="6353713" y="283438"/>
                    <a:pt x="6304802" y="283438"/>
                  </a:cubicBezTo>
                  <a:cubicBezTo>
                    <a:pt x="6246708" y="283438"/>
                    <a:pt x="6224238" y="334433"/>
                    <a:pt x="6221177" y="374162"/>
                  </a:cubicBezTo>
                  <a:close/>
                  <a:moveTo>
                    <a:pt x="5702235" y="667825"/>
                  </a:moveTo>
                  <a:lnTo>
                    <a:pt x="5583963" y="667825"/>
                  </a:lnTo>
                  <a:lnTo>
                    <a:pt x="5583963" y="634153"/>
                  </a:lnTo>
                  <a:cubicBezTo>
                    <a:pt x="5557456" y="663721"/>
                    <a:pt x="5514666" y="677984"/>
                    <a:pt x="5471812" y="677984"/>
                  </a:cubicBezTo>
                  <a:cubicBezTo>
                    <a:pt x="5347417" y="677984"/>
                    <a:pt x="5300525" y="588238"/>
                    <a:pt x="5300525" y="458763"/>
                  </a:cubicBezTo>
                  <a:lnTo>
                    <a:pt x="5300525" y="186527"/>
                  </a:lnTo>
                  <a:lnTo>
                    <a:pt x="5420817" y="186527"/>
                  </a:lnTo>
                  <a:lnTo>
                    <a:pt x="5420817" y="448538"/>
                  </a:lnTo>
                  <a:cubicBezTo>
                    <a:pt x="5420817" y="513797"/>
                    <a:pt x="5434103" y="562708"/>
                    <a:pt x="5501380" y="562708"/>
                  </a:cubicBezTo>
                  <a:cubicBezTo>
                    <a:pt x="5568657" y="562708"/>
                    <a:pt x="5581944" y="511712"/>
                    <a:pt x="5581944" y="452576"/>
                  </a:cubicBezTo>
                  <a:lnTo>
                    <a:pt x="5581944" y="186462"/>
                  </a:lnTo>
                  <a:lnTo>
                    <a:pt x="5702235" y="186462"/>
                  </a:lnTo>
                  <a:lnTo>
                    <a:pt x="5702235" y="667695"/>
                  </a:lnTo>
                  <a:close/>
                  <a:moveTo>
                    <a:pt x="3895579" y="426134"/>
                  </a:moveTo>
                  <a:cubicBezTo>
                    <a:pt x="3895579" y="441439"/>
                    <a:pt x="3894537" y="460782"/>
                    <a:pt x="3893560" y="467946"/>
                  </a:cubicBezTo>
                  <a:lnTo>
                    <a:pt x="3601981" y="467946"/>
                  </a:lnTo>
                  <a:cubicBezTo>
                    <a:pt x="3607061" y="535224"/>
                    <a:pt x="3652976" y="562773"/>
                    <a:pt x="3704949" y="562773"/>
                  </a:cubicBezTo>
                  <a:cubicBezTo>
                    <a:pt x="3735559" y="562773"/>
                    <a:pt x="3764085" y="553590"/>
                    <a:pt x="3788573" y="529102"/>
                  </a:cubicBezTo>
                  <a:lnTo>
                    <a:pt x="3874217" y="601459"/>
                  </a:lnTo>
                  <a:cubicBezTo>
                    <a:pt x="3829343" y="657535"/>
                    <a:pt x="3761024" y="677919"/>
                    <a:pt x="3699868" y="677919"/>
                  </a:cubicBezTo>
                  <a:cubicBezTo>
                    <a:pt x="3559192" y="677919"/>
                    <a:pt x="3478628" y="569872"/>
                    <a:pt x="3478628" y="428153"/>
                  </a:cubicBezTo>
                  <a:cubicBezTo>
                    <a:pt x="3478628" y="274190"/>
                    <a:pt x="3573455" y="176302"/>
                    <a:pt x="3691727" y="176302"/>
                  </a:cubicBezTo>
                  <a:cubicBezTo>
                    <a:pt x="3818141" y="176302"/>
                    <a:pt x="3895644" y="287411"/>
                    <a:pt x="3895644" y="426069"/>
                  </a:cubicBezTo>
                  <a:close/>
                  <a:moveTo>
                    <a:pt x="3604000" y="374162"/>
                  </a:moveTo>
                  <a:lnTo>
                    <a:pt x="3775287" y="374162"/>
                  </a:lnTo>
                  <a:cubicBezTo>
                    <a:pt x="3771184" y="320105"/>
                    <a:pt x="3736536" y="283438"/>
                    <a:pt x="3687624" y="283438"/>
                  </a:cubicBezTo>
                  <a:cubicBezTo>
                    <a:pt x="3629530" y="283438"/>
                    <a:pt x="3607061" y="334433"/>
                    <a:pt x="3604000" y="374162"/>
                  </a:cubicBezTo>
                  <a:close/>
                  <a:moveTo>
                    <a:pt x="4579686" y="1638365"/>
                  </a:moveTo>
                  <a:lnTo>
                    <a:pt x="4455291" y="1638365"/>
                  </a:lnTo>
                  <a:lnTo>
                    <a:pt x="4455291" y="1606778"/>
                  </a:lnTo>
                  <a:cubicBezTo>
                    <a:pt x="4414521" y="1636346"/>
                    <a:pt x="4390032" y="1648590"/>
                    <a:pt x="4346201" y="1648590"/>
                  </a:cubicBezTo>
                  <a:cubicBezTo>
                    <a:pt x="4207543" y="1648590"/>
                    <a:pt x="4148406" y="1528299"/>
                    <a:pt x="4148406" y="1393678"/>
                  </a:cubicBezTo>
                  <a:cubicBezTo>
                    <a:pt x="4148406" y="1247856"/>
                    <a:pt x="4217703" y="1146973"/>
                    <a:pt x="4343140" y="1146973"/>
                  </a:cubicBezTo>
                  <a:cubicBezTo>
                    <a:pt x="4384952" y="1146973"/>
                    <a:pt x="4424681" y="1158175"/>
                    <a:pt x="4455291" y="1185724"/>
                  </a:cubicBezTo>
                  <a:lnTo>
                    <a:pt x="4455291" y="1031761"/>
                  </a:lnTo>
                  <a:lnTo>
                    <a:pt x="4579686" y="969564"/>
                  </a:lnTo>
                  <a:lnTo>
                    <a:pt x="4579686" y="1638365"/>
                  </a:lnTo>
                  <a:close/>
                  <a:moveTo>
                    <a:pt x="4455356" y="1489547"/>
                  </a:moveTo>
                  <a:lnTo>
                    <a:pt x="4455356" y="1306016"/>
                  </a:lnTo>
                  <a:cubicBezTo>
                    <a:pt x="4428849" y="1277490"/>
                    <a:pt x="4403384" y="1264204"/>
                    <a:pt x="4368670" y="1264204"/>
                  </a:cubicBezTo>
                  <a:cubicBezTo>
                    <a:pt x="4296313" y="1264204"/>
                    <a:pt x="4278924" y="1321321"/>
                    <a:pt x="4278924" y="1389575"/>
                  </a:cubicBezTo>
                  <a:cubicBezTo>
                    <a:pt x="4278924" y="1467078"/>
                    <a:pt x="4301328" y="1531294"/>
                    <a:pt x="4371731" y="1531294"/>
                  </a:cubicBezTo>
                  <a:cubicBezTo>
                    <a:pt x="4406380" y="1531294"/>
                    <a:pt x="4430868" y="1515989"/>
                    <a:pt x="4455356" y="1489482"/>
                  </a:cubicBezTo>
                  <a:close/>
                  <a:moveTo>
                    <a:pt x="3945532" y="1157198"/>
                  </a:moveTo>
                  <a:lnTo>
                    <a:pt x="3945532" y="1638430"/>
                  </a:lnTo>
                  <a:lnTo>
                    <a:pt x="4069927" y="1638430"/>
                  </a:lnTo>
                  <a:lnTo>
                    <a:pt x="4069927" y="1157198"/>
                  </a:lnTo>
                  <a:lnTo>
                    <a:pt x="3945532" y="1157198"/>
                  </a:lnTo>
                  <a:close/>
                  <a:moveTo>
                    <a:pt x="3873175" y="985911"/>
                  </a:moveTo>
                  <a:lnTo>
                    <a:pt x="3873175" y="1085817"/>
                  </a:lnTo>
                  <a:cubicBezTo>
                    <a:pt x="3854809" y="1079695"/>
                    <a:pt x="3830386" y="1076634"/>
                    <a:pt x="3812019" y="1076634"/>
                  </a:cubicBezTo>
                  <a:cubicBezTo>
                    <a:pt x="3776329" y="1076634"/>
                    <a:pt x="3760047" y="1087836"/>
                    <a:pt x="3760047" y="1118447"/>
                  </a:cubicBezTo>
                  <a:lnTo>
                    <a:pt x="3760047" y="1157198"/>
                  </a:lnTo>
                  <a:lnTo>
                    <a:pt x="3863015" y="1157198"/>
                  </a:lnTo>
                  <a:lnTo>
                    <a:pt x="3863015" y="1273452"/>
                  </a:lnTo>
                  <a:lnTo>
                    <a:pt x="3760047" y="1273452"/>
                  </a:lnTo>
                  <a:lnTo>
                    <a:pt x="3760047" y="1638430"/>
                  </a:lnTo>
                  <a:lnTo>
                    <a:pt x="3635652" y="1638430"/>
                  </a:lnTo>
                  <a:lnTo>
                    <a:pt x="3635652" y="1273452"/>
                  </a:lnTo>
                  <a:lnTo>
                    <a:pt x="3568375" y="1273452"/>
                  </a:lnTo>
                  <a:lnTo>
                    <a:pt x="3568375" y="1157198"/>
                  </a:lnTo>
                  <a:lnTo>
                    <a:pt x="3635652" y="1157198"/>
                  </a:lnTo>
                  <a:lnTo>
                    <a:pt x="3635652" y="1099104"/>
                  </a:lnTo>
                  <a:cubicBezTo>
                    <a:pt x="3635652" y="1009357"/>
                    <a:pt x="3691727" y="972690"/>
                    <a:pt x="3782451" y="972690"/>
                  </a:cubicBezTo>
                  <a:cubicBezTo>
                    <a:pt x="3808958" y="972690"/>
                    <a:pt x="3847710" y="975751"/>
                    <a:pt x="3873175" y="985976"/>
                  </a:cubicBezTo>
                  <a:close/>
                  <a:moveTo>
                    <a:pt x="3507154" y="1638365"/>
                  </a:moveTo>
                  <a:lnTo>
                    <a:pt x="3382759" y="1638365"/>
                  </a:lnTo>
                  <a:lnTo>
                    <a:pt x="3382759" y="1376355"/>
                  </a:lnTo>
                  <a:cubicBezTo>
                    <a:pt x="3382759" y="1309077"/>
                    <a:pt x="3367454" y="1264204"/>
                    <a:pt x="3300177" y="1264204"/>
                  </a:cubicBezTo>
                  <a:cubicBezTo>
                    <a:pt x="3236937" y="1264204"/>
                    <a:pt x="3216552" y="1301913"/>
                    <a:pt x="3216552" y="1373293"/>
                  </a:cubicBezTo>
                  <a:lnTo>
                    <a:pt x="3216552" y="1638365"/>
                  </a:lnTo>
                  <a:lnTo>
                    <a:pt x="3092157" y="1638365"/>
                  </a:lnTo>
                  <a:lnTo>
                    <a:pt x="3092157" y="1157133"/>
                  </a:lnTo>
                  <a:lnTo>
                    <a:pt x="3216552" y="1157133"/>
                  </a:lnTo>
                  <a:lnTo>
                    <a:pt x="3216552" y="1189762"/>
                  </a:lnTo>
                  <a:cubicBezTo>
                    <a:pt x="3242017" y="1164297"/>
                    <a:pt x="3279792" y="1146973"/>
                    <a:pt x="3333783" y="1146973"/>
                  </a:cubicBezTo>
                  <a:cubicBezTo>
                    <a:pt x="3464300" y="1146973"/>
                    <a:pt x="3507089" y="1247922"/>
                    <a:pt x="3507089" y="1366195"/>
                  </a:cubicBezTo>
                  <a:lnTo>
                    <a:pt x="3507089" y="1638430"/>
                  </a:lnTo>
                  <a:close/>
                  <a:moveTo>
                    <a:pt x="2792437" y="1146973"/>
                  </a:moveTo>
                  <a:cubicBezTo>
                    <a:pt x="2653779" y="1146973"/>
                    <a:pt x="2567094" y="1256063"/>
                    <a:pt x="2567094" y="1397782"/>
                  </a:cubicBezTo>
                  <a:cubicBezTo>
                    <a:pt x="2567094" y="1546665"/>
                    <a:pt x="2661920" y="1648590"/>
                    <a:pt x="2792437" y="1648590"/>
                  </a:cubicBezTo>
                  <a:cubicBezTo>
                    <a:pt x="2922954" y="1648590"/>
                    <a:pt x="3017781" y="1546665"/>
                    <a:pt x="3017781" y="1397782"/>
                  </a:cubicBezTo>
                  <a:cubicBezTo>
                    <a:pt x="3017781" y="1248899"/>
                    <a:pt x="2931095" y="1146973"/>
                    <a:pt x="2792437" y="1146973"/>
                  </a:cubicBezTo>
                  <a:close/>
                  <a:moveTo>
                    <a:pt x="2792437" y="1528299"/>
                  </a:moveTo>
                  <a:cubicBezTo>
                    <a:pt x="2712916" y="1528299"/>
                    <a:pt x="2695592" y="1451838"/>
                    <a:pt x="2695592" y="1397782"/>
                  </a:cubicBezTo>
                  <a:cubicBezTo>
                    <a:pt x="2695592" y="1323340"/>
                    <a:pt x="2726202" y="1266288"/>
                    <a:pt x="2792437" y="1266288"/>
                  </a:cubicBezTo>
                  <a:cubicBezTo>
                    <a:pt x="2858673" y="1266288"/>
                    <a:pt x="2889283" y="1323405"/>
                    <a:pt x="2889283" y="1397782"/>
                  </a:cubicBezTo>
                  <a:cubicBezTo>
                    <a:pt x="2889283" y="1451838"/>
                    <a:pt x="2871959" y="1528299"/>
                    <a:pt x="2792437" y="1528299"/>
                  </a:cubicBezTo>
                  <a:close/>
                  <a:moveTo>
                    <a:pt x="2446802" y="1467143"/>
                  </a:moveTo>
                  <a:lnTo>
                    <a:pt x="2526323" y="1542561"/>
                  </a:lnTo>
                  <a:cubicBezTo>
                    <a:pt x="2485553" y="1594534"/>
                    <a:pt x="2429478" y="1648590"/>
                    <a:pt x="2334651" y="1648590"/>
                  </a:cubicBezTo>
                  <a:cubicBezTo>
                    <a:pt x="2203157" y="1648590"/>
                    <a:pt x="2106246" y="1543604"/>
                    <a:pt x="2106246" y="1398823"/>
                  </a:cubicBezTo>
                  <a:cubicBezTo>
                    <a:pt x="2106246" y="1266288"/>
                    <a:pt x="2186810" y="1146973"/>
                    <a:pt x="2336670" y="1146973"/>
                  </a:cubicBezTo>
                  <a:cubicBezTo>
                    <a:pt x="2422314" y="1146973"/>
                    <a:pt x="2481450" y="1185724"/>
                    <a:pt x="2525281" y="1250983"/>
                  </a:cubicBezTo>
                  <a:lnTo>
                    <a:pt x="2443741" y="1333565"/>
                  </a:lnTo>
                  <a:cubicBezTo>
                    <a:pt x="2415215" y="1295856"/>
                    <a:pt x="2384604" y="1266288"/>
                    <a:pt x="2335693" y="1266288"/>
                  </a:cubicBezTo>
                  <a:cubicBezTo>
                    <a:pt x="2269393" y="1266288"/>
                    <a:pt x="2234744" y="1322363"/>
                    <a:pt x="2234744" y="1396804"/>
                  </a:cubicBezTo>
                  <a:cubicBezTo>
                    <a:pt x="2234744" y="1466101"/>
                    <a:pt x="2265355" y="1528299"/>
                    <a:pt x="2336670" y="1528299"/>
                  </a:cubicBezTo>
                  <a:cubicBezTo>
                    <a:pt x="2380501" y="1528299"/>
                    <a:pt x="2417234" y="1504852"/>
                    <a:pt x="2446802" y="1467143"/>
                  </a:cubicBezTo>
                  <a:close/>
                  <a:moveTo>
                    <a:pt x="1803530" y="1638365"/>
                  </a:moveTo>
                  <a:lnTo>
                    <a:pt x="1679135" y="1638365"/>
                  </a:lnTo>
                  <a:lnTo>
                    <a:pt x="1679135" y="1376355"/>
                  </a:lnTo>
                  <a:cubicBezTo>
                    <a:pt x="1679135" y="1309077"/>
                    <a:pt x="1663830" y="1264204"/>
                    <a:pt x="1596553" y="1264204"/>
                  </a:cubicBezTo>
                  <a:cubicBezTo>
                    <a:pt x="1533314" y="1264204"/>
                    <a:pt x="1511951" y="1301913"/>
                    <a:pt x="1511951" y="1373293"/>
                  </a:cubicBezTo>
                  <a:lnTo>
                    <a:pt x="1511951" y="1638365"/>
                  </a:lnTo>
                  <a:lnTo>
                    <a:pt x="1387557" y="1638365"/>
                  </a:lnTo>
                  <a:lnTo>
                    <a:pt x="1387557" y="1031761"/>
                  </a:lnTo>
                  <a:lnTo>
                    <a:pt x="1511951" y="969564"/>
                  </a:lnTo>
                  <a:lnTo>
                    <a:pt x="1511951" y="1189762"/>
                  </a:lnTo>
                  <a:cubicBezTo>
                    <a:pt x="1535398" y="1161236"/>
                    <a:pt x="1584309" y="1146973"/>
                    <a:pt x="1632243" y="1146973"/>
                  </a:cubicBezTo>
                  <a:cubicBezTo>
                    <a:pt x="1758657" y="1146973"/>
                    <a:pt x="1803530" y="1246880"/>
                    <a:pt x="1803530" y="1366195"/>
                  </a:cubicBezTo>
                  <a:lnTo>
                    <a:pt x="1803530" y="1638430"/>
                  </a:lnTo>
                  <a:close/>
                  <a:moveTo>
                    <a:pt x="1311031" y="1493650"/>
                  </a:moveTo>
                  <a:lnTo>
                    <a:pt x="1292665" y="1619022"/>
                  </a:lnTo>
                  <a:cubicBezTo>
                    <a:pt x="1267200" y="1639407"/>
                    <a:pt x="1205979" y="1648590"/>
                    <a:pt x="1173350" y="1648590"/>
                  </a:cubicBezTo>
                  <a:cubicBezTo>
                    <a:pt x="1097931" y="1648590"/>
                    <a:pt x="1043875" y="1588412"/>
                    <a:pt x="1043875" y="1504852"/>
                  </a:cubicBezTo>
                  <a:lnTo>
                    <a:pt x="1043875" y="1273387"/>
                  </a:lnTo>
                  <a:lnTo>
                    <a:pt x="960250" y="1273387"/>
                  </a:lnTo>
                  <a:lnTo>
                    <a:pt x="960250" y="1157133"/>
                  </a:lnTo>
                  <a:lnTo>
                    <a:pt x="1043875" y="1157133"/>
                  </a:lnTo>
                  <a:lnTo>
                    <a:pt x="1043875" y="1031761"/>
                  </a:lnTo>
                  <a:lnTo>
                    <a:pt x="1168270" y="969564"/>
                  </a:lnTo>
                  <a:lnTo>
                    <a:pt x="1168270" y="1157133"/>
                  </a:lnTo>
                  <a:lnTo>
                    <a:pt x="1308947" y="1157133"/>
                  </a:lnTo>
                  <a:lnTo>
                    <a:pt x="1308947" y="1273387"/>
                  </a:lnTo>
                  <a:lnTo>
                    <a:pt x="1168270" y="1273387"/>
                  </a:lnTo>
                  <a:lnTo>
                    <a:pt x="1168270" y="1471181"/>
                  </a:lnTo>
                  <a:cubicBezTo>
                    <a:pt x="1168270" y="1515012"/>
                    <a:pt x="1184552" y="1529275"/>
                    <a:pt x="1214120" y="1529275"/>
                  </a:cubicBezTo>
                  <a:cubicBezTo>
                    <a:pt x="1243688" y="1529275"/>
                    <a:pt x="1289539" y="1513970"/>
                    <a:pt x="1310966" y="1493585"/>
                  </a:cubicBezTo>
                  <a:close/>
                  <a:moveTo>
                    <a:pt x="767666" y="1157198"/>
                  </a:moveTo>
                  <a:lnTo>
                    <a:pt x="767666" y="1638430"/>
                  </a:lnTo>
                  <a:lnTo>
                    <a:pt x="892061" y="1638430"/>
                  </a:lnTo>
                  <a:lnTo>
                    <a:pt x="892061" y="1157198"/>
                  </a:lnTo>
                  <a:lnTo>
                    <a:pt x="767666" y="1157198"/>
                  </a:lnTo>
                  <a:close/>
                  <a:moveTo>
                    <a:pt x="702408" y="1157198"/>
                  </a:moveTo>
                  <a:lnTo>
                    <a:pt x="550529" y="1638430"/>
                  </a:lnTo>
                  <a:lnTo>
                    <a:pt x="436359" y="1638430"/>
                  </a:lnTo>
                  <a:lnTo>
                    <a:pt x="354819" y="1345809"/>
                  </a:lnTo>
                  <a:lnTo>
                    <a:pt x="272236" y="1638430"/>
                  </a:lnTo>
                  <a:lnTo>
                    <a:pt x="158066" y="1638430"/>
                  </a:lnTo>
                  <a:lnTo>
                    <a:pt x="7099" y="1157198"/>
                  </a:lnTo>
                  <a:lnTo>
                    <a:pt x="145757" y="1157198"/>
                  </a:lnTo>
                  <a:lnTo>
                    <a:pt x="218114" y="1436533"/>
                  </a:lnTo>
                  <a:lnTo>
                    <a:pt x="299655" y="1157198"/>
                  </a:lnTo>
                  <a:lnTo>
                    <a:pt x="412848" y="1157198"/>
                  </a:lnTo>
                  <a:lnTo>
                    <a:pt x="494388" y="1436533"/>
                  </a:lnTo>
                  <a:lnTo>
                    <a:pt x="567788" y="1157198"/>
                  </a:lnTo>
                  <a:lnTo>
                    <a:pt x="702343" y="1157198"/>
                  </a:lnTo>
                  <a:close/>
                  <a:moveTo>
                    <a:pt x="4436990" y="16282"/>
                  </a:moveTo>
                  <a:lnTo>
                    <a:pt x="4436990" y="115147"/>
                  </a:lnTo>
                  <a:cubicBezTo>
                    <a:pt x="4409441" y="107983"/>
                    <a:pt x="4391139" y="104921"/>
                    <a:pt x="4374792" y="104921"/>
                  </a:cubicBezTo>
                  <a:cubicBezTo>
                    <a:pt x="4332003" y="104921"/>
                    <a:pt x="4322820" y="120227"/>
                    <a:pt x="4322820" y="144715"/>
                  </a:cubicBezTo>
                  <a:lnTo>
                    <a:pt x="4322820" y="186527"/>
                  </a:lnTo>
                  <a:lnTo>
                    <a:pt x="4404361" y="186527"/>
                  </a:lnTo>
                  <a:lnTo>
                    <a:pt x="4404361" y="302781"/>
                  </a:lnTo>
                  <a:lnTo>
                    <a:pt x="4322820" y="302781"/>
                  </a:lnTo>
                  <a:lnTo>
                    <a:pt x="4322820" y="667759"/>
                  </a:lnTo>
                  <a:lnTo>
                    <a:pt x="4202528" y="667759"/>
                  </a:lnTo>
                  <a:lnTo>
                    <a:pt x="4202528" y="302781"/>
                  </a:lnTo>
                  <a:lnTo>
                    <a:pt x="4143392" y="302781"/>
                  </a:lnTo>
                  <a:lnTo>
                    <a:pt x="4143392" y="186527"/>
                  </a:lnTo>
                  <a:lnTo>
                    <a:pt x="4202528" y="186527"/>
                  </a:lnTo>
                  <a:lnTo>
                    <a:pt x="4202528" y="128433"/>
                  </a:lnTo>
                  <a:cubicBezTo>
                    <a:pt x="4202528" y="44808"/>
                    <a:pt x="4246360" y="2019"/>
                    <a:pt x="4348350" y="2019"/>
                  </a:cubicBezTo>
                  <a:cubicBezTo>
                    <a:pt x="4380980" y="2019"/>
                    <a:pt x="4407487" y="8141"/>
                    <a:pt x="4437055" y="16282"/>
                  </a:cubicBezTo>
                  <a:close/>
                  <a:moveTo>
                    <a:pt x="2957602" y="527083"/>
                  </a:moveTo>
                  <a:lnTo>
                    <a:pt x="2940278" y="649458"/>
                  </a:lnTo>
                  <a:cubicBezTo>
                    <a:pt x="2915790" y="668802"/>
                    <a:pt x="2873001" y="677984"/>
                    <a:pt x="2843433" y="677984"/>
                  </a:cubicBezTo>
                  <a:cubicBezTo>
                    <a:pt x="2770033" y="677984"/>
                    <a:pt x="2712916" y="622951"/>
                    <a:pt x="2712916" y="535224"/>
                  </a:cubicBezTo>
                  <a:lnTo>
                    <a:pt x="2712916" y="301739"/>
                  </a:lnTo>
                  <a:lnTo>
                    <a:pt x="2629291" y="301739"/>
                  </a:lnTo>
                  <a:lnTo>
                    <a:pt x="2629291" y="186527"/>
                  </a:lnTo>
                  <a:lnTo>
                    <a:pt x="2712916" y="186527"/>
                  </a:lnTo>
                  <a:lnTo>
                    <a:pt x="2712916" y="61155"/>
                  </a:lnTo>
                  <a:lnTo>
                    <a:pt x="2833208" y="0"/>
                  </a:lnTo>
                  <a:lnTo>
                    <a:pt x="2833208" y="186592"/>
                  </a:lnTo>
                  <a:lnTo>
                    <a:pt x="2945358" y="186592"/>
                  </a:lnTo>
                  <a:lnTo>
                    <a:pt x="2945358" y="301804"/>
                  </a:lnTo>
                  <a:lnTo>
                    <a:pt x="2833208" y="301804"/>
                  </a:lnTo>
                  <a:lnTo>
                    <a:pt x="2833208" y="503701"/>
                  </a:lnTo>
                  <a:cubicBezTo>
                    <a:pt x="2833208" y="545514"/>
                    <a:pt x="2850532" y="560819"/>
                    <a:pt x="2880100" y="560819"/>
                  </a:cubicBezTo>
                  <a:cubicBezTo>
                    <a:pt x="2909668" y="560819"/>
                    <a:pt x="2938194" y="545514"/>
                    <a:pt x="2957602" y="527148"/>
                  </a:cubicBezTo>
                  <a:close/>
                  <a:moveTo>
                    <a:pt x="2397891" y="426134"/>
                  </a:moveTo>
                  <a:cubicBezTo>
                    <a:pt x="2397891" y="441439"/>
                    <a:pt x="2396849" y="460782"/>
                    <a:pt x="2395872" y="467946"/>
                  </a:cubicBezTo>
                  <a:lnTo>
                    <a:pt x="2114453" y="467946"/>
                  </a:lnTo>
                  <a:cubicBezTo>
                    <a:pt x="2119533" y="535224"/>
                    <a:pt x="2166425" y="562773"/>
                    <a:pt x="2218462" y="562773"/>
                  </a:cubicBezTo>
                  <a:cubicBezTo>
                    <a:pt x="2249073" y="562773"/>
                    <a:pt x="2276557" y="553590"/>
                    <a:pt x="2301045" y="529102"/>
                  </a:cubicBezTo>
                  <a:lnTo>
                    <a:pt x="2386689" y="601459"/>
                  </a:lnTo>
                  <a:cubicBezTo>
                    <a:pt x="2346895" y="654473"/>
                    <a:pt x="2274538" y="677919"/>
                    <a:pt x="2210321" y="677919"/>
                  </a:cubicBezTo>
                  <a:cubicBezTo>
                    <a:pt x="2072705" y="677919"/>
                    <a:pt x="1991100" y="569872"/>
                    <a:pt x="1991100" y="429130"/>
                  </a:cubicBezTo>
                  <a:cubicBezTo>
                    <a:pt x="1991100" y="288388"/>
                    <a:pt x="2079804" y="176302"/>
                    <a:pt x="2205176" y="176302"/>
                  </a:cubicBezTo>
                  <a:cubicBezTo>
                    <a:pt x="2339731" y="176302"/>
                    <a:pt x="2397891" y="298678"/>
                    <a:pt x="2397891" y="426069"/>
                  </a:cubicBezTo>
                  <a:close/>
                  <a:moveTo>
                    <a:pt x="2116472" y="374162"/>
                  </a:moveTo>
                  <a:lnTo>
                    <a:pt x="2287759" y="374162"/>
                  </a:lnTo>
                  <a:cubicBezTo>
                    <a:pt x="2282679" y="320105"/>
                    <a:pt x="2251027" y="283438"/>
                    <a:pt x="2199054" y="283438"/>
                  </a:cubicBezTo>
                  <a:cubicBezTo>
                    <a:pt x="2144021" y="283438"/>
                    <a:pt x="2119533" y="334433"/>
                    <a:pt x="2116472" y="374162"/>
                  </a:cubicBezTo>
                  <a:close/>
                  <a:moveTo>
                    <a:pt x="1933982" y="428218"/>
                  </a:moveTo>
                  <a:cubicBezTo>
                    <a:pt x="1933982" y="551571"/>
                    <a:pt x="1882987" y="677984"/>
                    <a:pt x="1746413" y="677984"/>
                  </a:cubicBezTo>
                  <a:cubicBezTo>
                    <a:pt x="1693399" y="677984"/>
                    <a:pt x="1660769" y="658642"/>
                    <a:pt x="1639342" y="638191"/>
                  </a:cubicBezTo>
                  <a:lnTo>
                    <a:pt x="1639342" y="784990"/>
                  </a:lnTo>
                  <a:lnTo>
                    <a:pt x="1519050" y="845169"/>
                  </a:lnTo>
                  <a:lnTo>
                    <a:pt x="1519050" y="186527"/>
                  </a:lnTo>
                  <a:lnTo>
                    <a:pt x="1639342" y="186527"/>
                  </a:lnTo>
                  <a:lnTo>
                    <a:pt x="1639342" y="219157"/>
                  </a:lnTo>
                  <a:cubicBezTo>
                    <a:pt x="1670929" y="190630"/>
                    <a:pt x="1703559" y="176367"/>
                    <a:pt x="1748432" y="176367"/>
                  </a:cubicBezTo>
                  <a:cubicBezTo>
                    <a:pt x="1877907" y="176367"/>
                    <a:pt x="1933982" y="298743"/>
                    <a:pt x="1933982" y="428218"/>
                  </a:cubicBezTo>
                  <a:close/>
                  <a:moveTo>
                    <a:pt x="1809587" y="434340"/>
                  </a:moveTo>
                  <a:cubicBezTo>
                    <a:pt x="1809587" y="364002"/>
                    <a:pt x="1791221" y="292621"/>
                    <a:pt x="1718864" y="292621"/>
                  </a:cubicBezTo>
                  <a:cubicBezTo>
                    <a:pt x="1685193" y="292621"/>
                    <a:pt x="1658685" y="307926"/>
                    <a:pt x="1639342" y="335410"/>
                  </a:cubicBezTo>
                  <a:lnTo>
                    <a:pt x="1639342" y="518942"/>
                  </a:lnTo>
                  <a:cubicBezTo>
                    <a:pt x="1658685" y="546491"/>
                    <a:pt x="1691315" y="562773"/>
                    <a:pt x="1726028" y="562773"/>
                  </a:cubicBezTo>
                  <a:cubicBezTo>
                    <a:pt x="1793305" y="562773"/>
                    <a:pt x="1809652" y="501618"/>
                    <a:pt x="1809652" y="434340"/>
                  </a:cubicBezTo>
                  <a:close/>
                  <a:moveTo>
                    <a:pt x="1435426" y="667825"/>
                  </a:moveTo>
                  <a:lnTo>
                    <a:pt x="1315134" y="667825"/>
                  </a:lnTo>
                  <a:lnTo>
                    <a:pt x="1315134" y="634153"/>
                  </a:lnTo>
                  <a:cubicBezTo>
                    <a:pt x="1286608" y="662680"/>
                    <a:pt x="1249876" y="677984"/>
                    <a:pt x="1202983" y="677984"/>
                  </a:cubicBezTo>
                  <a:cubicBezTo>
                    <a:pt x="1108157" y="677984"/>
                    <a:pt x="1033715" y="616829"/>
                    <a:pt x="1033715" y="510800"/>
                  </a:cubicBezTo>
                  <a:cubicBezTo>
                    <a:pt x="1033715" y="404772"/>
                    <a:pt x="1106072" y="348696"/>
                    <a:pt x="1221284" y="348696"/>
                  </a:cubicBezTo>
                  <a:cubicBezTo>
                    <a:pt x="1251894" y="348696"/>
                    <a:pt x="1283482" y="352799"/>
                    <a:pt x="1315069" y="368040"/>
                  </a:cubicBezTo>
                  <a:lnTo>
                    <a:pt x="1315069" y="342574"/>
                  </a:lnTo>
                  <a:cubicBezTo>
                    <a:pt x="1315069" y="297701"/>
                    <a:pt x="1285501" y="279335"/>
                    <a:pt x="1232486" y="279335"/>
                  </a:cubicBezTo>
                  <a:cubicBezTo>
                    <a:pt x="1194777" y="279335"/>
                    <a:pt x="1159087" y="288518"/>
                    <a:pt x="1121378" y="310922"/>
                  </a:cubicBezTo>
                  <a:lnTo>
                    <a:pt x="1073443" y="225278"/>
                  </a:lnTo>
                  <a:cubicBezTo>
                    <a:pt x="1125416" y="192649"/>
                    <a:pt x="1175369" y="176367"/>
                    <a:pt x="1239650" y="176367"/>
                  </a:cubicBezTo>
                  <a:cubicBezTo>
                    <a:pt x="1360984" y="176367"/>
                    <a:pt x="1435426" y="235503"/>
                    <a:pt x="1435426" y="344593"/>
                  </a:cubicBezTo>
                  <a:lnTo>
                    <a:pt x="1435426" y="667759"/>
                  </a:lnTo>
                  <a:close/>
                  <a:moveTo>
                    <a:pt x="1315134" y="527083"/>
                  </a:moveTo>
                  <a:lnTo>
                    <a:pt x="1315134" y="465927"/>
                  </a:lnTo>
                  <a:cubicBezTo>
                    <a:pt x="1290646" y="450622"/>
                    <a:pt x="1259059" y="445542"/>
                    <a:pt x="1234570" y="445542"/>
                  </a:cubicBezTo>
                  <a:cubicBezTo>
                    <a:pt x="1181556" y="445542"/>
                    <a:pt x="1156091" y="468988"/>
                    <a:pt x="1156091" y="507740"/>
                  </a:cubicBezTo>
                  <a:cubicBezTo>
                    <a:pt x="1156091" y="544472"/>
                    <a:pt x="1179537" y="574040"/>
                    <a:pt x="1224410" y="574040"/>
                  </a:cubicBezTo>
                  <a:cubicBezTo>
                    <a:pt x="1247857" y="574040"/>
                    <a:pt x="1288627" y="565899"/>
                    <a:pt x="1315134" y="527148"/>
                  </a:cubicBezTo>
                  <a:close/>
                  <a:moveTo>
                    <a:pt x="967480" y="667825"/>
                  </a:moveTo>
                  <a:lnTo>
                    <a:pt x="847188" y="667825"/>
                  </a:lnTo>
                  <a:lnTo>
                    <a:pt x="847188" y="405814"/>
                  </a:lnTo>
                  <a:cubicBezTo>
                    <a:pt x="847188" y="340555"/>
                    <a:pt x="832925" y="292621"/>
                    <a:pt x="765647" y="292621"/>
                  </a:cubicBezTo>
                  <a:cubicBezTo>
                    <a:pt x="698370" y="292621"/>
                    <a:pt x="683065" y="336452"/>
                    <a:pt x="683065" y="402753"/>
                  </a:cubicBezTo>
                  <a:lnTo>
                    <a:pt x="683065" y="667825"/>
                  </a:lnTo>
                  <a:lnTo>
                    <a:pt x="562773" y="667825"/>
                  </a:lnTo>
                  <a:lnTo>
                    <a:pt x="562773" y="61221"/>
                  </a:lnTo>
                  <a:lnTo>
                    <a:pt x="683065" y="65"/>
                  </a:lnTo>
                  <a:lnTo>
                    <a:pt x="683065" y="220264"/>
                  </a:lnTo>
                  <a:cubicBezTo>
                    <a:pt x="709572" y="193756"/>
                    <a:pt x="742201" y="176432"/>
                    <a:pt x="796258" y="176432"/>
                  </a:cubicBezTo>
                  <a:cubicBezTo>
                    <a:pt x="923713" y="176432"/>
                    <a:pt x="967545" y="274320"/>
                    <a:pt x="967545" y="396631"/>
                  </a:cubicBezTo>
                  <a:lnTo>
                    <a:pt x="967545" y="667825"/>
                  </a:lnTo>
                  <a:close/>
                  <a:moveTo>
                    <a:pt x="496472" y="475110"/>
                  </a:moveTo>
                  <a:cubicBezTo>
                    <a:pt x="496472" y="619890"/>
                    <a:pt x="386341" y="677984"/>
                    <a:pt x="255889" y="677984"/>
                  </a:cubicBezTo>
                  <a:cubicBezTo>
                    <a:pt x="162104" y="677984"/>
                    <a:pt x="58094" y="648416"/>
                    <a:pt x="0" y="562773"/>
                  </a:cubicBezTo>
                  <a:lnTo>
                    <a:pt x="89747" y="483251"/>
                  </a:lnTo>
                  <a:cubicBezTo>
                    <a:pt x="131559" y="533205"/>
                    <a:pt x="191672" y="556651"/>
                    <a:pt x="252893" y="556651"/>
                  </a:cubicBezTo>
                  <a:cubicBezTo>
                    <a:pt x="325250" y="556651"/>
                    <a:pt x="367063" y="524022"/>
                    <a:pt x="367063" y="478171"/>
                  </a:cubicBezTo>
                  <a:cubicBezTo>
                    <a:pt x="367063" y="459805"/>
                    <a:pt x="359899" y="441439"/>
                    <a:pt x="329353" y="426199"/>
                  </a:cubicBezTo>
                  <a:cubicBezTo>
                    <a:pt x="306949" y="414997"/>
                    <a:pt x="279400" y="407833"/>
                    <a:pt x="225344" y="394612"/>
                  </a:cubicBezTo>
                  <a:cubicBezTo>
                    <a:pt x="191672" y="386471"/>
                    <a:pt x="122376" y="370124"/>
                    <a:pt x="79522" y="335475"/>
                  </a:cubicBezTo>
                  <a:cubicBezTo>
                    <a:pt x="36732" y="300827"/>
                    <a:pt x="24488" y="250874"/>
                    <a:pt x="24488" y="207042"/>
                  </a:cubicBezTo>
                  <a:cubicBezTo>
                    <a:pt x="24488" y="71445"/>
                    <a:pt x="140742" y="16412"/>
                    <a:pt x="254912" y="16412"/>
                  </a:cubicBezTo>
                  <a:cubicBezTo>
                    <a:pt x="353776" y="16412"/>
                    <a:pt x="425157" y="57182"/>
                    <a:pt x="482274" y="115277"/>
                  </a:cubicBezTo>
                  <a:lnTo>
                    <a:pt x="392528" y="202939"/>
                  </a:lnTo>
                  <a:cubicBezTo>
                    <a:pt x="350715" y="161127"/>
                    <a:pt x="309945" y="137681"/>
                    <a:pt x="246706" y="137681"/>
                  </a:cubicBezTo>
                  <a:cubicBezTo>
                    <a:pt x="192649" y="137681"/>
                    <a:pt x="152921" y="155005"/>
                    <a:pt x="152921" y="199878"/>
                  </a:cubicBezTo>
                  <a:cubicBezTo>
                    <a:pt x="152921" y="219221"/>
                    <a:pt x="160085" y="232508"/>
                    <a:pt x="179428" y="243710"/>
                  </a:cubicBezTo>
                  <a:cubicBezTo>
                    <a:pt x="201832" y="255954"/>
                    <a:pt x="233485" y="265137"/>
                    <a:pt x="282396" y="277381"/>
                  </a:cubicBezTo>
                  <a:cubicBezTo>
                    <a:pt x="340490" y="292686"/>
                    <a:pt x="394547" y="305907"/>
                    <a:pt x="438378" y="341598"/>
                  </a:cubicBezTo>
                  <a:cubicBezTo>
                    <a:pt x="477129" y="373185"/>
                    <a:pt x="496472" y="414997"/>
                    <a:pt x="496472" y="475176"/>
                  </a:cubicBezTo>
                  <a:close/>
                  <a:moveTo>
                    <a:pt x="6100885" y="208996"/>
                  </a:moveTo>
                  <a:lnTo>
                    <a:pt x="6051778" y="329288"/>
                  </a:lnTo>
                  <a:cubicBezTo>
                    <a:pt x="6033413" y="311964"/>
                    <a:pt x="6011985" y="299720"/>
                    <a:pt x="5982482" y="299720"/>
                  </a:cubicBezTo>
                  <a:cubicBezTo>
                    <a:pt x="5925365" y="299720"/>
                    <a:pt x="5911232" y="347654"/>
                    <a:pt x="5911232" y="405749"/>
                  </a:cubicBezTo>
                  <a:lnTo>
                    <a:pt x="5911232" y="667759"/>
                  </a:lnTo>
                  <a:lnTo>
                    <a:pt x="5790940" y="667759"/>
                  </a:lnTo>
                  <a:lnTo>
                    <a:pt x="5790940" y="186527"/>
                  </a:lnTo>
                  <a:lnTo>
                    <a:pt x="5911232" y="186527"/>
                  </a:lnTo>
                  <a:lnTo>
                    <a:pt x="5911232" y="220198"/>
                  </a:lnTo>
                  <a:cubicBezTo>
                    <a:pt x="5938781" y="192649"/>
                    <a:pt x="5973429" y="176367"/>
                    <a:pt x="6012181" y="176367"/>
                  </a:cubicBezTo>
                  <a:cubicBezTo>
                    <a:pt x="6045852" y="176367"/>
                    <a:pt x="6075420" y="186592"/>
                    <a:pt x="6100885" y="208996"/>
                  </a:cubicBezTo>
                  <a:close/>
                </a:path>
              </a:pathLst>
            </a:custGeom>
            <a:solidFill>
              <a:schemeClr val="bg2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7157246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rame Wri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EA698E1-9315-F464-C75D-F86E6E4A15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8386354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0"/>
                  <a:alpha val="0"/>
                </a:schemeClr>
              </a:gs>
              <a:gs pos="95000">
                <a:srgbClr val="000000">
                  <a:alpha val="70000"/>
                </a:srgb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n-US" sz="1200" b="1">
              <a:solidFill>
                <a:schemeClr val="tx1"/>
              </a:solidFill>
            </a:endParaRP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632E76BF-46D5-8E94-88AA-4783DD302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89762" y="3864985"/>
            <a:ext cx="4907628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edit master subtitle style</a:t>
            </a:r>
            <a:endParaRPr lang="en-US" dirty="0"/>
          </a:p>
        </p:txBody>
      </p:sp>
      <p:sp>
        <p:nvSpPr>
          <p:cNvPr id="12" name="Title 4">
            <a:extLst>
              <a:ext uri="{FF2B5EF4-FFF2-40B4-BE49-F238E27FC236}">
                <a16:creationId xmlns:a16="http://schemas.microsoft.com/office/drawing/2014/main" id="{1F7B1FDC-B90E-6693-A750-B9BA4B535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9762" y="2127251"/>
            <a:ext cx="4906009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" panose="02000503020000020004" pitchFamily="2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13" name="Text Placeholder 288">
            <a:extLst>
              <a:ext uri="{FF2B5EF4-FFF2-40B4-BE49-F238E27FC236}">
                <a16:creationId xmlns:a16="http://schemas.microsoft.com/office/drawing/2014/main" id="{1673B89D-F206-B9D2-CDB7-BDE045C744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89762" y="4475985"/>
            <a:ext cx="4906010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D3F6603-D012-19C2-19E4-3C9A6BAA4779}"/>
              </a:ext>
            </a:extLst>
          </p:cNvPr>
          <p:cNvGrpSpPr/>
          <p:nvPr userDrawn="1"/>
        </p:nvGrpSpPr>
        <p:grpSpPr>
          <a:xfrm>
            <a:off x="485774" y="719508"/>
            <a:ext cx="5706110" cy="4360545"/>
            <a:chOff x="485774" y="719508"/>
            <a:chExt cx="5706110" cy="4360545"/>
          </a:xfrm>
        </p:grpSpPr>
        <p:sp>
          <p:nvSpPr>
            <p:cNvPr id="10" name="Freeform 25">
              <a:extLst>
                <a:ext uri="{FF2B5EF4-FFF2-40B4-BE49-F238E27FC236}">
                  <a16:creationId xmlns:a16="http://schemas.microsoft.com/office/drawing/2014/main" id="{F7E50E80-DFF0-E065-898F-1AFD970459B6}"/>
                </a:ext>
              </a:extLst>
            </p:cNvPr>
            <p:cNvSpPr/>
            <p:nvPr userDrawn="1"/>
          </p:nvSpPr>
          <p:spPr>
            <a:xfrm>
              <a:off x="485774" y="49784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4" name="Freeform 3">
              <a:extLst>
                <a:ext uri="{FF2B5EF4-FFF2-40B4-BE49-F238E27FC236}">
                  <a16:creationId xmlns:a16="http://schemas.microsoft.com/office/drawing/2014/main" id="{7E9D0337-F340-664F-6A13-B03AA4BA4F82}"/>
                </a:ext>
              </a:extLst>
            </p:cNvPr>
            <p:cNvSpPr/>
            <p:nvPr userDrawn="1"/>
          </p:nvSpPr>
          <p:spPr>
            <a:xfrm>
              <a:off x="485775" y="7195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solidFill>
              <a:schemeClr val="tx2"/>
            </a:solidFill>
            <a:ln w="81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EEB2775D-C14D-1FFE-E3E9-4E62DDA32301}"/>
              </a:ext>
            </a:extLst>
          </p:cNvPr>
          <p:cNvSpPr txBox="1"/>
          <p:nvPr userDrawn="1"/>
        </p:nvSpPr>
        <p:spPr>
          <a:xfrm>
            <a:off x="461984" y="5552404"/>
            <a:ext cx="1045073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200" dirty="0">
                <a:solidFill>
                  <a:schemeClr val="bg1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6" name="Text Placeholder 16">
            <a:extLst>
              <a:ext uri="{FF2B5EF4-FFF2-40B4-BE49-F238E27FC236}">
                <a16:creationId xmlns:a16="http://schemas.microsoft.com/office/drawing/2014/main" id="{FAE2F50B-78AF-04F3-4BFF-980630AF7AF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33184" y="5966393"/>
            <a:ext cx="3089275" cy="180000"/>
          </a:xfrm>
        </p:spPr>
        <p:txBody>
          <a:bodyPr/>
          <a:lstStyle>
            <a:lvl1pPr marL="0" indent="0">
              <a:buNone/>
              <a:defRPr sz="1200" b="1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5473ED8-C1F4-379D-AE01-5E7A3D5F34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33184" y="6164011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</a:t>
            </a:r>
            <a:endParaRPr lang="en-GB" dirty="0"/>
          </a:p>
        </p:txBody>
      </p:sp>
      <p:sp>
        <p:nvSpPr>
          <p:cNvPr id="18" name="Picture Placeholder 19">
            <a:extLst>
              <a:ext uri="{FF2B5EF4-FFF2-40B4-BE49-F238E27FC236}">
                <a16:creationId xmlns:a16="http://schemas.microsoft.com/office/drawing/2014/main" id="{812BC08D-D0F7-900D-1481-4C172F6BE56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1983" y="5861846"/>
            <a:ext cx="576000" cy="576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25B130A-4E65-32BD-4CB8-C7E2B623FD74}"/>
              </a:ext>
            </a:extLst>
          </p:cNvPr>
          <p:cNvCxnSpPr>
            <a:cxnSpLocks/>
          </p:cNvCxnSpPr>
          <p:nvPr userDrawn="1"/>
        </p:nvCxnSpPr>
        <p:spPr>
          <a:xfrm>
            <a:off x="1333184" y="5656264"/>
            <a:ext cx="8122101" cy="0"/>
          </a:xfrm>
          <a:prstGeom prst="line">
            <a:avLst/>
          </a:prstGeom>
          <a:ln w="9525" cap="flat" cmpd="sng" algn="ctr">
            <a:solidFill>
              <a:srgbClr val="C4C4CD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Group 6">
            <a:extLst>
              <a:ext uri="{FF2B5EF4-FFF2-40B4-BE49-F238E27FC236}">
                <a16:creationId xmlns:a16="http://schemas.microsoft.com/office/drawing/2014/main" id="{D4A6F943-2F06-F19E-5B75-109F4C044A8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562024" y="5167683"/>
            <a:ext cx="1220400" cy="1285398"/>
            <a:chOff x="3913438" y="-99392"/>
            <a:chExt cx="6512821" cy="6859693"/>
          </a:xfrm>
        </p:grpSpPr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15E842E1-A6BC-D328-7C47-CC041C18922E}"/>
                </a:ext>
              </a:extLst>
            </p:cNvPr>
            <p:cNvSpPr/>
            <p:nvPr/>
          </p:nvSpPr>
          <p:spPr>
            <a:xfrm>
              <a:off x="5319751" y="-99392"/>
              <a:ext cx="4303606" cy="1570696"/>
            </a:xfrm>
            <a:custGeom>
              <a:avLst/>
              <a:gdLst>
                <a:gd name="connsiteX0" fmla="*/ 4303607 w 4303606"/>
                <a:gd name="connsiteY0" fmla="*/ 0 h 1570696"/>
                <a:gd name="connsiteX1" fmla="*/ 0 w 4303606"/>
                <a:gd name="connsiteY1" fmla="*/ 1570697 h 1570696"/>
                <a:gd name="connsiteX2" fmla="*/ 4303607 w 4303606"/>
                <a:gd name="connsiteY2" fmla="*/ 810521 h 1570696"/>
                <a:gd name="connsiteX3" fmla="*/ 4303607 w 4303606"/>
                <a:gd name="connsiteY3" fmla="*/ 0 h 1570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03606" h="1570696">
                  <a:moveTo>
                    <a:pt x="4303607" y="0"/>
                  </a:moveTo>
                  <a:lnTo>
                    <a:pt x="0" y="1570697"/>
                  </a:lnTo>
                  <a:lnTo>
                    <a:pt x="4303607" y="810521"/>
                  </a:lnTo>
                  <a:lnTo>
                    <a:pt x="4303607" y="0"/>
                  </a:lnTo>
                  <a:close/>
                </a:path>
              </a:pathLst>
            </a:custGeom>
            <a:solidFill>
              <a:srgbClr val="FFE600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9D5AF6DD-7A60-6C0D-4712-147333F66FBC}"/>
                </a:ext>
              </a:extLst>
            </p:cNvPr>
            <p:cNvSpPr/>
            <p:nvPr/>
          </p:nvSpPr>
          <p:spPr>
            <a:xfrm>
              <a:off x="5357395" y="2124345"/>
              <a:ext cx="3613052" cy="2176910"/>
            </a:xfrm>
            <a:custGeom>
              <a:avLst/>
              <a:gdLst>
                <a:gd name="connsiteX0" fmla="*/ 652845 w 3613052"/>
                <a:gd name="connsiteY0" fmla="*/ 1676205 h 2176910"/>
                <a:gd name="connsiteX1" fmla="*/ 1741463 w 3613052"/>
                <a:gd name="connsiteY1" fmla="*/ 1676205 h 2176910"/>
                <a:gd name="connsiteX2" fmla="*/ 1741463 w 3613052"/>
                <a:gd name="connsiteY2" fmla="*/ 2176910 h 2176910"/>
                <a:gd name="connsiteX3" fmla="*/ 0 w 3613052"/>
                <a:gd name="connsiteY3" fmla="*/ 2176910 h 2176910"/>
                <a:gd name="connsiteX4" fmla="*/ 0 w 3613052"/>
                <a:gd name="connsiteY4" fmla="*/ 0 h 2176910"/>
                <a:gd name="connsiteX5" fmla="*/ 1234766 w 3613052"/>
                <a:gd name="connsiteY5" fmla="*/ 0 h 2176910"/>
                <a:gd name="connsiteX6" fmla="*/ 1523675 w 3613052"/>
                <a:gd name="connsiteY6" fmla="*/ 500706 h 2176910"/>
                <a:gd name="connsiteX7" fmla="*/ 652910 w 3613052"/>
                <a:gd name="connsiteY7" fmla="*/ 500706 h 2176910"/>
                <a:gd name="connsiteX8" fmla="*/ 652910 w 3613052"/>
                <a:gd name="connsiteY8" fmla="*/ 859953 h 2176910"/>
                <a:gd name="connsiteX9" fmla="*/ 1440050 w 3613052"/>
                <a:gd name="connsiteY9" fmla="*/ 859953 h 2176910"/>
                <a:gd name="connsiteX10" fmla="*/ 1440050 w 3613052"/>
                <a:gd name="connsiteY10" fmla="*/ 1317022 h 2176910"/>
                <a:gd name="connsiteX11" fmla="*/ 652910 w 3613052"/>
                <a:gd name="connsiteY11" fmla="*/ 1317022 h 2176910"/>
                <a:gd name="connsiteX12" fmla="*/ 652910 w 3613052"/>
                <a:gd name="connsiteY12" fmla="*/ 1676205 h 2176910"/>
                <a:gd name="connsiteX13" fmla="*/ 2900485 w 3613052"/>
                <a:gd name="connsiteY13" fmla="*/ 0 h 2176910"/>
                <a:gd name="connsiteX14" fmla="*/ 2530687 w 3613052"/>
                <a:gd name="connsiteY14" fmla="*/ 710418 h 2176910"/>
                <a:gd name="connsiteX15" fmla="*/ 2161801 w 3613052"/>
                <a:gd name="connsiteY15" fmla="*/ 0 h 2176910"/>
                <a:gd name="connsiteX16" fmla="*/ 1439985 w 3613052"/>
                <a:gd name="connsiteY16" fmla="*/ 0 h 2176910"/>
                <a:gd name="connsiteX17" fmla="*/ 2200552 w 3613052"/>
                <a:gd name="connsiteY17" fmla="*/ 1317022 h 2176910"/>
                <a:gd name="connsiteX18" fmla="*/ 2200552 w 3613052"/>
                <a:gd name="connsiteY18" fmla="*/ 2176910 h 2176910"/>
                <a:gd name="connsiteX19" fmla="*/ 2851443 w 3613052"/>
                <a:gd name="connsiteY19" fmla="*/ 2176910 h 2176910"/>
                <a:gd name="connsiteX20" fmla="*/ 2851443 w 3613052"/>
                <a:gd name="connsiteY20" fmla="*/ 1317022 h 2176910"/>
                <a:gd name="connsiteX21" fmla="*/ 3613053 w 3613052"/>
                <a:gd name="connsiteY21" fmla="*/ 0 h 2176910"/>
                <a:gd name="connsiteX22" fmla="*/ 2900485 w 3613052"/>
                <a:gd name="connsiteY22" fmla="*/ 0 h 2176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613052" h="2176910">
                  <a:moveTo>
                    <a:pt x="652845" y="1676205"/>
                  </a:moveTo>
                  <a:lnTo>
                    <a:pt x="1741463" y="1676205"/>
                  </a:lnTo>
                  <a:lnTo>
                    <a:pt x="1741463" y="2176910"/>
                  </a:lnTo>
                  <a:lnTo>
                    <a:pt x="0" y="2176910"/>
                  </a:lnTo>
                  <a:lnTo>
                    <a:pt x="0" y="0"/>
                  </a:lnTo>
                  <a:lnTo>
                    <a:pt x="1234766" y="0"/>
                  </a:lnTo>
                  <a:lnTo>
                    <a:pt x="1523675" y="500706"/>
                  </a:lnTo>
                  <a:lnTo>
                    <a:pt x="652910" y="500706"/>
                  </a:lnTo>
                  <a:lnTo>
                    <a:pt x="652910" y="859953"/>
                  </a:lnTo>
                  <a:lnTo>
                    <a:pt x="1440050" y="859953"/>
                  </a:lnTo>
                  <a:lnTo>
                    <a:pt x="1440050" y="1317022"/>
                  </a:lnTo>
                  <a:lnTo>
                    <a:pt x="652910" y="1317022"/>
                  </a:lnTo>
                  <a:lnTo>
                    <a:pt x="652910" y="1676205"/>
                  </a:lnTo>
                  <a:close/>
                  <a:moveTo>
                    <a:pt x="2900485" y="0"/>
                  </a:moveTo>
                  <a:lnTo>
                    <a:pt x="2530687" y="710418"/>
                  </a:lnTo>
                  <a:lnTo>
                    <a:pt x="2161801" y="0"/>
                  </a:lnTo>
                  <a:lnTo>
                    <a:pt x="1439985" y="0"/>
                  </a:lnTo>
                  <a:lnTo>
                    <a:pt x="2200552" y="1317022"/>
                  </a:lnTo>
                  <a:lnTo>
                    <a:pt x="2200552" y="2176910"/>
                  </a:lnTo>
                  <a:lnTo>
                    <a:pt x="2851443" y="2176910"/>
                  </a:lnTo>
                  <a:lnTo>
                    <a:pt x="2851443" y="1317022"/>
                  </a:lnTo>
                  <a:lnTo>
                    <a:pt x="3613053" y="0"/>
                  </a:lnTo>
                  <a:lnTo>
                    <a:pt x="2900485" y="0"/>
                  </a:lnTo>
                  <a:close/>
                </a:path>
              </a:pathLst>
            </a:custGeom>
            <a:solidFill>
              <a:schemeClr val="bg2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ECA72371-99F2-D052-C5A3-68A496195FCE}"/>
                </a:ext>
              </a:extLst>
            </p:cNvPr>
            <p:cNvSpPr/>
            <p:nvPr/>
          </p:nvSpPr>
          <p:spPr>
            <a:xfrm>
              <a:off x="3913438" y="5111711"/>
              <a:ext cx="6512821" cy="1648590"/>
            </a:xfrm>
            <a:custGeom>
              <a:avLst/>
              <a:gdLst>
                <a:gd name="connsiteX0" fmla="*/ 5071143 w 6512821"/>
                <a:gd name="connsiteY0" fmla="*/ 1396740 h 1648590"/>
                <a:gd name="connsiteX1" fmla="*/ 5069124 w 6512821"/>
                <a:gd name="connsiteY1" fmla="*/ 1438552 h 1648590"/>
                <a:gd name="connsiteX2" fmla="*/ 4777545 w 6512821"/>
                <a:gd name="connsiteY2" fmla="*/ 1438552 h 1648590"/>
                <a:gd name="connsiteX3" fmla="*/ 4880513 w 6512821"/>
                <a:gd name="connsiteY3" fmla="*/ 1533378 h 1648590"/>
                <a:gd name="connsiteX4" fmla="*/ 4964137 w 6512821"/>
                <a:gd name="connsiteY4" fmla="*/ 1499707 h 1648590"/>
                <a:gd name="connsiteX5" fmla="*/ 5049781 w 6512821"/>
                <a:gd name="connsiteY5" fmla="*/ 1572065 h 1648590"/>
                <a:gd name="connsiteX6" fmla="*/ 4875433 w 6512821"/>
                <a:gd name="connsiteY6" fmla="*/ 1648525 h 1648590"/>
                <a:gd name="connsiteX7" fmla="*/ 4654192 w 6512821"/>
                <a:gd name="connsiteY7" fmla="*/ 1398759 h 1648590"/>
                <a:gd name="connsiteX8" fmla="*/ 4867292 w 6512821"/>
                <a:gd name="connsiteY8" fmla="*/ 1146908 h 1648590"/>
                <a:gd name="connsiteX9" fmla="*/ 5071208 w 6512821"/>
                <a:gd name="connsiteY9" fmla="*/ 1396675 h 1648590"/>
                <a:gd name="connsiteX10" fmla="*/ 4779564 w 6512821"/>
                <a:gd name="connsiteY10" fmla="*/ 1344767 h 1648590"/>
                <a:gd name="connsiteX11" fmla="*/ 4950851 w 6512821"/>
                <a:gd name="connsiteY11" fmla="*/ 1344767 h 1648590"/>
                <a:gd name="connsiteX12" fmla="*/ 4863189 w 6512821"/>
                <a:gd name="connsiteY12" fmla="*/ 1254044 h 1648590"/>
                <a:gd name="connsiteX13" fmla="*/ 4779564 w 6512821"/>
                <a:gd name="connsiteY13" fmla="*/ 1344767 h 1648590"/>
                <a:gd name="connsiteX14" fmla="*/ 6512756 w 6512821"/>
                <a:gd name="connsiteY14" fmla="*/ 1396740 h 1648590"/>
                <a:gd name="connsiteX15" fmla="*/ 6510737 w 6512821"/>
                <a:gd name="connsiteY15" fmla="*/ 1438552 h 1648590"/>
                <a:gd name="connsiteX16" fmla="*/ 6219158 w 6512821"/>
                <a:gd name="connsiteY16" fmla="*/ 1438552 h 1648590"/>
                <a:gd name="connsiteX17" fmla="*/ 6322126 w 6512821"/>
                <a:gd name="connsiteY17" fmla="*/ 1533378 h 1648590"/>
                <a:gd name="connsiteX18" fmla="*/ 6405751 w 6512821"/>
                <a:gd name="connsiteY18" fmla="*/ 1499707 h 1648590"/>
                <a:gd name="connsiteX19" fmla="*/ 6491394 w 6512821"/>
                <a:gd name="connsiteY19" fmla="*/ 1572065 h 1648590"/>
                <a:gd name="connsiteX20" fmla="*/ 6317046 w 6512821"/>
                <a:gd name="connsiteY20" fmla="*/ 1648525 h 1648590"/>
                <a:gd name="connsiteX21" fmla="*/ 6095805 w 6512821"/>
                <a:gd name="connsiteY21" fmla="*/ 1398759 h 1648590"/>
                <a:gd name="connsiteX22" fmla="*/ 6308905 w 6512821"/>
                <a:gd name="connsiteY22" fmla="*/ 1146908 h 1648590"/>
                <a:gd name="connsiteX23" fmla="*/ 6512821 w 6512821"/>
                <a:gd name="connsiteY23" fmla="*/ 1396675 h 1648590"/>
                <a:gd name="connsiteX24" fmla="*/ 6221177 w 6512821"/>
                <a:gd name="connsiteY24" fmla="*/ 1344767 h 1648590"/>
                <a:gd name="connsiteX25" fmla="*/ 6392465 w 6512821"/>
                <a:gd name="connsiteY25" fmla="*/ 1344767 h 1648590"/>
                <a:gd name="connsiteX26" fmla="*/ 6304802 w 6512821"/>
                <a:gd name="connsiteY26" fmla="*/ 1254044 h 1648590"/>
                <a:gd name="connsiteX27" fmla="*/ 6221177 w 6512821"/>
                <a:gd name="connsiteY27" fmla="*/ 1344767 h 1648590"/>
                <a:gd name="connsiteX28" fmla="*/ 5978509 w 6512821"/>
                <a:gd name="connsiteY28" fmla="*/ 1467143 h 1648590"/>
                <a:gd name="connsiteX29" fmla="*/ 6058031 w 6512821"/>
                <a:gd name="connsiteY29" fmla="*/ 1542561 h 1648590"/>
                <a:gd name="connsiteX30" fmla="*/ 5866359 w 6512821"/>
                <a:gd name="connsiteY30" fmla="*/ 1648590 h 1648590"/>
                <a:gd name="connsiteX31" fmla="*/ 5637954 w 6512821"/>
                <a:gd name="connsiteY31" fmla="*/ 1398823 h 1648590"/>
                <a:gd name="connsiteX32" fmla="*/ 5868378 w 6512821"/>
                <a:gd name="connsiteY32" fmla="*/ 1146973 h 1648590"/>
                <a:gd name="connsiteX33" fmla="*/ 6056989 w 6512821"/>
                <a:gd name="connsiteY33" fmla="*/ 1250983 h 1648590"/>
                <a:gd name="connsiteX34" fmla="*/ 5975448 w 6512821"/>
                <a:gd name="connsiteY34" fmla="*/ 1333565 h 1648590"/>
                <a:gd name="connsiteX35" fmla="*/ 5867401 w 6512821"/>
                <a:gd name="connsiteY35" fmla="*/ 1266288 h 1648590"/>
                <a:gd name="connsiteX36" fmla="*/ 5766452 w 6512821"/>
                <a:gd name="connsiteY36" fmla="*/ 1396804 h 1648590"/>
                <a:gd name="connsiteX37" fmla="*/ 5868378 w 6512821"/>
                <a:gd name="connsiteY37" fmla="*/ 1528299 h 1648590"/>
                <a:gd name="connsiteX38" fmla="*/ 5978509 w 6512821"/>
                <a:gd name="connsiteY38" fmla="*/ 1467143 h 1648590"/>
                <a:gd name="connsiteX39" fmla="*/ 4869246 w 6512821"/>
                <a:gd name="connsiteY39" fmla="*/ 667825 h 1648590"/>
                <a:gd name="connsiteX40" fmla="*/ 4750973 w 6512821"/>
                <a:gd name="connsiteY40" fmla="*/ 667825 h 1648590"/>
                <a:gd name="connsiteX41" fmla="*/ 4750973 w 6512821"/>
                <a:gd name="connsiteY41" fmla="*/ 634153 h 1648590"/>
                <a:gd name="connsiteX42" fmla="*/ 4638822 w 6512821"/>
                <a:gd name="connsiteY42" fmla="*/ 677984 h 1648590"/>
                <a:gd name="connsiteX43" fmla="*/ 4467535 w 6512821"/>
                <a:gd name="connsiteY43" fmla="*/ 458763 h 1648590"/>
                <a:gd name="connsiteX44" fmla="*/ 4467535 w 6512821"/>
                <a:gd name="connsiteY44" fmla="*/ 186527 h 1648590"/>
                <a:gd name="connsiteX45" fmla="*/ 4587827 w 6512821"/>
                <a:gd name="connsiteY45" fmla="*/ 186527 h 1648590"/>
                <a:gd name="connsiteX46" fmla="*/ 4587827 w 6512821"/>
                <a:gd name="connsiteY46" fmla="*/ 448538 h 1648590"/>
                <a:gd name="connsiteX47" fmla="*/ 4668390 w 6512821"/>
                <a:gd name="connsiteY47" fmla="*/ 562708 h 1648590"/>
                <a:gd name="connsiteX48" fmla="*/ 4748954 w 6512821"/>
                <a:gd name="connsiteY48" fmla="*/ 452576 h 1648590"/>
                <a:gd name="connsiteX49" fmla="*/ 4748954 w 6512821"/>
                <a:gd name="connsiteY49" fmla="*/ 186462 h 1648590"/>
                <a:gd name="connsiteX50" fmla="*/ 4869246 w 6512821"/>
                <a:gd name="connsiteY50" fmla="*/ 186462 h 1648590"/>
                <a:gd name="connsiteX51" fmla="*/ 4869246 w 6512821"/>
                <a:gd name="connsiteY51" fmla="*/ 667695 h 1648590"/>
                <a:gd name="connsiteX52" fmla="*/ 5244449 w 6512821"/>
                <a:gd name="connsiteY52" fmla="*/ 527083 h 1648590"/>
                <a:gd name="connsiteX53" fmla="*/ 5227125 w 6512821"/>
                <a:gd name="connsiteY53" fmla="*/ 649458 h 1648590"/>
                <a:gd name="connsiteX54" fmla="*/ 5128261 w 6512821"/>
                <a:gd name="connsiteY54" fmla="*/ 677984 h 1648590"/>
                <a:gd name="connsiteX55" fmla="*/ 4997744 w 6512821"/>
                <a:gd name="connsiteY55" fmla="*/ 535224 h 1648590"/>
                <a:gd name="connsiteX56" fmla="*/ 4997744 w 6512821"/>
                <a:gd name="connsiteY56" fmla="*/ 301739 h 1648590"/>
                <a:gd name="connsiteX57" fmla="*/ 4928447 w 6512821"/>
                <a:gd name="connsiteY57" fmla="*/ 301739 h 1648590"/>
                <a:gd name="connsiteX58" fmla="*/ 4928447 w 6512821"/>
                <a:gd name="connsiteY58" fmla="*/ 186527 h 1648590"/>
                <a:gd name="connsiteX59" fmla="*/ 4997744 w 6512821"/>
                <a:gd name="connsiteY59" fmla="*/ 186527 h 1648590"/>
                <a:gd name="connsiteX60" fmla="*/ 4997744 w 6512821"/>
                <a:gd name="connsiteY60" fmla="*/ 61155 h 1648590"/>
                <a:gd name="connsiteX61" fmla="*/ 5118035 w 6512821"/>
                <a:gd name="connsiteY61" fmla="*/ 0 h 1648590"/>
                <a:gd name="connsiteX62" fmla="*/ 5118035 w 6512821"/>
                <a:gd name="connsiteY62" fmla="*/ 186592 h 1648590"/>
                <a:gd name="connsiteX63" fmla="*/ 5232205 w 6512821"/>
                <a:gd name="connsiteY63" fmla="*/ 186592 h 1648590"/>
                <a:gd name="connsiteX64" fmla="*/ 5232205 w 6512821"/>
                <a:gd name="connsiteY64" fmla="*/ 301804 h 1648590"/>
                <a:gd name="connsiteX65" fmla="*/ 5118035 w 6512821"/>
                <a:gd name="connsiteY65" fmla="*/ 301804 h 1648590"/>
                <a:gd name="connsiteX66" fmla="*/ 5118035 w 6512821"/>
                <a:gd name="connsiteY66" fmla="*/ 503701 h 1648590"/>
                <a:gd name="connsiteX67" fmla="*/ 5164928 w 6512821"/>
                <a:gd name="connsiteY67" fmla="*/ 560819 h 1648590"/>
                <a:gd name="connsiteX68" fmla="*/ 5244449 w 6512821"/>
                <a:gd name="connsiteY68" fmla="*/ 527148 h 1648590"/>
                <a:gd name="connsiteX69" fmla="*/ 3417407 w 6512821"/>
                <a:gd name="connsiteY69" fmla="*/ 667825 h 1648590"/>
                <a:gd name="connsiteX70" fmla="*/ 3297116 w 6512821"/>
                <a:gd name="connsiteY70" fmla="*/ 667825 h 1648590"/>
                <a:gd name="connsiteX71" fmla="*/ 3297116 w 6512821"/>
                <a:gd name="connsiteY71" fmla="*/ 405814 h 1648590"/>
                <a:gd name="connsiteX72" fmla="*/ 3215575 w 6512821"/>
                <a:gd name="connsiteY72" fmla="*/ 292621 h 1648590"/>
                <a:gd name="connsiteX73" fmla="*/ 3132993 w 6512821"/>
                <a:gd name="connsiteY73" fmla="*/ 402753 h 1648590"/>
                <a:gd name="connsiteX74" fmla="*/ 3132993 w 6512821"/>
                <a:gd name="connsiteY74" fmla="*/ 667825 h 1648590"/>
                <a:gd name="connsiteX75" fmla="*/ 3012701 w 6512821"/>
                <a:gd name="connsiteY75" fmla="*/ 667825 h 1648590"/>
                <a:gd name="connsiteX76" fmla="*/ 3012701 w 6512821"/>
                <a:gd name="connsiteY76" fmla="*/ 61221 h 1648590"/>
                <a:gd name="connsiteX77" fmla="*/ 3132993 w 6512821"/>
                <a:gd name="connsiteY77" fmla="*/ 65 h 1648590"/>
                <a:gd name="connsiteX78" fmla="*/ 3132993 w 6512821"/>
                <a:gd name="connsiteY78" fmla="*/ 220264 h 1648590"/>
                <a:gd name="connsiteX79" fmla="*/ 3246186 w 6512821"/>
                <a:gd name="connsiteY79" fmla="*/ 176432 h 1648590"/>
                <a:gd name="connsiteX80" fmla="*/ 3417473 w 6512821"/>
                <a:gd name="connsiteY80" fmla="*/ 396631 h 1648590"/>
                <a:gd name="connsiteX81" fmla="*/ 3417473 w 6512821"/>
                <a:gd name="connsiteY81" fmla="*/ 667825 h 1648590"/>
                <a:gd name="connsiteX82" fmla="*/ 5564554 w 6512821"/>
                <a:gd name="connsiteY82" fmla="*/ 1638365 h 1648590"/>
                <a:gd name="connsiteX83" fmla="*/ 5440160 w 6512821"/>
                <a:gd name="connsiteY83" fmla="*/ 1638365 h 1648590"/>
                <a:gd name="connsiteX84" fmla="*/ 5440160 w 6512821"/>
                <a:gd name="connsiteY84" fmla="*/ 1376355 h 1648590"/>
                <a:gd name="connsiteX85" fmla="*/ 5357577 w 6512821"/>
                <a:gd name="connsiteY85" fmla="*/ 1264204 h 1648590"/>
                <a:gd name="connsiteX86" fmla="*/ 5273952 w 6512821"/>
                <a:gd name="connsiteY86" fmla="*/ 1373293 h 1648590"/>
                <a:gd name="connsiteX87" fmla="*/ 5273952 w 6512821"/>
                <a:gd name="connsiteY87" fmla="*/ 1638365 h 1648590"/>
                <a:gd name="connsiteX88" fmla="*/ 5149558 w 6512821"/>
                <a:gd name="connsiteY88" fmla="*/ 1638365 h 1648590"/>
                <a:gd name="connsiteX89" fmla="*/ 5149558 w 6512821"/>
                <a:gd name="connsiteY89" fmla="*/ 1157133 h 1648590"/>
                <a:gd name="connsiteX90" fmla="*/ 5273952 w 6512821"/>
                <a:gd name="connsiteY90" fmla="*/ 1157133 h 1648590"/>
                <a:gd name="connsiteX91" fmla="*/ 5273952 w 6512821"/>
                <a:gd name="connsiteY91" fmla="*/ 1189762 h 1648590"/>
                <a:gd name="connsiteX92" fmla="*/ 5391183 w 6512821"/>
                <a:gd name="connsiteY92" fmla="*/ 1146973 h 1648590"/>
                <a:gd name="connsiteX93" fmla="*/ 5564490 w 6512821"/>
                <a:gd name="connsiteY93" fmla="*/ 1366195 h 1648590"/>
                <a:gd name="connsiteX94" fmla="*/ 5564490 w 6512821"/>
                <a:gd name="connsiteY94" fmla="*/ 1638430 h 1648590"/>
                <a:gd name="connsiteX95" fmla="*/ 4008772 w 6512821"/>
                <a:gd name="connsiteY95" fmla="*/ 1115386 h 1648590"/>
                <a:gd name="connsiteX96" fmla="*/ 4080152 w 6512821"/>
                <a:gd name="connsiteY96" fmla="*/ 1044005 h 1648590"/>
                <a:gd name="connsiteX97" fmla="*/ 4008772 w 6512821"/>
                <a:gd name="connsiteY97" fmla="*/ 972624 h 1648590"/>
                <a:gd name="connsiteX98" fmla="*/ 3937391 w 6512821"/>
                <a:gd name="connsiteY98" fmla="*/ 1044005 h 1648590"/>
                <a:gd name="connsiteX99" fmla="*/ 4008772 w 6512821"/>
                <a:gd name="connsiteY99" fmla="*/ 1115386 h 1648590"/>
                <a:gd name="connsiteX100" fmla="*/ 829864 w 6512821"/>
                <a:gd name="connsiteY100" fmla="*/ 1115386 h 1648590"/>
                <a:gd name="connsiteX101" fmla="*/ 901244 w 6512821"/>
                <a:gd name="connsiteY101" fmla="*/ 1044005 h 1648590"/>
                <a:gd name="connsiteX102" fmla="*/ 829864 w 6512821"/>
                <a:gd name="connsiteY102" fmla="*/ 972624 h 1648590"/>
                <a:gd name="connsiteX103" fmla="*/ 758483 w 6512821"/>
                <a:gd name="connsiteY103" fmla="*/ 1044005 h 1648590"/>
                <a:gd name="connsiteX104" fmla="*/ 829864 w 6512821"/>
                <a:gd name="connsiteY104" fmla="*/ 1115386 h 1648590"/>
                <a:gd name="connsiteX105" fmla="*/ 6512756 w 6512821"/>
                <a:gd name="connsiteY105" fmla="*/ 426134 h 1648590"/>
                <a:gd name="connsiteX106" fmla="*/ 6510737 w 6512821"/>
                <a:gd name="connsiteY106" fmla="*/ 467946 h 1648590"/>
                <a:gd name="connsiteX107" fmla="*/ 6219158 w 6512821"/>
                <a:gd name="connsiteY107" fmla="*/ 467946 h 1648590"/>
                <a:gd name="connsiteX108" fmla="*/ 6322126 w 6512821"/>
                <a:gd name="connsiteY108" fmla="*/ 562773 h 1648590"/>
                <a:gd name="connsiteX109" fmla="*/ 6405751 w 6512821"/>
                <a:gd name="connsiteY109" fmla="*/ 529102 h 1648590"/>
                <a:gd name="connsiteX110" fmla="*/ 6491394 w 6512821"/>
                <a:gd name="connsiteY110" fmla="*/ 601459 h 1648590"/>
                <a:gd name="connsiteX111" fmla="*/ 6317046 w 6512821"/>
                <a:gd name="connsiteY111" fmla="*/ 677919 h 1648590"/>
                <a:gd name="connsiteX112" fmla="*/ 6095805 w 6512821"/>
                <a:gd name="connsiteY112" fmla="*/ 428153 h 1648590"/>
                <a:gd name="connsiteX113" fmla="*/ 6308905 w 6512821"/>
                <a:gd name="connsiteY113" fmla="*/ 176302 h 1648590"/>
                <a:gd name="connsiteX114" fmla="*/ 6512821 w 6512821"/>
                <a:gd name="connsiteY114" fmla="*/ 426069 h 1648590"/>
                <a:gd name="connsiteX115" fmla="*/ 6221177 w 6512821"/>
                <a:gd name="connsiteY115" fmla="*/ 374162 h 1648590"/>
                <a:gd name="connsiteX116" fmla="*/ 6392465 w 6512821"/>
                <a:gd name="connsiteY116" fmla="*/ 374162 h 1648590"/>
                <a:gd name="connsiteX117" fmla="*/ 6304802 w 6512821"/>
                <a:gd name="connsiteY117" fmla="*/ 283438 h 1648590"/>
                <a:gd name="connsiteX118" fmla="*/ 6221177 w 6512821"/>
                <a:gd name="connsiteY118" fmla="*/ 374162 h 1648590"/>
                <a:gd name="connsiteX119" fmla="*/ 5702235 w 6512821"/>
                <a:gd name="connsiteY119" fmla="*/ 667825 h 1648590"/>
                <a:gd name="connsiteX120" fmla="*/ 5583963 w 6512821"/>
                <a:gd name="connsiteY120" fmla="*/ 667825 h 1648590"/>
                <a:gd name="connsiteX121" fmla="*/ 5583963 w 6512821"/>
                <a:gd name="connsiteY121" fmla="*/ 634153 h 1648590"/>
                <a:gd name="connsiteX122" fmla="*/ 5471812 w 6512821"/>
                <a:gd name="connsiteY122" fmla="*/ 677984 h 1648590"/>
                <a:gd name="connsiteX123" fmla="*/ 5300525 w 6512821"/>
                <a:gd name="connsiteY123" fmla="*/ 458763 h 1648590"/>
                <a:gd name="connsiteX124" fmla="*/ 5300525 w 6512821"/>
                <a:gd name="connsiteY124" fmla="*/ 186527 h 1648590"/>
                <a:gd name="connsiteX125" fmla="*/ 5420817 w 6512821"/>
                <a:gd name="connsiteY125" fmla="*/ 186527 h 1648590"/>
                <a:gd name="connsiteX126" fmla="*/ 5420817 w 6512821"/>
                <a:gd name="connsiteY126" fmla="*/ 448538 h 1648590"/>
                <a:gd name="connsiteX127" fmla="*/ 5501380 w 6512821"/>
                <a:gd name="connsiteY127" fmla="*/ 562708 h 1648590"/>
                <a:gd name="connsiteX128" fmla="*/ 5581944 w 6512821"/>
                <a:gd name="connsiteY128" fmla="*/ 452576 h 1648590"/>
                <a:gd name="connsiteX129" fmla="*/ 5581944 w 6512821"/>
                <a:gd name="connsiteY129" fmla="*/ 186462 h 1648590"/>
                <a:gd name="connsiteX130" fmla="*/ 5702235 w 6512821"/>
                <a:gd name="connsiteY130" fmla="*/ 186462 h 1648590"/>
                <a:gd name="connsiteX131" fmla="*/ 5702235 w 6512821"/>
                <a:gd name="connsiteY131" fmla="*/ 667695 h 1648590"/>
                <a:gd name="connsiteX132" fmla="*/ 3895579 w 6512821"/>
                <a:gd name="connsiteY132" fmla="*/ 426134 h 1648590"/>
                <a:gd name="connsiteX133" fmla="*/ 3893560 w 6512821"/>
                <a:gd name="connsiteY133" fmla="*/ 467946 h 1648590"/>
                <a:gd name="connsiteX134" fmla="*/ 3601981 w 6512821"/>
                <a:gd name="connsiteY134" fmla="*/ 467946 h 1648590"/>
                <a:gd name="connsiteX135" fmla="*/ 3704949 w 6512821"/>
                <a:gd name="connsiteY135" fmla="*/ 562773 h 1648590"/>
                <a:gd name="connsiteX136" fmla="*/ 3788573 w 6512821"/>
                <a:gd name="connsiteY136" fmla="*/ 529102 h 1648590"/>
                <a:gd name="connsiteX137" fmla="*/ 3874217 w 6512821"/>
                <a:gd name="connsiteY137" fmla="*/ 601459 h 1648590"/>
                <a:gd name="connsiteX138" fmla="*/ 3699868 w 6512821"/>
                <a:gd name="connsiteY138" fmla="*/ 677919 h 1648590"/>
                <a:gd name="connsiteX139" fmla="*/ 3478628 w 6512821"/>
                <a:gd name="connsiteY139" fmla="*/ 428153 h 1648590"/>
                <a:gd name="connsiteX140" fmla="*/ 3691727 w 6512821"/>
                <a:gd name="connsiteY140" fmla="*/ 176302 h 1648590"/>
                <a:gd name="connsiteX141" fmla="*/ 3895644 w 6512821"/>
                <a:gd name="connsiteY141" fmla="*/ 426069 h 1648590"/>
                <a:gd name="connsiteX142" fmla="*/ 3604000 w 6512821"/>
                <a:gd name="connsiteY142" fmla="*/ 374162 h 1648590"/>
                <a:gd name="connsiteX143" fmla="*/ 3775287 w 6512821"/>
                <a:gd name="connsiteY143" fmla="*/ 374162 h 1648590"/>
                <a:gd name="connsiteX144" fmla="*/ 3687624 w 6512821"/>
                <a:gd name="connsiteY144" fmla="*/ 283438 h 1648590"/>
                <a:gd name="connsiteX145" fmla="*/ 3604000 w 6512821"/>
                <a:gd name="connsiteY145" fmla="*/ 374162 h 1648590"/>
                <a:gd name="connsiteX146" fmla="*/ 4579686 w 6512821"/>
                <a:gd name="connsiteY146" fmla="*/ 1638365 h 1648590"/>
                <a:gd name="connsiteX147" fmla="*/ 4455291 w 6512821"/>
                <a:gd name="connsiteY147" fmla="*/ 1638365 h 1648590"/>
                <a:gd name="connsiteX148" fmla="*/ 4455291 w 6512821"/>
                <a:gd name="connsiteY148" fmla="*/ 1606778 h 1648590"/>
                <a:gd name="connsiteX149" fmla="*/ 4346201 w 6512821"/>
                <a:gd name="connsiteY149" fmla="*/ 1648590 h 1648590"/>
                <a:gd name="connsiteX150" fmla="*/ 4148406 w 6512821"/>
                <a:gd name="connsiteY150" fmla="*/ 1393678 h 1648590"/>
                <a:gd name="connsiteX151" fmla="*/ 4343140 w 6512821"/>
                <a:gd name="connsiteY151" fmla="*/ 1146973 h 1648590"/>
                <a:gd name="connsiteX152" fmla="*/ 4455291 w 6512821"/>
                <a:gd name="connsiteY152" fmla="*/ 1185724 h 1648590"/>
                <a:gd name="connsiteX153" fmla="*/ 4455291 w 6512821"/>
                <a:gd name="connsiteY153" fmla="*/ 1031761 h 1648590"/>
                <a:gd name="connsiteX154" fmla="*/ 4579686 w 6512821"/>
                <a:gd name="connsiteY154" fmla="*/ 969564 h 1648590"/>
                <a:gd name="connsiteX155" fmla="*/ 4579686 w 6512821"/>
                <a:gd name="connsiteY155" fmla="*/ 1638365 h 1648590"/>
                <a:gd name="connsiteX156" fmla="*/ 4455356 w 6512821"/>
                <a:gd name="connsiteY156" fmla="*/ 1489547 h 1648590"/>
                <a:gd name="connsiteX157" fmla="*/ 4455356 w 6512821"/>
                <a:gd name="connsiteY157" fmla="*/ 1306016 h 1648590"/>
                <a:gd name="connsiteX158" fmla="*/ 4368670 w 6512821"/>
                <a:gd name="connsiteY158" fmla="*/ 1264204 h 1648590"/>
                <a:gd name="connsiteX159" fmla="*/ 4278924 w 6512821"/>
                <a:gd name="connsiteY159" fmla="*/ 1389575 h 1648590"/>
                <a:gd name="connsiteX160" fmla="*/ 4371731 w 6512821"/>
                <a:gd name="connsiteY160" fmla="*/ 1531294 h 1648590"/>
                <a:gd name="connsiteX161" fmla="*/ 4455356 w 6512821"/>
                <a:gd name="connsiteY161" fmla="*/ 1489482 h 1648590"/>
                <a:gd name="connsiteX162" fmla="*/ 3945532 w 6512821"/>
                <a:gd name="connsiteY162" fmla="*/ 1157198 h 1648590"/>
                <a:gd name="connsiteX163" fmla="*/ 3945532 w 6512821"/>
                <a:gd name="connsiteY163" fmla="*/ 1638430 h 1648590"/>
                <a:gd name="connsiteX164" fmla="*/ 4069927 w 6512821"/>
                <a:gd name="connsiteY164" fmla="*/ 1638430 h 1648590"/>
                <a:gd name="connsiteX165" fmla="*/ 4069927 w 6512821"/>
                <a:gd name="connsiteY165" fmla="*/ 1157198 h 1648590"/>
                <a:gd name="connsiteX166" fmla="*/ 3945532 w 6512821"/>
                <a:gd name="connsiteY166" fmla="*/ 1157198 h 1648590"/>
                <a:gd name="connsiteX167" fmla="*/ 3873175 w 6512821"/>
                <a:gd name="connsiteY167" fmla="*/ 985911 h 1648590"/>
                <a:gd name="connsiteX168" fmla="*/ 3873175 w 6512821"/>
                <a:gd name="connsiteY168" fmla="*/ 1085817 h 1648590"/>
                <a:gd name="connsiteX169" fmla="*/ 3812019 w 6512821"/>
                <a:gd name="connsiteY169" fmla="*/ 1076634 h 1648590"/>
                <a:gd name="connsiteX170" fmla="*/ 3760047 w 6512821"/>
                <a:gd name="connsiteY170" fmla="*/ 1118447 h 1648590"/>
                <a:gd name="connsiteX171" fmla="*/ 3760047 w 6512821"/>
                <a:gd name="connsiteY171" fmla="*/ 1157198 h 1648590"/>
                <a:gd name="connsiteX172" fmla="*/ 3863015 w 6512821"/>
                <a:gd name="connsiteY172" fmla="*/ 1157198 h 1648590"/>
                <a:gd name="connsiteX173" fmla="*/ 3863015 w 6512821"/>
                <a:gd name="connsiteY173" fmla="*/ 1273452 h 1648590"/>
                <a:gd name="connsiteX174" fmla="*/ 3760047 w 6512821"/>
                <a:gd name="connsiteY174" fmla="*/ 1273452 h 1648590"/>
                <a:gd name="connsiteX175" fmla="*/ 3760047 w 6512821"/>
                <a:gd name="connsiteY175" fmla="*/ 1638430 h 1648590"/>
                <a:gd name="connsiteX176" fmla="*/ 3635652 w 6512821"/>
                <a:gd name="connsiteY176" fmla="*/ 1638430 h 1648590"/>
                <a:gd name="connsiteX177" fmla="*/ 3635652 w 6512821"/>
                <a:gd name="connsiteY177" fmla="*/ 1273452 h 1648590"/>
                <a:gd name="connsiteX178" fmla="*/ 3568375 w 6512821"/>
                <a:gd name="connsiteY178" fmla="*/ 1273452 h 1648590"/>
                <a:gd name="connsiteX179" fmla="*/ 3568375 w 6512821"/>
                <a:gd name="connsiteY179" fmla="*/ 1157198 h 1648590"/>
                <a:gd name="connsiteX180" fmla="*/ 3635652 w 6512821"/>
                <a:gd name="connsiteY180" fmla="*/ 1157198 h 1648590"/>
                <a:gd name="connsiteX181" fmla="*/ 3635652 w 6512821"/>
                <a:gd name="connsiteY181" fmla="*/ 1099104 h 1648590"/>
                <a:gd name="connsiteX182" fmla="*/ 3782451 w 6512821"/>
                <a:gd name="connsiteY182" fmla="*/ 972690 h 1648590"/>
                <a:gd name="connsiteX183" fmla="*/ 3873175 w 6512821"/>
                <a:gd name="connsiteY183" fmla="*/ 985976 h 1648590"/>
                <a:gd name="connsiteX184" fmla="*/ 3507154 w 6512821"/>
                <a:gd name="connsiteY184" fmla="*/ 1638365 h 1648590"/>
                <a:gd name="connsiteX185" fmla="*/ 3382759 w 6512821"/>
                <a:gd name="connsiteY185" fmla="*/ 1638365 h 1648590"/>
                <a:gd name="connsiteX186" fmla="*/ 3382759 w 6512821"/>
                <a:gd name="connsiteY186" fmla="*/ 1376355 h 1648590"/>
                <a:gd name="connsiteX187" fmla="*/ 3300177 w 6512821"/>
                <a:gd name="connsiteY187" fmla="*/ 1264204 h 1648590"/>
                <a:gd name="connsiteX188" fmla="*/ 3216552 w 6512821"/>
                <a:gd name="connsiteY188" fmla="*/ 1373293 h 1648590"/>
                <a:gd name="connsiteX189" fmla="*/ 3216552 w 6512821"/>
                <a:gd name="connsiteY189" fmla="*/ 1638365 h 1648590"/>
                <a:gd name="connsiteX190" fmla="*/ 3092157 w 6512821"/>
                <a:gd name="connsiteY190" fmla="*/ 1638365 h 1648590"/>
                <a:gd name="connsiteX191" fmla="*/ 3092157 w 6512821"/>
                <a:gd name="connsiteY191" fmla="*/ 1157133 h 1648590"/>
                <a:gd name="connsiteX192" fmla="*/ 3216552 w 6512821"/>
                <a:gd name="connsiteY192" fmla="*/ 1157133 h 1648590"/>
                <a:gd name="connsiteX193" fmla="*/ 3216552 w 6512821"/>
                <a:gd name="connsiteY193" fmla="*/ 1189762 h 1648590"/>
                <a:gd name="connsiteX194" fmla="*/ 3333783 w 6512821"/>
                <a:gd name="connsiteY194" fmla="*/ 1146973 h 1648590"/>
                <a:gd name="connsiteX195" fmla="*/ 3507089 w 6512821"/>
                <a:gd name="connsiteY195" fmla="*/ 1366195 h 1648590"/>
                <a:gd name="connsiteX196" fmla="*/ 3507089 w 6512821"/>
                <a:gd name="connsiteY196" fmla="*/ 1638430 h 1648590"/>
                <a:gd name="connsiteX197" fmla="*/ 2792437 w 6512821"/>
                <a:gd name="connsiteY197" fmla="*/ 1146973 h 1648590"/>
                <a:gd name="connsiteX198" fmla="*/ 2567094 w 6512821"/>
                <a:gd name="connsiteY198" fmla="*/ 1397782 h 1648590"/>
                <a:gd name="connsiteX199" fmla="*/ 2792437 w 6512821"/>
                <a:gd name="connsiteY199" fmla="*/ 1648590 h 1648590"/>
                <a:gd name="connsiteX200" fmla="*/ 3017781 w 6512821"/>
                <a:gd name="connsiteY200" fmla="*/ 1397782 h 1648590"/>
                <a:gd name="connsiteX201" fmla="*/ 2792437 w 6512821"/>
                <a:gd name="connsiteY201" fmla="*/ 1146973 h 1648590"/>
                <a:gd name="connsiteX202" fmla="*/ 2792437 w 6512821"/>
                <a:gd name="connsiteY202" fmla="*/ 1528299 h 1648590"/>
                <a:gd name="connsiteX203" fmla="*/ 2695592 w 6512821"/>
                <a:gd name="connsiteY203" fmla="*/ 1397782 h 1648590"/>
                <a:gd name="connsiteX204" fmla="*/ 2792437 w 6512821"/>
                <a:gd name="connsiteY204" fmla="*/ 1266288 h 1648590"/>
                <a:gd name="connsiteX205" fmla="*/ 2889283 w 6512821"/>
                <a:gd name="connsiteY205" fmla="*/ 1397782 h 1648590"/>
                <a:gd name="connsiteX206" fmla="*/ 2792437 w 6512821"/>
                <a:gd name="connsiteY206" fmla="*/ 1528299 h 1648590"/>
                <a:gd name="connsiteX207" fmla="*/ 2446802 w 6512821"/>
                <a:gd name="connsiteY207" fmla="*/ 1467143 h 1648590"/>
                <a:gd name="connsiteX208" fmla="*/ 2526323 w 6512821"/>
                <a:gd name="connsiteY208" fmla="*/ 1542561 h 1648590"/>
                <a:gd name="connsiteX209" fmla="*/ 2334651 w 6512821"/>
                <a:gd name="connsiteY209" fmla="*/ 1648590 h 1648590"/>
                <a:gd name="connsiteX210" fmla="*/ 2106246 w 6512821"/>
                <a:gd name="connsiteY210" fmla="*/ 1398823 h 1648590"/>
                <a:gd name="connsiteX211" fmla="*/ 2336670 w 6512821"/>
                <a:gd name="connsiteY211" fmla="*/ 1146973 h 1648590"/>
                <a:gd name="connsiteX212" fmla="*/ 2525281 w 6512821"/>
                <a:gd name="connsiteY212" fmla="*/ 1250983 h 1648590"/>
                <a:gd name="connsiteX213" fmla="*/ 2443741 w 6512821"/>
                <a:gd name="connsiteY213" fmla="*/ 1333565 h 1648590"/>
                <a:gd name="connsiteX214" fmla="*/ 2335693 w 6512821"/>
                <a:gd name="connsiteY214" fmla="*/ 1266288 h 1648590"/>
                <a:gd name="connsiteX215" fmla="*/ 2234744 w 6512821"/>
                <a:gd name="connsiteY215" fmla="*/ 1396804 h 1648590"/>
                <a:gd name="connsiteX216" fmla="*/ 2336670 w 6512821"/>
                <a:gd name="connsiteY216" fmla="*/ 1528299 h 1648590"/>
                <a:gd name="connsiteX217" fmla="*/ 2446802 w 6512821"/>
                <a:gd name="connsiteY217" fmla="*/ 1467143 h 1648590"/>
                <a:gd name="connsiteX218" fmla="*/ 1803530 w 6512821"/>
                <a:gd name="connsiteY218" fmla="*/ 1638365 h 1648590"/>
                <a:gd name="connsiteX219" fmla="*/ 1679135 w 6512821"/>
                <a:gd name="connsiteY219" fmla="*/ 1638365 h 1648590"/>
                <a:gd name="connsiteX220" fmla="*/ 1679135 w 6512821"/>
                <a:gd name="connsiteY220" fmla="*/ 1376355 h 1648590"/>
                <a:gd name="connsiteX221" fmla="*/ 1596553 w 6512821"/>
                <a:gd name="connsiteY221" fmla="*/ 1264204 h 1648590"/>
                <a:gd name="connsiteX222" fmla="*/ 1511951 w 6512821"/>
                <a:gd name="connsiteY222" fmla="*/ 1373293 h 1648590"/>
                <a:gd name="connsiteX223" fmla="*/ 1511951 w 6512821"/>
                <a:gd name="connsiteY223" fmla="*/ 1638365 h 1648590"/>
                <a:gd name="connsiteX224" fmla="*/ 1387557 w 6512821"/>
                <a:gd name="connsiteY224" fmla="*/ 1638365 h 1648590"/>
                <a:gd name="connsiteX225" fmla="*/ 1387557 w 6512821"/>
                <a:gd name="connsiteY225" fmla="*/ 1031761 h 1648590"/>
                <a:gd name="connsiteX226" fmla="*/ 1511951 w 6512821"/>
                <a:gd name="connsiteY226" fmla="*/ 969564 h 1648590"/>
                <a:gd name="connsiteX227" fmla="*/ 1511951 w 6512821"/>
                <a:gd name="connsiteY227" fmla="*/ 1189762 h 1648590"/>
                <a:gd name="connsiteX228" fmla="*/ 1632243 w 6512821"/>
                <a:gd name="connsiteY228" fmla="*/ 1146973 h 1648590"/>
                <a:gd name="connsiteX229" fmla="*/ 1803530 w 6512821"/>
                <a:gd name="connsiteY229" fmla="*/ 1366195 h 1648590"/>
                <a:gd name="connsiteX230" fmla="*/ 1803530 w 6512821"/>
                <a:gd name="connsiteY230" fmla="*/ 1638430 h 1648590"/>
                <a:gd name="connsiteX231" fmla="*/ 1311031 w 6512821"/>
                <a:gd name="connsiteY231" fmla="*/ 1493650 h 1648590"/>
                <a:gd name="connsiteX232" fmla="*/ 1292665 w 6512821"/>
                <a:gd name="connsiteY232" fmla="*/ 1619022 h 1648590"/>
                <a:gd name="connsiteX233" fmla="*/ 1173350 w 6512821"/>
                <a:gd name="connsiteY233" fmla="*/ 1648590 h 1648590"/>
                <a:gd name="connsiteX234" fmla="*/ 1043875 w 6512821"/>
                <a:gd name="connsiteY234" fmla="*/ 1504852 h 1648590"/>
                <a:gd name="connsiteX235" fmla="*/ 1043875 w 6512821"/>
                <a:gd name="connsiteY235" fmla="*/ 1273387 h 1648590"/>
                <a:gd name="connsiteX236" fmla="*/ 960250 w 6512821"/>
                <a:gd name="connsiteY236" fmla="*/ 1273387 h 1648590"/>
                <a:gd name="connsiteX237" fmla="*/ 960250 w 6512821"/>
                <a:gd name="connsiteY237" fmla="*/ 1157133 h 1648590"/>
                <a:gd name="connsiteX238" fmla="*/ 1043875 w 6512821"/>
                <a:gd name="connsiteY238" fmla="*/ 1157133 h 1648590"/>
                <a:gd name="connsiteX239" fmla="*/ 1043875 w 6512821"/>
                <a:gd name="connsiteY239" fmla="*/ 1031761 h 1648590"/>
                <a:gd name="connsiteX240" fmla="*/ 1168270 w 6512821"/>
                <a:gd name="connsiteY240" fmla="*/ 969564 h 1648590"/>
                <a:gd name="connsiteX241" fmla="*/ 1168270 w 6512821"/>
                <a:gd name="connsiteY241" fmla="*/ 1157133 h 1648590"/>
                <a:gd name="connsiteX242" fmla="*/ 1308947 w 6512821"/>
                <a:gd name="connsiteY242" fmla="*/ 1157133 h 1648590"/>
                <a:gd name="connsiteX243" fmla="*/ 1308947 w 6512821"/>
                <a:gd name="connsiteY243" fmla="*/ 1273387 h 1648590"/>
                <a:gd name="connsiteX244" fmla="*/ 1168270 w 6512821"/>
                <a:gd name="connsiteY244" fmla="*/ 1273387 h 1648590"/>
                <a:gd name="connsiteX245" fmla="*/ 1168270 w 6512821"/>
                <a:gd name="connsiteY245" fmla="*/ 1471181 h 1648590"/>
                <a:gd name="connsiteX246" fmla="*/ 1214120 w 6512821"/>
                <a:gd name="connsiteY246" fmla="*/ 1529275 h 1648590"/>
                <a:gd name="connsiteX247" fmla="*/ 1310966 w 6512821"/>
                <a:gd name="connsiteY247" fmla="*/ 1493585 h 1648590"/>
                <a:gd name="connsiteX248" fmla="*/ 767666 w 6512821"/>
                <a:gd name="connsiteY248" fmla="*/ 1157198 h 1648590"/>
                <a:gd name="connsiteX249" fmla="*/ 767666 w 6512821"/>
                <a:gd name="connsiteY249" fmla="*/ 1638430 h 1648590"/>
                <a:gd name="connsiteX250" fmla="*/ 892061 w 6512821"/>
                <a:gd name="connsiteY250" fmla="*/ 1638430 h 1648590"/>
                <a:gd name="connsiteX251" fmla="*/ 892061 w 6512821"/>
                <a:gd name="connsiteY251" fmla="*/ 1157198 h 1648590"/>
                <a:gd name="connsiteX252" fmla="*/ 767666 w 6512821"/>
                <a:gd name="connsiteY252" fmla="*/ 1157198 h 1648590"/>
                <a:gd name="connsiteX253" fmla="*/ 702408 w 6512821"/>
                <a:gd name="connsiteY253" fmla="*/ 1157198 h 1648590"/>
                <a:gd name="connsiteX254" fmla="*/ 550529 w 6512821"/>
                <a:gd name="connsiteY254" fmla="*/ 1638430 h 1648590"/>
                <a:gd name="connsiteX255" fmla="*/ 436359 w 6512821"/>
                <a:gd name="connsiteY255" fmla="*/ 1638430 h 1648590"/>
                <a:gd name="connsiteX256" fmla="*/ 354819 w 6512821"/>
                <a:gd name="connsiteY256" fmla="*/ 1345809 h 1648590"/>
                <a:gd name="connsiteX257" fmla="*/ 272236 w 6512821"/>
                <a:gd name="connsiteY257" fmla="*/ 1638430 h 1648590"/>
                <a:gd name="connsiteX258" fmla="*/ 158066 w 6512821"/>
                <a:gd name="connsiteY258" fmla="*/ 1638430 h 1648590"/>
                <a:gd name="connsiteX259" fmla="*/ 7099 w 6512821"/>
                <a:gd name="connsiteY259" fmla="*/ 1157198 h 1648590"/>
                <a:gd name="connsiteX260" fmla="*/ 145757 w 6512821"/>
                <a:gd name="connsiteY260" fmla="*/ 1157198 h 1648590"/>
                <a:gd name="connsiteX261" fmla="*/ 218114 w 6512821"/>
                <a:gd name="connsiteY261" fmla="*/ 1436533 h 1648590"/>
                <a:gd name="connsiteX262" fmla="*/ 299655 w 6512821"/>
                <a:gd name="connsiteY262" fmla="*/ 1157198 h 1648590"/>
                <a:gd name="connsiteX263" fmla="*/ 412848 w 6512821"/>
                <a:gd name="connsiteY263" fmla="*/ 1157198 h 1648590"/>
                <a:gd name="connsiteX264" fmla="*/ 494388 w 6512821"/>
                <a:gd name="connsiteY264" fmla="*/ 1436533 h 1648590"/>
                <a:gd name="connsiteX265" fmla="*/ 567788 w 6512821"/>
                <a:gd name="connsiteY265" fmla="*/ 1157198 h 1648590"/>
                <a:gd name="connsiteX266" fmla="*/ 702343 w 6512821"/>
                <a:gd name="connsiteY266" fmla="*/ 1157198 h 1648590"/>
                <a:gd name="connsiteX267" fmla="*/ 4436990 w 6512821"/>
                <a:gd name="connsiteY267" fmla="*/ 16282 h 1648590"/>
                <a:gd name="connsiteX268" fmla="*/ 4436990 w 6512821"/>
                <a:gd name="connsiteY268" fmla="*/ 115147 h 1648590"/>
                <a:gd name="connsiteX269" fmla="*/ 4374792 w 6512821"/>
                <a:gd name="connsiteY269" fmla="*/ 104921 h 1648590"/>
                <a:gd name="connsiteX270" fmla="*/ 4322820 w 6512821"/>
                <a:gd name="connsiteY270" fmla="*/ 144715 h 1648590"/>
                <a:gd name="connsiteX271" fmla="*/ 4322820 w 6512821"/>
                <a:gd name="connsiteY271" fmla="*/ 186527 h 1648590"/>
                <a:gd name="connsiteX272" fmla="*/ 4404361 w 6512821"/>
                <a:gd name="connsiteY272" fmla="*/ 186527 h 1648590"/>
                <a:gd name="connsiteX273" fmla="*/ 4404361 w 6512821"/>
                <a:gd name="connsiteY273" fmla="*/ 302781 h 1648590"/>
                <a:gd name="connsiteX274" fmla="*/ 4322820 w 6512821"/>
                <a:gd name="connsiteY274" fmla="*/ 302781 h 1648590"/>
                <a:gd name="connsiteX275" fmla="*/ 4322820 w 6512821"/>
                <a:gd name="connsiteY275" fmla="*/ 667759 h 1648590"/>
                <a:gd name="connsiteX276" fmla="*/ 4202528 w 6512821"/>
                <a:gd name="connsiteY276" fmla="*/ 667759 h 1648590"/>
                <a:gd name="connsiteX277" fmla="*/ 4202528 w 6512821"/>
                <a:gd name="connsiteY277" fmla="*/ 302781 h 1648590"/>
                <a:gd name="connsiteX278" fmla="*/ 4143392 w 6512821"/>
                <a:gd name="connsiteY278" fmla="*/ 302781 h 1648590"/>
                <a:gd name="connsiteX279" fmla="*/ 4143392 w 6512821"/>
                <a:gd name="connsiteY279" fmla="*/ 186527 h 1648590"/>
                <a:gd name="connsiteX280" fmla="*/ 4202528 w 6512821"/>
                <a:gd name="connsiteY280" fmla="*/ 186527 h 1648590"/>
                <a:gd name="connsiteX281" fmla="*/ 4202528 w 6512821"/>
                <a:gd name="connsiteY281" fmla="*/ 128433 h 1648590"/>
                <a:gd name="connsiteX282" fmla="*/ 4348350 w 6512821"/>
                <a:gd name="connsiteY282" fmla="*/ 2019 h 1648590"/>
                <a:gd name="connsiteX283" fmla="*/ 4437055 w 6512821"/>
                <a:gd name="connsiteY283" fmla="*/ 16282 h 1648590"/>
                <a:gd name="connsiteX284" fmla="*/ 2957602 w 6512821"/>
                <a:gd name="connsiteY284" fmla="*/ 527083 h 1648590"/>
                <a:gd name="connsiteX285" fmla="*/ 2940278 w 6512821"/>
                <a:gd name="connsiteY285" fmla="*/ 649458 h 1648590"/>
                <a:gd name="connsiteX286" fmla="*/ 2843433 w 6512821"/>
                <a:gd name="connsiteY286" fmla="*/ 677984 h 1648590"/>
                <a:gd name="connsiteX287" fmla="*/ 2712916 w 6512821"/>
                <a:gd name="connsiteY287" fmla="*/ 535224 h 1648590"/>
                <a:gd name="connsiteX288" fmla="*/ 2712916 w 6512821"/>
                <a:gd name="connsiteY288" fmla="*/ 301739 h 1648590"/>
                <a:gd name="connsiteX289" fmla="*/ 2629291 w 6512821"/>
                <a:gd name="connsiteY289" fmla="*/ 301739 h 1648590"/>
                <a:gd name="connsiteX290" fmla="*/ 2629291 w 6512821"/>
                <a:gd name="connsiteY290" fmla="*/ 186527 h 1648590"/>
                <a:gd name="connsiteX291" fmla="*/ 2712916 w 6512821"/>
                <a:gd name="connsiteY291" fmla="*/ 186527 h 1648590"/>
                <a:gd name="connsiteX292" fmla="*/ 2712916 w 6512821"/>
                <a:gd name="connsiteY292" fmla="*/ 61155 h 1648590"/>
                <a:gd name="connsiteX293" fmla="*/ 2833208 w 6512821"/>
                <a:gd name="connsiteY293" fmla="*/ 0 h 1648590"/>
                <a:gd name="connsiteX294" fmla="*/ 2833208 w 6512821"/>
                <a:gd name="connsiteY294" fmla="*/ 186592 h 1648590"/>
                <a:gd name="connsiteX295" fmla="*/ 2945358 w 6512821"/>
                <a:gd name="connsiteY295" fmla="*/ 186592 h 1648590"/>
                <a:gd name="connsiteX296" fmla="*/ 2945358 w 6512821"/>
                <a:gd name="connsiteY296" fmla="*/ 301804 h 1648590"/>
                <a:gd name="connsiteX297" fmla="*/ 2833208 w 6512821"/>
                <a:gd name="connsiteY297" fmla="*/ 301804 h 1648590"/>
                <a:gd name="connsiteX298" fmla="*/ 2833208 w 6512821"/>
                <a:gd name="connsiteY298" fmla="*/ 503701 h 1648590"/>
                <a:gd name="connsiteX299" fmla="*/ 2880100 w 6512821"/>
                <a:gd name="connsiteY299" fmla="*/ 560819 h 1648590"/>
                <a:gd name="connsiteX300" fmla="*/ 2957602 w 6512821"/>
                <a:gd name="connsiteY300" fmla="*/ 527148 h 1648590"/>
                <a:gd name="connsiteX301" fmla="*/ 2397891 w 6512821"/>
                <a:gd name="connsiteY301" fmla="*/ 426134 h 1648590"/>
                <a:gd name="connsiteX302" fmla="*/ 2395872 w 6512821"/>
                <a:gd name="connsiteY302" fmla="*/ 467946 h 1648590"/>
                <a:gd name="connsiteX303" fmla="*/ 2114453 w 6512821"/>
                <a:gd name="connsiteY303" fmla="*/ 467946 h 1648590"/>
                <a:gd name="connsiteX304" fmla="*/ 2218462 w 6512821"/>
                <a:gd name="connsiteY304" fmla="*/ 562773 h 1648590"/>
                <a:gd name="connsiteX305" fmla="*/ 2301045 w 6512821"/>
                <a:gd name="connsiteY305" fmla="*/ 529102 h 1648590"/>
                <a:gd name="connsiteX306" fmla="*/ 2386689 w 6512821"/>
                <a:gd name="connsiteY306" fmla="*/ 601459 h 1648590"/>
                <a:gd name="connsiteX307" fmla="*/ 2210321 w 6512821"/>
                <a:gd name="connsiteY307" fmla="*/ 677919 h 1648590"/>
                <a:gd name="connsiteX308" fmla="*/ 1991100 w 6512821"/>
                <a:gd name="connsiteY308" fmla="*/ 429130 h 1648590"/>
                <a:gd name="connsiteX309" fmla="*/ 2205176 w 6512821"/>
                <a:gd name="connsiteY309" fmla="*/ 176302 h 1648590"/>
                <a:gd name="connsiteX310" fmla="*/ 2397891 w 6512821"/>
                <a:gd name="connsiteY310" fmla="*/ 426069 h 1648590"/>
                <a:gd name="connsiteX311" fmla="*/ 2116472 w 6512821"/>
                <a:gd name="connsiteY311" fmla="*/ 374162 h 1648590"/>
                <a:gd name="connsiteX312" fmla="*/ 2287759 w 6512821"/>
                <a:gd name="connsiteY312" fmla="*/ 374162 h 1648590"/>
                <a:gd name="connsiteX313" fmla="*/ 2199054 w 6512821"/>
                <a:gd name="connsiteY313" fmla="*/ 283438 h 1648590"/>
                <a:gd name="connsiteX314" fmla="*/ 2116472 w 6512821"/>
                <a:gd name="connsiteY314" fmla="*/ 374162 h 1648590"/>
                <a:gd name="connsiteX315" fmla="*/ 1933982 w 6512821"/>
                <a:gd name="connsiteY315" fmla="*/ 428218 h 1648590"/>
                <a:gd name="connsiteX316" fmla="*/ 1746413 w 6512821"/>
                <a:gd name="connsiteY316" fmla="*/ 677984 h 1648590"/>
                <a:gd name="connsiteX317" fmla="*/ 1639342 w 6512821"/>
                <a:gd name="connsiteY317" fmla="*/ 638191 h 1648590"/>
                <a:gd name="connsiteX318" fmla="*/ 1639342 w 6512821"/>
                <a:gd name="connsiteY318" fmla="*/ 784990 h 1648590"/>
                <a:gd name="connsiteX319" fmla="*/ 1519050 w 6512821"/>
                <a:gd name="connsiteY319" fmla="*/ 845169 h 1648590"/>
                <a:gd name="connsiteX320" fmla="*/ 1519050 w 6512821"/>
                <a:gd name="connsiteY320" fmla="*/ 186527 h 1648590"/>
                <a:gd name="connsiteX321" fmla="*/ 1639342 w 6512821"/>
                <a:gd name="connsiteY321" fmla="*/ 186527 h 1648590"/>
                <a:gd name="connsiteX322" fmla="*/ 1639342 w 6512821"/>
                <a:gd name="connsiteY322" fmla="*/ 219157 h 1648590"/>
                <a:gd name="connsiteX323" fmla="*/ 1748432 w 6512821"/>
                <a:gd name="connsiteY323" fmla="*/ 176367 h 1648590"/>
                <a:gd name="connsiteX324" fmla="*/ 1933982 w 6512821"/>
                <a:gd name="connsiteY324" fmla="*/ 428218 h 1648590"/>
                <a:gd name="connsiteX325" fmla="*/ 1809587 w 6512821"/>
                <a:gd name="connsiteY325" fmla="*/ 434340 h 1648590"/>
                <a:gd name="connsiteX326" fmla="*/ 1718864 w 6512821"/>
                <a:gd name="connsiteY326" fmla="*/ 292621 h 1648590"/>
                <a:gd name="connsiteX327" fmla="*/ 1639342 w 6512821"/>
                <a:gd name="connsiteY327" fmla="*/ 335410 h 1648590"/>
                <a:gd name="connsiteX328" fmla="*/ 1639342 w 6512821"/>
                <a:gd name="connsiteY328" fmla="*/ 518942 h 1648590"/>
                <a:gd name="connsiteX329" fmla="*/ 1726028 w 6512821"/>
                <a:gd name="connsiteY329" fmla="*/ 562773 h 1648590"/>
                <a:gd name="connsiteX330" fmla="*/ 1809652 w 6512821"/>
                <a:gd name="connsiteY330" fmla="*/ 434340 h 1648590"/>
                <a:gd name="connsiteX331" fmla="*/ 1435426 w 6512821"/>
                <a:gd name="connsiteY331" fmla="*/ 667825 h 1648590"/>
                <a:gd name="connsiteX332" fmla="*/ 1315134 w 6512821"/>
                <a:gd name="connsiteY332" fmla="*/ 667825 h 1648590"/>
                <a:gd name="connsiteX333" fmla="*/ 1315134 w 6512821"/>
                <a:gd name="connsiteY333" fmla="*/ 634153 h 1648590"/>
                <a:gd name="connsiteX334" fmla="*/ 1202983 w 6512821"/>
                <a:gd name="connsiteY334" fmla="*/ 677984 h 1648590"/>
                <a:gd name="connsiteX335" fmla="*/ 1033715 w 6512821"/>
                <a:gd name="connsiteY335" fmla="*/ 510800 h 1648590"/>
                <a:gd name="connsiteX336" fmla="*/ 1221284 w 6512821"/>
                <a:gd name="connsiteY336" fmla="*/ 348696 h 1648590"/>
                <a:gd name="connsiteX337" fmla="*/ 1315069 w 6512821"/>
                <a:gd name="connsiteY337" fmla="*/ 368040 h 1648590"/>
                <a:gd name="connsiteX338" fmla="*/ 1315069 w 6512821"/>
                <a:gd name="connsiteY338" fmla="*/ 342574 h 1648590"/>
                <a:gd name="connsiteX339" fmla="*/ 1232486 w 6512821"/>
                <a:gd name="connsiteY339" fmla="*/ 279335 h 1648590"/>
                <a:gd name="connsiteX340" fmla="*/ 1121378 w 6512821"/>
                <a:gd name="connsiteY340" fmla="*/ 310922 h 1648590"/>
                <a:gd name="connsiteX341" fmla="*/ 1073443 w 6512821"/>
                <a:gd name="connsiteY341" fmla="*/ 225278 h 1648590"/>
                <a:gd name="connsiteX342" fmla="*/ 1239650 w 6512821"/>
                <a:gd name="connsiteY342" fmla="*/ 176367 h 1648590"/>
                <a:gd name="connsiteX343" fmla="*/ 1435426 w 6512821"/>
                <a:gd name="connsiteY343" fmla="*/ 344593 h 1648590"/>
                <a:gd name="connsiteX344" fmla="*/ 1435426 w 6512821"/>
                <a:gd name="connsiteY344" fmla="*/ 667759 h 1648590"/>
                <a:gd name="connsiteX345" fmla="*/ 1315134 w 6512821"/>
                <a:gd name="connsiteY345" fmla="*/ 527083 h 1648590"/>
                <a:gd name="connsiteX346" fmla="*/ 1315134 w 6512821"/>
                <a:gd name="connsiteY346" fmla="*/ 465927 h 1648590"/>
                <a:gd name="connsiteX347" fmla="*/ 1234570 w 6512821"/>
                <a:gd name="connsiteY347" fmla="*/ 445542 h 1648590"/>
                <a:gd name="connsiteX348" fmla="*/ 1156091 w 6512821"/>
                <a:gd name="connsiteY348" fmla="*/ 507740 h 1648590"/>
                <a:gd name="connsiteX349" fmla="*/ 1224410 w 6512821"/>
                <a:gd name="connsiteY349" fmla="*/ 574040 h 1648590"/>
                <a:gd name="connsiteX350" fmla="*/ 1315134 w 6512821"/>
                <a:gd name="connsiteY350" fmla="*/ 527148 h 1648590"/>
                <a:gd name="connsiteX351" fmla="*/ 967480 w 6512821"/>
                <a:gd name="connsiteY351" fmla="*/ 667825 h 1648590"/>
                <a:gd name="connsiteX352" fmla="*/ 847188 w 6512821"/>
                <a:gd name="connsiteY352" fmla="*/ 667825 h 1648590"/>
                <a:gd name="connsiteX353" fmla="*/ 847188 w 6512821"/>
                <a:gd name="connsiteY353" fmla="*/ 405814 h 1648590"/>
                <a:gd name="connsiteX354" fmla="*/ 765647 w 6512821"/>
                <a:gd name="connsiteY354" fmla="*/ 292621 h 1648590"/>
                <a:gd name="connsiteX355" fmla="*/ 683065 w 6512821"/>
                <a:gd name="connsiteY355" fmla="*/ 402753 h 1648590"/>
                <a:gd name="connsiteX356" fmla="*/ 683065 w 6512821"/>
                <a:gd name="connsiteY356" fmla="*/ 667825 h 1648590"/>
                <a:gd name="connsiteX357" fmla="*/ 562773 w 6512821"/>
                <a:gd name="connsiteY357" fmla="*/ 667825 h 1648590"/>
                <a:gd name="connsiteX358" fmla="*/ 562773 w 6512821"/>
                <a:gd name="connsiteY358" fmla="*/ 61221 h 1648590"/>
                <a:gd name="connsiteX359" fmla="*/ 683065 w 6512821"/>
                <a:gd name="connsiteY359" fmla="*/ 65 h 1648590"/>
                <a:gd name="connsiteX360" fmla="*/ 683065 w 6512821"/>
                <a:gd name="connsiteY360" fmla="*/ 220264 h 1648590"/>
                <a:gd name="connsiteX361" fmla="*/ 796258 w 6512821"/>
                <a:gd name="connsiteY361" fmla="*/ 176432 h 1648590"/>
                <a:gd name="connsiteX362" fmla="*/ 967545 w 6512821"/>
                <a:gd name="connsiteY362" fmla="*/ 396631 h 1648590"/>
                <a:gd name="connsiteX363" fmla="*/ 967545 w 6512821"/>
                <a:gd name="connsiteY363" fmla="*/ 667825 h 1648590"/>
                <a:gd name="connsiteX364" fmla="*/ 496472 w 6512821"/>
                <a:gd name="connsiteY364" fmla="*/ 475110 h 1648590"/>
                <a:gd name="connsiteX365" fmla="*/ 255889 w 6512821"/>
                <a:gd name="connsiteY365" fmla="*/ 677984 h 1648590"/>
                <a:gd name="connsiteX366" fmla="*/ 0 w 6512821"/>
                <a:gd name="connsiteY366" fmla="*/ 562773 h 1648590"/>
                <a:gd name="connsiteX367" fmla="*/ 89747 w 6512821"/>
                <a:gd name="connsiteY367" fmla="*/ 483251 h 1648590"/>
                <a:gd name="connsiteX368" fmla="*/ 252893 w 6512821"/>
                <a:gd name="connsiteY368" fmla="*/ 556651 h 1648590"/>
                <a:gd name="connsiteX369" fmla="*/ 367063 w 6512821"/>
                <a:gd name="connsiteY369" fmla="*/ 478171 h 1648590"/>
                <a:gd name="connsiteX370" fmla="*/ 329353 w 6512821"/>
                <a:gd name="connsiteY370" fmla="*/ 426199 h 1648590"/>
                <a:gd name="connsiteX371" fmla="*/ 225344 w 6512821"/>
                <a:gd name="connsiteY371" fmla="*/ 394612 h 1648590"/>
                <a:gd name="connsiteX372" fmla="*/ 79522 w 6512821"/>
                <a:gd name="connsiteY372" fmla="*/ 335475 h 1648590"/>
                <a:gd name="connsiteX373" fmla="*/ 24488 w 6512821"/>
                <a:gd name="connsiteY373" fmla="*/ 207042 h 1648590"/>
                <a:gd name="connsiteX374" fmla="*/ 254912 w 6512821"/>
                <a:gd name="connsiteY374" fmla="*/ 16412 h 1648590"/>
                <a:gd name="connsiteX375" fmla="*/ 482274 w 6512821"/>
                <a:gd name="connsiteY375" fmla="*/ 115277 h 1648590"/>
                <a:gd name="connsiteX376" fmla="*/ 392528 w 6512821"/>
                <a:gd name="connsiteY376" fmla="*/ 202939 h 1648590"/>
                <a:gd name="connsiteX377" fmla="*/ 246706 w 6512821"/>
                <a:gd name="connsiteY377" fmla="*/ 137681 h 1648590"/>
                <a:gd name="connsiteX378" fmla="*/ 152921 w 6512821"/>
                <a:gd name="connsiteY378" fmla="*/ 199878 h 1648590"/>
                <a:gd name="connsiteX379" fmla="*/ 179428 w 6512821"/>
                <a:gd name="connsiteY379" fmla="*/ 243710 h 1648590"/>
                <a:gd name="connsiteX380" fmla="*/ 282396 w 6512821"/>
                <a:gd name="connsiteY380" fmla="*/ 277381 h 1648590"/>
                <a:gd name="connsiteX381" fmla="*/ 438378 w 6512821"/>
                <a:gd name="connsiteY381" fmla="*/ 341598 h 1648590"/>
                <a:gd name="connsiteX382" fmla="*/ 496472 w 6512821"/>
                <a:gd name="connsiteY382" fmla="*/ 475176 h 1648590"/>
                <a:gd name="connsiteX383" fmla="*/ 6100885 w 6512821"/>
                <a:gd name="connsiteY383" fmla="*/ 208996 h 1648590"/>
                <a:gd name="connsiteX384" fmla="*/ 6051778 w 6512821"/>
                <a:gd name="connsiteY384" fmla="*/ 329288 h 1648590"/>
                <a:gd name="connsiteX385" fmla="*/ 5982482 w 6512821"/>
                <a:gd name="connsiteY385" fmla="*/ 299720 h 1648590"/>
                <a:gd name="connsiteX386" fmla="*/ 5911232 w 6512821"/>
                <a:gd name="connsiteY386" fmla="*/ 405749 h 1648590"/>
                <a:gd name="connsiteX387" fmla="*/ 5911232 w 6512821"/>
                <a:gd name="connsiteY387" fmla="*/ 667759 h 1648590"/>
                <a:gd name="connsiteX388" fmla="*/ 5790940 w 6512821"/>
                <a:gd name="connsiteY388" fmla="*/ 667759 h 1648590"/>
                <a:gd name="connsiteX389" fmla="*/ 5790940 w 6512821"/>
                <a:gd name="connsiteY389" fmla="*/ 186527 h 1648590"/>
                <a:gd name="connsiteX390" fmla="*/ 5911232 w 6512821"/>
                <a:gd name="connsiteY390" fmla="*/ 186527 h 1648590"/>
                <a:gd name="connsiteX391" fmla="*/ 5911232 w 6512821"/>
                <a:gd name="connsiteY391" fmla="*/ 220198 h 1648590"/>
                <a:gd name="connsiteX392" fmla="*/ 6012181 w 6512821"/>
                <a:gd name="connsiteY392" fmla="*/ 176367 h 1648590"/>
                <a:gd name="connsiteX393" fmla="*/ 6100885 w 6512821"/>
                <a:gd name="connsiteY393" fmla="*/ 208996 h 1648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</a:cxnLst>
              <a:rect l="l" t="t" r="r" b="b"/>
              <a:pathLst>
                <a:path w="6512821" h="1648590">
                  <a:moveTo>
                    <a:pt x="5071143" y="1396740"/>
                  </a:moveTo>
                  <a:cubicBezTo>
                    <a:pt x="5071143" y="1412045"/>
                    <a:pt x="5070101" y="1431388"/>
                    <a:pt x="5069124" y="1438552"/>
                  </a:cubicBezTo>
                  <a:lnTo>
                    <a:pt x="4777545" y="1438552"/>
                  </a:lnTo>
                  <a:cubicBezTo>
                    <a:pt x="4782625" y="1505829"/>
                    <a:pt x="4828541" y="1533378"/>
                    <a:pt x="4880513" y="1533378"/>
                  </a:cubicBezTo>
                  <a:cubicBezTo>
                    <a:pt x="4911123" y="1533378"/>
                    <a:pt x="4939649" y="1524196"/>
                    <a:pt x="4964137" y="1499707"/>
                  </a:cubicBezTo>
                  <a:lnTo>
                    <a:pt x="5049781" y="1572065"/>
                  </a:lnTo>
                  <a:cubicBezTo>
                    <a:pt x="5004908" y="1628140"/>
                    <a:pt x="4936588" y="1648525"/>
                    <a:pt x="4875433" y="1648525"/>
                  </a:cubicBezTo>
                  <a:cubicBezTo>
                    <a:pt x="4734756" y="1648525"/>
                    <a:pt x="4654192" y="1540478"/>
                    <a:pt x="4654192" y="1398759"/>
                  </a:cubicBezTo>
                  <a:cubicBezTo>
                    <a:pt x="4654192" y="1244795"/>
                    <a:pt x="4749019" y="1146908"/>
                    <a:pt x="4867292" y="1146908"/>
                  </a:cubicBezTo>
                  <a:cubicBezTo>
                    <a:pt x="4993706" y="1146908"/>
                    <a:pt x="5071208" y="1258016"/>
                    <a:pt x="5071208" y="1396675"/>
                  </a:cubicBezTo>
                  <a:close/>
                  <a:moveTo>
                    <a:pt x="4779564" y="1344767"/>
                  </a:moveTo>
                  <a:lnTo>
                    <a:pt x="4950851" y="1344767"/>
                  </a:lnTo>
                  <a:cubicBezTo>
                    <a:pt x="4946748" y="1290711"/>
                    <a:pt x="4912100" y="1254044"/>
                    <a:pt x="4863189" y="1254044"/>
                  </a:cubicBezTo>
                  <a:cubicBezTo>
                    <a:pt x="4805094" y="1254044"/>
                    <a:pt x="4782625" y="1305039"/>
                    <a:pt x="4779564" y="1344767"/>
                  </a:cubicBezTo>
                  <a:close/>
                  <a:moveTo>
                    <a:pt x="6512756" y="1396740"/>
                  </a:moveTo>
                  <a:cubicBezTo>
                    <a:pt x="6512756" y="1412045"/>
                    <a:pt x="6511714" y="1431388"/>
                    <a:pt x="6510737" y="1438552"/>
                  </a:cubicBezTo>
                  <a:lnTo>
                    <a:pt x="6219158" y="1438552"/>
                  </a:lnTo>
                  <a:cubicBezTo>
                    <a:pt x="6224238" y="1505829"/>
                    <a:pt x="6270154" y="1533378"/>
                    <a:pt x="6322126" y="1533378"/>
                  </a:cubicBezTo>
                  <a:cubicBezTo>
                    <a:pt x="6352736" y="1533378"/>
                    <a:pt x="6381262" y="1524196"/>
                    <a:pt x="6405751" y="1499707"/>
                  </a:cubicBezTo>
                  <a:lnTo>
                    <a:pt x="6491394" y="1572065"/>
                  </a:lnTo>
                  <a:cubicBezTo>
                    <a:pt x="6446521" y="1628140"/>
                    <a:pt x="6378201" y="1648525"/>
                    <a:pt x="6317046" y="1648525"/>
                  </a:cubicBezTo>
                  <a:cubicBezTo>
                    <a:pt x="6176369" y="1648525"/>
                    <a:pt x="6095805" y="1540478"/>
                    <a:pt x="6095805" y="1398759"/>
                  </a:cubicBezTo>
                  <a:cubicBezTo>
                    <a:pt x="6095805" y="1244795"/>
                    <a:pt x="6190632" y="1146908"/>
                    <a:pt x="6308905" y="1146908"/>
                  </a:cubicBezTo>
                  <a:cubicBezTo>
                    <a:pt x="6435319" y="1146908"/>
                    <a:pt x="6512821" y="1258016"/>
                    <a:pt x="6512821" y="1396675"/>
                  </a:cubicBezTo>
                  <a:close/>
                  <a:moveTo>
                    <a:pt x="6221177" y="1344767"/>
                  </a:moveTo>
                  <a:lnTo>
                    <a:pt x="6392465" y="1344767"/>
                  </a:lnTo>
                  <a:cubicBezTo>
                    <a:pt x="6388361" y="1290711"/>
                    <a:pt x="6353713" y="1254044"/>
                    <a:pt x="6304802" y="1254044"/>
                  </a:cubicBezTo>
                  <a:cubicBezTo>
                    <a:pt x="6246708" y="1254044"/>
                    <a:pt x="6224238" y="1305039"/>
                    <a:pt x="6221177" y="1344767"/>
                  </a:cubicBezTo>
                  <a:close/>
                  <a:moveTo>
                    <a:pt x="5978509" y="1467143"/>
                  </a:moveTo>
                  <a:lnTo>
                    <a:pt x="6058031" y="1542561"/>
                  </a:lnTo>
                  <a:cubicBezTo>
                    <a:pt x="6017261" y="1594534"/>
                    <a:pt x="5961185" y="1648590"/>
                    <a:pt x="5866359" y="1648590"/>
                  </a:cubicBezTo>
                  <a:cubicBezTo>
                    <a:pt x="5734865" y="1648590"/>
                    <a:pt x="5637954" y="1543604"/>
                    <a:pt x="5637954" y="1398823"/>
                  </a:cubicBezTo>
                  <a:cubicBezTo>
                    <a:pt x="5637954" y="1266288"/>
                    <a:pt x="5718518" y="1146973"/>
                    <a:pt x="5868378" y="1146973"/>
                  </a:cubicBezTo>
                  <a:cubicBezTo>
                    <a:pt x="5954021" y="1146973"/>
                    <a:pt x="6013157" y="1185724"/>
                    <a:pt x="6056989" y="1250983"/>
                  </a:cubicBezTo>
                  <a:lnTo>
                    <a:pt x="5975448" y="1333565"/>
                  </a:lnTo>
                  <a:cubicBezTo>
                    <a:pt x="5946922" y="1295856"/>
                    <a:pt x="5916312" y="1266288"/>
                    <a:pt x="5867401" y="1266288"/>
                  </a:cubicBezTo>
                  <a:cubicBezTo>
                    <a:pt x="5801100" y="1266288"/>
                    <a:pt x="5766452" y="1322363"/>
                    <a:pt x="5766452" y="1396804"/>
                  </a:cubicBezTo>
                  <a:cubicBezTo>
                    <a:pt x="5766452" y="1466101"/>
                    <a:pt x="5797062" y="1528299"/>
                    <a:pt x="5868378" y="1528299"/>
                  </a:cubicBezTo>
                  <a:cubicBezTo>
                    <a:pt x="5912209" y="1528299"/>
                    <a:pt x="5948941" y="1504852"/>
                    <a:pt x="5978509" y="1467143"/>
                  </a:cubicBezTo>
                  <a:close/>
                  <a:moveTo>
                    <a:pt x="4869246" y="667825"/>
                  </a:moveTo>
                  <a:lnTo>
                    <a:pt x="4750973" y="667825"/>
                  </a:lnTo>
                  <a:lnTo>
                    <a:pt x="4750973" y="634153"/>
                  </a:lnTo>
                  <a:cubicBezTo>
                    <a:pt x="4724466" y="663721"/>
                    <a:pt x="4681676" y="677984"/>
                    <a:pt x="4638822" y="677984"/>
                  </a:cubicBezTo>
                  <a:cubicBezTo>
                    <a:pt x="4514427" y="677984"/>
                    <a:pt x="4467535" y="588238"/>
                    <a:pt x="4467535" y="458763"/>
                  </a:cubicBezTo>
                  <a:lnTo>
                    <a:pt x="4467535" y="186527"/>
                  </a:lnTo>
                  <a:lnTo>
                    <a:pt x="4587827" y="186527"/>
                  </a:lnTo>
                  <a:lnTo>
                    <a:pt x="4587827" y="448538"/>
                  </a:lnTo>
                  <a:cubicBezTo>
                    <a:pt x="4587827" y="513797"/>
                    <a:pt x="4601113" y="562708"/>
                    <a:pt x="4668390" y="562708"/>
                  </a:cubicBezTo>
                  <a:cubicBezTo>
                    <a:pt x="4735668" y="562708"/>
                    <a:pt x="4748954" y="511712"/>
                    <a:pt x="4748954" y="452576"/>
                  </a:cubicBezTo>
                  <a:lnTo>
                    <a:pt x="4748954" y="186462"/>
                  </a:lnTo>
                  <a:lnTo>
                    <a:pt x="4869246" y="186462"/>
                  </a:lnTo>
                  <a:lnTo>
                    <a:pt x="4869246" y="667695"/>
                  </a:lnTo>
                  <a:close/>
                  <a:moveTo>
                    <a:pt x="5244449" y="527083"/>
                  </a:moveTo>
                  <a:lnTo>
                    <a:pt x="5227125" y="649458"/>
                  </a:lnTo>
                  <a:cubicBezTo>
                    <a:pt x="5202637" y="668802"/>
                    <a:pt x="5157829" y="677984"/>
                    <a:pt x="5128261" y="677984"/>
                  </a:cubicBezTo>
                  <a:cubicBezTo>
                    <a:pt x="5054861" y="677984"/>
                    <a:pt x="4997744" y="622951"/>
                    <a:pt x="4997744" y="535224"/>
                  </a:cubicBezTo>
                  <a:lnTo>
                    <a:pt x="4997744" y="301739"/>
                  </a:lnTo>
                  <a:lnTo>
                    <a:pt x="4928447" y="301739"/>
                  </a:lnTo>
                  <a:lnTo>
                    <a:pt x="4928447" y="186527"/>
                  </a:lnTo>
                  <a:lnTo>
                    <a:pt x="4997744" y="186527"/>
                  </a:lnTo>
                  <a:lnTo>
                    <a:pt x="4997744" y="61155"/>
                  </a:lnTo>
                  <a:lnTo>
                    <a:pt x="5118035" y="0"/>
                  </a:lnTo>
                  <a:lnTo>
                    <a:pt x="5118035" y="186592"/>
                  </a:lnTo>
                  <a:lnTo>
                    <a:pt x="5232205" y="186592"/>
                  </a:lnTo>
                  <a:lnTo>
                    <a:pt x="5232205" y="301804"/>
                  </a:lnTo>
                  <a:lnTo>
                    <a:pt x="5118035" y="301804"/>
                  </a:lnTo>
                  <a:lnTo>
                    <a:pt x="5118035" y="503701"/>
                  </a:lnTo>
                  <a:cubicBezTo>
                    <a:pt x="5118035" y="545514"/>
                    <a:pt x="5135360" y="560819"/>
                    <a:pt x="5164928" y="560819"/>
                  </a:cubicBezTo>
                  <a:cubicBezTo>
                    <a:pt x="5194496" y="560819"/>
                    <a:pt x="5225106" y="545514"/>
                    <a:pt x="5244449" y="527148"/>
                  </a:cubicBezTo>
                  <a:close/>
                  <a:moveTo>
                    <a:pt x="3417407" y="667825"/>
                  </a:moveTo>
                  <a:lnTo>
                    <a:pt x="3297116" y="667825"/>
                  </a:lnTo>
                  <a:lnTo>
                    <a:pt x="3297116" y="405814"/>
                  </a:lnTo>
                  <a:cubicBezTo>
                    <a:pt x="3297116" y="340555"/>
                    <a:pt x="3282853" y="292621"/>
                    <a:pt x="3215575" y="292621"/>
                  </a:cubicBezTo>
                  <a:cubicBezTo>
                    <a:pt x="3148298" y="292621"/>
                    <a:pt x="3132993" y="336452"/>
                    <a:pt x="3132993" y="402753"/>
                  </a:cubicBezTo>
                  <a:lnTo>
                    <a:pt x="3132993" y="667825"/>
                  </a:lnTo>
                  <a:lnTo>
                    <a:pt x="3012701" y="667825"/>
                  </a:lnTo>
                  <a:lnTo>
                    <a:pt x="3012701" y="61221"/>
                  </a:lnTo>
                  <a:lnTo>
                    <a:pt x="3132993" y="65"/>
                  </a:lnTo>
                  <a:lnTo>
                    <a:pt x="3132993" y="220264"/>
                  </a:lnTo>
                  <a:cubicBezTo>
                    <a:pt x="3159500" y="193756"/>
                    <a:pt x="3192129" y="176432"/>
                    <a:pt x="3246186" y="176432"/>
                  </a:cubicBezTo>
                  <a:cubicBezTo>
                    <a:pt x="3373641" y="176432"/>
                    <a:pt x="3417473" y="274320"/>
                    <a:pt x="3417473" y="396631"/>
                  </a:cubicBezTo>
                  <a:lnTo>
                    <a:pt x="3417473" y="667825"/>
                  </a:lnTo>
                  <a:close/>
                  <a:moveTo>
                    <a:pt x="5564554" y="1638365"/>
                  </a:moveTo>
                  <a:lnTo>
                    <a:pt x="5440160" y="1638365"/>
                  </a:lnTo>
                  <a:lnTo>
                    <a:pt x="5440160" y="1376355"/>
                  </a:lnTo>
                  <a:cubicBezTo>
                    <a:pt x="5440160" y="1309077"/>
                    <a:pt x="5424855" y="1264204"/>
                    <a:pt x="5357577" y="1264204"/>
                  </a:cubicBezTo>
                  <a:cubicBezTo>
                    <a:pt x="5294337" y="1264204"/>
                    <a:pt x="5273952" y="1301913"/>
                    <a:pt x="5273952" y="1373293"/>
                  </a:cubicBezTo>
                  <a:lnTo>
                    <a:pt x="5273952" y="1638365"/>
                  </a:lnTo>
                  <a:lnTo>
                    <a:pt x="5149558" y="1638365"/>
                  </a:lnTo>
                  <a:lnTo>
                    <a:pt x="5149558" y="1157133"/>
                  </a:lnTo>
                  <a:lnTo>
                    <a:pt x="5273952" y="1157133"/>
                  </a:lnTo>
                  <a:lnTo>
                    <a:pt x="5273952" y="1189762"/>
                  </a:lnTo>
                  <a:cubicBezTo>
                    <a:pt x="5299418" y="1164297"/>
                    <a:pt x="5337192" y="1146973"/>
                    <a:pt x="5391183" y="1146973"/>
                  </a:cubicBezTo>
                  <a:cubicBezTo>
                    <a:pt x="5521700" y="1146973"/>
                    <a:pt x="5564490" y="1247922"/>
                    <a:pt x="5564490" y="1366195"/>
                  </a:cubicBezTo>
                  <a:lnTo>
                    <a:pt x="5564490" y="1638430"/>
                  </a:lnTo>
                  <a:close/>
                  <a:moveTo>
                    <a:pt x="4008772" y="1115386"/>
                  </a:moveTo>
                  <a:cubicBezTo>
                    <a:pt x="4048565" y="1115386"/>
                    <a:pt x="4080152" y="1083798"/>
                    <a:pt x="4080152" y="1044005"/>
                  </a:cubicBezTo>
                  <a:cubicBezTo>
                    <a:pt x="4080152" y="1004212"/>
                    <a:pt x="4048565" y="972624"/>
                    <a:pt x="4008772" y="972624"/>
                  </a:cubicBezTo>
                  <a:cubicBezTo>
                    <a:pt x="3968978" y="972624"/>
                    <a:pt x="3937391" y="1004212"/>
                    <a:pt x="3937391" y="1044005"/>
                  </a:cubicBezTo>
                  <a:cubicBezTo>
                    <a:pt x="3937391" y="1083798"/>
                    <a:pt x="3968978" y="1115386"/>
                    <a:pt x="4008772" y="1115386"/>
                  </a:cubicBezTo>
                  <a:close/>
                  <a:moveTo>
                    <a:pt x="829864" y="1115386"/>
                  </a:moveTo>
                  <a:cubicBezTo>
                    <a:pt x="869657" y="1115386"/>
                    <a:pt x="901244" y="1083798"/>
                    <a:pt x="901244" y="1044005"/>
                  </a:cubicBezTo>
                  <a:cubicBezTo>
                    <a:pt x="901244" y="1004212"/>
                    <a:pt x="869657" y="972624"/>
                    <a:pt x="829864" y="972624"/>
                  </a:cubicBezTo>
                  <a:cubicBezTo>
                    <a:pt x="790070" y="972624"/>
                    <a:pt x="758483" y="1004212"/>
                    <a:pt x="758483" y="1044005"/>
                  </a:cubicBezTo>
                  <a:cubicBezTo>
                    <a:pt x="758483" y="1083798"/>
                    <a:pt x="790070" y="1115386"/>
                    <a:pt x="829864" y="1115386"/>
                  </a:cubicBezTo>
                  <a:close/>
                  <a:moveTo>
                    <a:pt x="6512756" y="426134"/>
                  </a:moveTo>
                  <a:cubicBezTo>
                    <a:pt x="6512756" y="441439"/>
                    <a:pt x="6511714" y="460782"/>
                    <a:pt x="6510737" y="467946"/>
                  </a:cubicBezTo>
                  <a:lnTo>
                    <a:pt x="6219158" y="467946"/>
                  </a:lnTo>
                  <a:cubicBezTo>
                    <a:pt x="6224238" y="535224"/>
                    <a:pt x="6270154" y="562773"/>
                    <a:pt x="6322126" y="562773"/>
                  </a:cubicBezTo>
                  <a:cubicBezTo>
                    <a:pt x="6352736" y="562773"/>
                    <a:pt x="6381262" y="553590"/>
                    <a:pt x="6405751" y="529102"/>
                  </a:cubicBezTo>
                  <a:lnTo>
                    <a:pt x="6491394" y="601459"/>
                  </a:lnTo>
                  <a:cubicBezTo>
                    <a:pt x="6446521" y="657535"/>
                    <a:pt x="6378201" y="677919"/>
                    <a:pt x="6317046" y="677919"/>
                  </a:cubicBezTo>
                  <a:cubicBezTo>
                    <a:pt x="6176369" y="677919"/>
                    <a:pt x="6095805" y="569872"/>
                    <a:pt x="6095805" y="428153"/>
                  </a:cubicBezTo>
                  <a:cubicBezTo>
                    <a:pt x="6095805" y="274190"/>
                    <a:pt x="6190632" y="176302"/>
                    <a:pt x="6308905" y="176302"/>
                  </a:cubicBezTo>
                  <a:cubicBezTo>
                    <a:pt x="6435319" y="176302"/>
                    <a:pt x="6512821" y="287411"/>
                    <a:pt x="6512821" y="426069"/>
                  </a:cubicBezTo>
                  <a:close/>
                  <a:moveTo>
                    <a:pt x="6221177" y="374162"/>
                  </a:moveTo>
                  <a:lnTo>
                    <a:pt x="6392465" y="374162"/>
                  </a:lnTo>
                  <a:cubicBezTo>
                    <a:pt x="6388361" y="320105"/>
                    <a:pt x="6353713" y="283438"/>
                    <a:pt x="6304802" y="283438"/>
                  </a:cubicBezTo>
                  <a:cubicBezTo>
                    <a:pt x="6246708" y="283438"/>
                    <a:pt x="6224238" y="334433"/>
                    <a:pt x="6221177" y="374162"/>
                  </a:cubicBezTo>
                  <a:close/>
                  <a:moveTo>
                    <a:pt x="5702235" y="667825"/>
                  </a:moveTo>
                  <a:lnTo>
                    <a:pt x="5583963" y="667825"/>
                  </a:lnTo>
                  <a:lnTo>
                    <a:pt x="5583963" y="634153"/>
                  </a:lnTo>
                  <a:cubicBezTo>
                    <a:pt x="5557456" y="663721"/>
                    <a:pt x="5514666" y="677984"/>
                    <a:pt x="5471812" y="677984"/>
                  </a:cubicBezTo>
                  <a:cubicBezTo>
                    <a:pt x="5347417" y="677984"/>
                    <a:pt x="5300525" y="588238"/>
                    <a:pt x="5300525" y="458763"/>
                  </a:cubicBezTo>
                  <a:lnTo>
                    <a:pt x="5300525" y="186527"/>
                  </a:lnTo>
                  <a:lnTo>
                    <a:pt x="5420817" y="186527"/>
                  </a:lnTo>
                  <a:lnTo>
                    <a:pt x="5420817" y="448538"/>
                  </a:lnTo>
                  <a:cubicBezTo>
                    <a:pt x="5420817" y="513797"/>
                    <a:pt x="5434103" y="562708"/>
                    <a:pt x="5501380" y="562708"/>
                  </a:cubicBezTo>
                  <a:cubicBezTo>
                    <a:pt x="5568657" y="562708"/>
                    <a:pt x="5581944" y="511712"/>
                    <a:pt x="5581944" y="452576"/>
                  </a:cubicBezTo>
                  <a:lnTo>
                    <a:pt x="5581944" y="186462"/>
                  </a:lnTo>
                  <a:lnTo>
                    <a:pt x="5702235" y="186462"/>
                  </a:lnTo>
                  <a:lnTo>
                    <a:pt x="5702235" y="667695"/>
                  </a:lnTo>
                  <a:close/>
                  <a:moveTo>
                    <a:pt x="3895579" y="426134"/>
                  </a:moveTo>
                  <a:cubicBezTo>
                    <a:pt x="3895579" y="441439"/>
                    <a:pt x="3894537" y="460782"/>
                    <a:pt x="3893560" y="467946"/>
                  </a:cubicBezTo>
                  <a:lnTo>
                    <a:pt x="3601981" y="467946"/>
                  </a:lnTo>
                  <a:cubicBezTo>
                    <a:pt x="3607061" y="535224"/>
                    <a:pt x="3652976" y="562773"/>
                    <a:pt x="3704949" y="562773"/>
                  </a:cubicBezTo>
                  <a:cubicBezTo>
                    <a:pt x="3735559" y="562773"/>
                    <a:pt x="3764085" y="553590"/>
                    <a:pt x="3788573" y="529102"/>
                  </a:cubicBezTo>
                  <a:lnTo>
                    <a:pt x="3874217" y="601459"/>
                  </a:lnTo>
                  <a:cubicBezTo>
                    <a:pt x="3829343" y="657535"/>
                    <a:pt x="3761024" y="677919"/>
                    <a:pt x="3699868" y="677919"/>
                  </a:cubicBezTo>
                  <a:cubicBezTo>
                    <a:pt x="3559192" y="677919"/>
                    <a:pt x="3478628" y="569872"/>
                    <a:pt x="3478628" y="428153"/>
                  </a:cubicBezTo>
                  <a:cubicBezTo>
                    <a:pt x="3478628" y="274190"/>
                    <a:pt x="3573455" y="176302"/>
                    <a:pt x="3691727" y="176302"/>
                  </a:cubicBezTo>
                  <a:cubicBezTo>
                    <a:pt x="3818141" y="176302"/>
                    <a:pt x="3895644" y="287411"/>
                    <a:pt x="3895644" y="426069"/>
                  </a:cubicBezTo>
                  <a:close/>
                  <a:moveTo>
                    <a:pt x="3604000" y="374162"/>
                  </a:moveTo>
                  <a:lnTo>
                    <a:pt x="3775287" y="374162"/>
                  </a:lnTo>
                  <a:cubicBezTo>
                    <a:pt x="3771184" y="320105"/>
                    <a:pt x="3736536" y="283438"/>
                    <a:pt x="3687624" y="283438"/>
                  </a:cubicBezTo>
                  <a:cubicBezTo>
                    <a:pt x="3629530" y="283438"/>
                    <a:pt x="3607061" y="334433"/>
                    <a:pt x="3604000" y="374162"/>
                  </a:cubicBezTo>
                  <a:close/>
                  <a:moveTo>
                    <a:pt x="4579686" y="1638365"/>
                  </a:moveTo>
                  <a:lnTo>
                    <a:pt x="4455291" y="1638365"/>
                  </a:lnTo>
                  <a:lnTo>
                    <a:pt x="4455291" y="1606778"/>
                  </a:lnTo>
                  <a:cubicBezTo>
                    <a:pt x="4414521" y="1636346"/>
                    <a:pt x="4390032" y="1648590"/>
                    <a:pt x="4346201" y="1648590"/>
                  </a:cubicBezTo>
                  <a:cubicBezTo>
                    <a:pt x="4207543" y="1648590"/>
                    <a:pt x="4148406" y="1528299"/>
                    <a:pt x="4148406" y="1393678"/>
                  </a:cubicBezTo>
                  <a:cubicBezTo>
                    <a:pt x="4148406" y="1247856"/>
                    <a:pt x="4217703" y="1146973"/>
                    <a:pt x="4343140" y="1146973"/>
                  </a:cubicBezTo>
                  <a:cubicBezTo>
                    <a:pt x="4384952" y="1146973"/>
                    <a:pt x="4424681" y="1158175"/>
                    <a:pt x="4455291" y="1185724"/>
                  </a:cubicBezTo>
                  <a:lnTo>
                    <a:pt x="4455291" y="1031761"/>
                  </a:lnTo>
                  <a:lnTo>
                    <a:pt x="4579686" y="969564"/>
                  </a:lnTo>
                  <a:lnTo>
                    <a:pt x="4579686" y="1638365"/>
                  </a:lnTo>
                  <a:close/>
                  <a:moveTo>
                    <a:pt x="4455356" y="1489547"/>
                  </a:moveTo>
                  <a:lnTo>
                    <a:pt x="4455356" y="1306016"/>
                  </a:lnTo>
                  <a:cubicBezTo>
                    <a:pt x="4428849" y="1277490"/>
                    <a:pt x="4403384" y="1264204"/>
                    <a:pt x="4368670" y="1264204"/>
                  </a:cubicBezTo>
                  <a:cubicBezTo>
                    <a:pt x="4296313" y="1264204"/>
                    <a:pt x="4278924" y="1321321"/>
                    <a:pt x="4278924" y="1389575"/>
                  </a:cubicBezTo>
                  <a:cubicBezTo>
                    <a:pt x="4278924" y="1467078"/>
                    <a:pt x="4301328" y="1531294"/>
                    <a:pt x="4371731" y="1531294"/>
                  </a:cubicBezTo>
                  <a:cubicBezTo>
                    <a:pt x="4406380" y="1531294"/>
                    <a:pt x="4430868" y="1515989"/>
                    <a:pt x="4455356" y="1489482"/>
                  </a:cubicBezTo>
                  <a:close/>
                  <a:moveTo>
                    <a:pt x="3945532" y="1157198"/>
                  </a:moveTo>
                  <a:lnTo>
                    <a:pt x="3945532" y="1638430"/>
                  </a:lnTo>
                  <a:lnTo>
                    <a:pt x="4069927" y="1638430"/>
                  </a:lnTo>
                  <a:lnTo>
                    <a:pt x="4069927" y="1157198"/>
                  </a:lnTo>
                  <a:lnTo>
                    <a:pt x="3945532" y="1157198"/>
                  </a:lnTo>
                  <a:close/>
                  <a:moveTo>
                    <a:pt x="3873175" y="985911"/>
                  </a:moveTo>
                  <a:lnTo>
                    <a:pt x="3873175" y="1085817"/>
                  </a:lnTo>
                  <a:cubicBezTo>
                    <a:pt x="3854809" y="1079695"/>
                    <a:pt x="3830386" y="1076634"/>
                    <a:pt x="3812019" y="1076634"/>
                  </a:cubicBezTo>
                  <a:cubicBezTo>
                    <a:pt x="3776329" y="1076634"/>
                    <a:pt x="3760047" y="1087836"/>
                    <a:pt x="3760047" y="1118447"/>
                  </a:cubicBezTo>
                  <a:lnTo>
                    <a:pt x="3760047" y="1157198"/>
                  </a:lnTo>
                  <a:lnTo>
                    <a:pt x="3863015" y="1157198"/>
                  </a:lnTo>
                  <a:lnTo>
                    <a:pt x="3863015" y="1273452"/>
                  </a:lnTo>
                  <a:lnTo>
                    <a:pt x="3760047" y="1273452"/>
                  </a:lnTo>
                  <a:lnTo>
                    <a:pt x="3760047" y="1638430"/>
                  </a:lnTo>
                  <a:lnTo>
                    <a:pt x="3635652" y="1638430"/>
                  </a:lnTo>
                  <a:lnTo>
                    <a:pt x="3635652" y="1273452"/>
                  </a:lnTo>
                  <a:lnTo>
                    <a:pt x="3568375" y="1273452"/>
                  </a:lnTo>
                  <a:lnTo>
                    <a:pt x="3568375" y="1157198"/>
                  </a:lnTo>
                  <a:lnTo>
                    <a:pt x="3635652" y="1157198"/>
                  </a:lnTo>
                  <a:lnTo>
                    <a:pt x="3635652" y="1099104"/>
                  </a:lnTo>
                  <a:cubicBezTo>
                    <a:pt x="3635652" y="1009357"/>
                    <a:pt x="3691727" y="972690"/>
                    <a:pt x="3782451" y="972690"/>
                  </a:cubicBezTo>
                  <a:cubicBezTo>
                    <a:pt x="3808958" y="972690"/>
                    <a:pt x="3847710" y="975751"/>
                    <a:pt x="3873175" y="985976"/>
                  </a:cubicBezTo>
                  <a:close/>
                  <a:moveTo>
                    <a:pt x="3507154" y="1638365"/>
                  </a:moveTo>
                  <a:lnTo>
                    <a:pt x="3382759" y="1638365"/>
                  </a:lnTo>
                  <a:lnTo>
                    <a:pt x="3382759" y="1376355"/>
                  </a:lnTo>
                  <a:cubicBezTo>
                    <a:pt x="3382759" y="1309077"/>
                    <a:pt x="3367454" y="1264204"/>
                    <a:pt x="3300177" y="1264204"/>
                  </a:cubicBezTo>
                  <a:cubicBezTo>
                    <a:pt x="3236937" y="1264204"/>
                    <a:pt x="3216552" y="1301913"/>
                    <a:pt x="3216552" y="1373293"/>
                  </a:cubicBezTo>
                  <a:lnTo>
                    <a:pt x="3216552" y="1638365"/>
                  </a:lnTo>
                  <a:lnTo>
                    <a:pt x="3092157" y="1638365"/>
                  </a:lnTo>
                  <a:lnTo>
                    <a:pt x="3092157" y="1157133"/>
                  </a:lnTo>
                  <a:lnTo>
                    <a:pt x="3216552" y="1157133"/>
                  </a:lnTo>
                  <a:lnTo>
                    <a:pt x="3216552" y="1189762"/>
                  </a:lnTo>
                  <a:cubicBezTo>
                    <a:pt x="3242017" y="1164297"/>
                    <a:pt x="3279792" y="1146973"/>
                    <a:pt x="3333783" y="1146973"/>
                  </a:cubicBezTo>
                  <a:cubicBezTo>
                    <a:pt x="3464300" y="1146973"/>
                    <a:pt x="3507089" y="1247922"/>
                    <a:pt x="3507089" y="1366195"/>
                  </a:cubicBezTo>
                  <a:lnTo>
                    <a:pt x="3507089" y="1638430"/>
                  </a:lnTo>
                  <a:close/>
                  <a:moveTo>
                    <a:pt x="2792437" y="1146973"/>
                  </a:moveTo>
                  <a:cubicBezTo>
                    <a:pt x="2653779" y="1146973"/>
                    <a:pt x="2567094" y="1256063"/>
                    <a:pt x="2567094" y="1397782"/>
                  </a:cubicBezTo>
                  <a:cubicBezTo>
                    <a:pt x="2567094" y="1546665"/>
                    <a:pt x="2661920" y="1648590"/>
                    <a:pt x="2792437" y="1648590"/>
                  </a:cubicBezTo>
                  <a:cubicBezTo>
                    <a:pt x="2922954" y="1648590"/>
                    <a:pt x="3017781" y="1546665"/>
                    <a:pt x="3017781" y="1397782"/>
                  </a:cubicBezTo>
                  <a:cubicBezTo>
                    <a:pt x="3017781" y="1248899"/>
                    <a:pt x="2931095" y="1146973"/>
                    <a:pt x="2792437" y="1146973"/>
                  </a:cubicBezTo>
                  <a:close/>
                  <a:moveTo>
                    <a:pt x="2792437" y="1528299"/>
                  </a:moveTo>
                  <a:cubicBezTo>
                    <a:pt x="2712916" y="1528299"/>
                    <a:pt x="2695592" y="1451838"/>
                    <a:pt x="2695592" y="1397782"/>
                  </a:cubicBezTo>
                  <a:cubicBezTo>
                    <a:pt x="2695592" y="1323340"/>
                    <a:pt x="2726202" y="1266288"/>
                    <a:pt x="2792437" y="1266288"/>
                  </a:cubicBezTo>
                  <a:cubicBezTo>
                    <a:pt x="2858673" y="1266288"/>
                    <a:pt x="2889283" y="1323405"/>
                    <a:pt x="2889283" y="1397782"/>
                  </a:cubicBezTo>
                  <a:cubicBezTo>
                    <a:pt x="2889283" y="1451838"/>
                    <a:pt x="2871959" y="1528299"/>
                    <a:pt x="2792437" y="1528299"/>
                  </a:cubicBezTo>
                  <a:close/>
                  <a:moveTo>
                    <a:pt x="2446802" y="1467143"/>
                  </a:moveTo>
                  <a:lnTo>
                    <a:pt x="2526323" y="1542561"/>
                  </a:lnTo>
                  <a:cubicBezTo>
                    <a:pt x="2485553" y="1594534"/>
                    <a:pt x="2429478" y="1648590"/>
                    <a:pt x="2334651" y="1648590"/>
                  </a:cubicBezTo>
                  <a:cubicBezTo>
                    <a:pt x="2203157" y="1648590"/>
                    <a:pt x="2106246" y="1543604"/>
                    <a:pt x="2106246" y="1398823"/>
                  </a:cubicBezTo>
                  <a:cubicBezTo>
                    <a:pt x="2106246" y="1266288"/>
                    <a:pt x="2186810" y="1146973"/>
                    <a:pt x="2336670" y="1146973"/>
                  </a:cubicBezTo>
                  <a:cubicBezTo>
                    <a:pt x="2422314" y="1146973"/>
                    <a:pt x="2481450" y="1185724"/>
                    <a:pt x="2525281" y="1250983"/>
                  </a:cubicBezTo>
                  <a:lnTo>
                    <a:pt x="2443741" y="1333565"/>
                  </a:lnTo>
                  <a:cubicBezTo>
                    <a:pt x="2415215" y="1295856"/>
                    <a:pt x="2384604" y="1266288"/>
                    <a:pt x="2335693" y="1266288"/>
                  </a:cubicBezTo>
                  <a:cubicBezTo>
                    <a:pt x="2269393" y="1266288"/>
                    <a:pt x="2234744" y="1322363"/>
                    <a:pt x="2234744" y="1396804"/>
                  </a:cubicBezTo>
                  <a:cubicBezTo>
                    <a:pt x="2234744" y="1466101"/>
                    <a:pt x="2265355" y="1528299"/>
                    <a:pt x="2336670" y="1528299"/>
                  </a:cubicBezTo>
                  <a:cubicBezTo>
                    <a:pt x="2380501" y="1528299"/>
                    <a:pt x="2417234" y="1504852"/>
                    <a:pt x="2446802" y="1467143"/>
                  </a:cubicBezTo>
                  <a:close/>
                  <a:moveTo>
                    <a:pt x="1803530" y="1638365"/>
                  </a:moveTo>
                  <a:lnTo>
                    <a:pt x="1679135" y="1638365"/>
                  </a:lnTo>
                  <a:lnTo>
                    <a:pt x="1679135" y="1376355"/>
                  </a:lnTo>
                  <a:cubicBezTo>
                    <a:pt x="1679135" y="1309077"/>
                    <a:pt x="1663830" y="1264204"/>
                    <a:pt x="1596553" y="1264204"/>
                  </a:cubicBezTo>
                  <a:cubicBezTo>
                    <a:pt x="1533314" y="1264204"/>
                    <a:pt x="1511951" y="1301913"/>
                    <a:pt x="1511951" y="1373293"/>
                  </a:cubicBezTo>
                  <a:lnTo>
                    <a:pt x="1511951" y="1638365"/>
                  </a:lnTo>
                  <a:lnTo>
                    <a:pt x="1387557" y="1638365"/>
                  </a:lnTo>
                  <a:lnTo>
                    <a:pt x="1387557" y="1031761"/>
                  </a:lnTo>
                  <a:lnTo>
                    <a:pt x="1511951" y="969564"/>
                  </a:lnTo>
                  <a:lnTo>
                    <a:pt x="1511951" y="1189762"/>
                  </a:lnTo>
                  <a:cubicBezTo>
                    <a:pt x="1535398" y="1161236"/>
                    <a:pt x="1584309" y="1146973"/>
                    <a:pt x="1632243" y="1146973"/>
                  </a:cubicBezTo>
                  <a:cubicBezTo>
                    <a:pt x="1758657" y="1146973"/>
                    <a:pt x="1803530" y="1246880"/>
                    <a:pt x="1803530" y="1366195"/>
                  </a:cubicBezTo>
                  <a:lnTo>
                    <a:pt x="1803530" y="1638430"/>
                  </a:lnTo>
                  <a:close/>
                  <a:moveTo>
                    <a:pt x="1311031" y="1493650"/>
                  </a:moveTo>
                  <a:lnTo>
                    <a:pt x="1292665" y="1619022"/>
                  </a:lnTo>
                  <a:cubicBezTo>
                    <a:pt x="1267200" y="1639407"/>
                    <a:pt x="1205979" y="1648590"/>
                    <a:pt x="1173350" y="1648590"/>
                  </a:cubicBezTo>
                  <a:cubicBezTo>
                    <a:pt x="1097931" y="1648590"/>
                    <a:pt x="1043875" y="1588412"/>
                    <a:pt x="1043875" y="1504852"/>
                  </a:cubicBezTo>
                  <a:lnTo>
                    <a:pt x="1043875" y="1273387"/>
                  </a:lnTo>
                  <a:lnTo>
                    <a:pt x="960250" y="1273387"/>
                  </a:lnTo>
                  <a:lnTo>
                    <a:pt x="960250" y="1157133"/>
                  </a:lnTo>
                  <a:lnTo>
                    <a:pt x="1043875" y="1157133"/>
                  </a:lnTo>
                  <a:lnTo>
                    <a:pt x="1043875" y="1031761"/>
                  </a:lnTo>
                  <a:lnTo>
                    <a:pt x="1168270" y="969564"/>
                  </a:lnTo>
                  <a:lnTo>
                    <a:pt x="1168270" y="1157133"/>
                  </a:lnTo>
                  <a:lnTo>
                    <a:pt x="1308947" y="1157133"/>
                  </a:lnTo>
                  <a:lnTo>
                    <a:pt x="1308947" y="1273387"/>
                  </a:lnTo>
                  <a:lnTo>
                    <a:pt x="1168270" y="1273387"/>
                  </a:lnTo>
                  <a:lnTo>
                    <a:pt x="1168270" y="1471181"/>
                  </a:lnTo>
                  <a:cubicBezTo>
                    <a:pt x="1168270" y="1515012"/>
                    <a:pt x="1184552" y="1529275"/>
                    <a:pt x="1214120" y="1529275"/>
                  </a:cubicBezTo>
                  <a:cubicBezTo>
                    <a:pt x="1243688" y="1529275"/>
                    <a:pt x="1289539" y="1513970"/>
                    <a:pt x="1310966" y="1493585"/>
                  </a:cubicBezTo>
                  <a:close/>
                  <a:moveTo>
                    <a:pt x="767666" y="1157198"/>
                  </a:moveTo>
                  <a:lnTo>
                    <a:pt x="767666" y="1638430"/>
                  </a:lnTo>
                  <a:lnTo>
                    <a:pt x="892061" y="1638430"/>
                  </a:lnTo>
                  <a:lnTo>
                    <a:pt x="892061" y="1157198"/>
                  </a:lnTo>
                  <a:lnTo>
                    <a:pt x="767666" y="1157198"/>
                  </a:lnTo>
                  <a:close/>
                  <a:moveTo>
                    <a:pt x="702408" y="1157198"/>
                  </a:moveTo>
                  <a:lnTo>
                    <a:pt x="550529" y="1638430"/>
                  </a:lnTo>
                  <a:lnTo>
                    <a:pt x="436359" y="1638430"/>
                  </a:lnTo>
                  <a:lnTo>
                    <a:pt x="354819" y="1345809"/>
                  </a:lnTo>
                  <a:lnTo>
                    <a:pt x="272236" y="1638430"/>
                  </a:lnTo>
                  <a:lnTo>
                    <a:pt x="158066" y="1638430"/>
                  </a:lnTo>
                  <a:lnTo>
                    <a:pt x="7099" y="1157198"/>
                  </a:lnTo>
                  <a:lnTo>
                    <a:pt x="145757" y="1157198"/>
                  </a:lnTo>
                  <a:lnTo>
                    <a:pt x="218114" y="1436533"/>
                  </a:lnTo>
                  <a:lnTo>
                    <a:pt x="299655" y="1157198"/>
                  </a:lnTo>
                  <a:lnTo>
                    <a:pt x="412848" y="1157198"/>
                  </a:lnTo>
                  <a:lnTo>
                    <a:pt x="494388" y="1436533"/>
                  </a:lnTo>
                  <a:lnTo>
                    <a:pt x="567788" y="1157198"/>
                  </a:lnTo>
                  <a:lnTo>
                    <a:pt x="702343" y="1157198"/>
                  </a:lnTo>
                  <a:close/>
                  <a:moveTo>
                    <a:pt x="4436990" y="16282"/>
                  </a:moveTo>
                  <a:lnTo>
                    <a:pt x="4436990" y="115147"/>
                  </a:lnTo>
                  <a:cubicBezTo>
                    <a:pt x="4409441" y="107983"/>
                    <a:pt x="4391139" y="104921"/>
                    <a:pt x="4374792" y="104921"/>
                  </a:cubicBezTo>
                  <a:cubicBezTo>
                    <a:pt x="4332003" y="104921"/>
                    <a:pt x="4322820" y="120227"/>
                    <a:pt x="4322820" y="144715"/>
                  </a:cubicBezTo>
                  <a:lnTo>
                    <a:pt x="4322820" y="186527"/>
                  </a:lnTo>
                  <a:lnTo>
                    <a:pt x="4404361" y="186527"/>
                  </a:lnTo>
                  <a:lnTo>
                    <a:pt x="4404361" y="302781"/>
                  </a:lnTo>
                  <a:lnTo>
                    <a:pt x="4322820" y="302781"/>
                  </a:lnTo>
                  <a:lnTo>
                    <a:pt x="4322820" y="667759"/>
                  </a:lnTo>
                  <a:lnTo>
                    <a:pt x="4202528" y="667759"/>
                  </a:lnTo>
                  <a:lnTo>
                    <a:pt x="4202528" y="302781"/>
                  </a:lnTo>
                  <a:lnTo>
                    <a:pt x="4143392" y="302781"/>
                  </a:lnTo>
                  <a:lnTo>
                    <a:pt x="4143392" y="186527"/>
                  </a:lnTo>
                  <a:lnTo>
                    <a:pt x="4202528" y="186527"/>
                  </a:lnTo>
                  <a:lnTo>
                    <a:pt x="4202528" y="128433"/>
                  </a:lnTo>
                  <a:cubicBezTo>
                    <a:pt x="4202528" y="44808"/>
                    <a:pt x="4246360" y="2019"/>
                    <a:pt x="4348350" y="2019"/>
                  </a:cubicBezTo>
                  <a:cubicBezTo>
                    <a:pt x="4380980" y="2019"/>
                    <a:pt x="4407487" y="8141"/>
                    <a:pt x="4437055" y="16282"/>
                  </a:cubicBezTo>
                  <a:close/>
                  <a:moveTo>
                    <a:pt x="2957602" y="527083"/>
                  </a:moveTo>
                  <a:lnTo>
                    <a:pt x="2940278" y="649458"/>
                  </a:lnTo>
                  <a:cubicBezTo>
                    <a:pt x="2915790" y="668802"/>
                    <a:pt x="2873001" y="677984"/>
                    <a:pt x="2843433" y="677984"/>
                  </a:cubicBezTo>
                  <a:cubicBezTo>
                    <a:pt x="2770033" y="677984"/>
                    <a:pt x="2712916" y="622951"/>
                    <a:pt x="2712916" y="535224"/>
                  </a:cubicBezTo>
                  <a:lnTo>
                    <a:pt x="2712916" y="301739"/>
                  </a:lnTo>
                  <a:lnTo>
                    <a:pt x="2629291" y="301739"/>
                  </a:lnTo>
                  <a:lnTo>
                    <a:pt x="2629291" y="186527"/>
                  </a:lnTo>
                  <a:lnTo>
                    <a:pt x="2712916" y="186527"/>
                  </a:lnTo>
                  <a:lnTo>
                    <a:pt x="2712916" y="61155"/>
                  </a:lnTo>
                  <a:lnTo>
                    <a:pt x="2833208" y="0"/>
                  </a:lnTo>
                  <a:lnTo>
                    <a:pt x="2833208" y="186592"/>
                  </a:lnTo>
                  <a:lnTo>
                    <a:pt x="2945358" y="186592"/>
                  </a:lnTo>
                  <a:lnTo>
                    <a:pt x="2945358" y="301804"/>
                  </a:lnTo>
                  <a:lnTo>
                    <a:pt x="2833208" y="301804"/>
                  </a:lnTo>
                  <a:lnTo>
                    <a:pt x="2833208" y="503701"/>
                  </a:lnTo>
                  <a:cubicBezTo>
                    <a:pt x="2833208" y="545514"/>
                    <a:pt x="2850532" y="560819"/>
                    <a:pt x="2880100" y="560819"/>
                  </a:cubicBezTo>
                  <a:cubicBezTo>
                    <a:pt x="2909668" y="560819"/>
                    <a:pt x="2938194" y="545514"/>
                    <a:pt x="2957602" y="527148"/>
                  </a:cubicBezTo>
                  <a:close/>
                  <a:moveTo>
                    <a:pt x="2397891" y="426134"/>
                  </a:moveTo>
                  <a:cubicBezTo>
                    <a:pt x="2397891" y="441439"/>
                    <a:pt x="2396849" y="460782"/>
                    <a:pt x="2395872" y="467946"/>
                  </a:cubicBezTo>
                  <a:lnTo>
                    <a:pt x="2114453" y="467946"/>
                  </a:lnTo>
                  <a:cubicBezTo>
                    <a:pt x="2119533" y="535224"/>
                    <a:pt x="2166425" y="562773"/>
                    <a:pt x="2218462" y="562773"/>
                  </a:cubicBezTo>
                  <a:cubicBezTo>
                    <a:pt x="2249073" y="562773"/>
                    <a:pt x="2276557" y="553590"/>
                    <a:pt x="2301045" y="529102"/>
                  </a:cubicBezTo>
                  <a:lnTo>
                    <a:pt x="2386689" y="601459"/>
                  </a:lnTo>
                  <a:cubicBezTo>
                    <a:pt x="2346895" y="654473"/>
                    <a:pt x="2274538" y="677919"/>
                    <a:pt x="2210321" y="677919"/>
                  </a:cubicBezTo>
                  <a:cubicBezTo>
                    <a:pt x="2072705" y="677919"/>
                    <a:pt x="1991100" y="569872"/>
                    <a:pt x="1991100" y="429130"/>
                  </a:cubicBezTo>
                  <a:cubicBezTo>
                    <a:pt x="1991100" y="288388"/>
                    <a:pt x="2079804" y="176302"/>
                    <a:pt x="2205176" y="176302"/>
                  </a:cubicBezTo>
                  <a:cubicBezTo>
                    <a:pt x="2339731" y="176302"/>
                    <a:pt x="2397891" y="298678"/>
                    <a:pt x="2397891" y="426069"/>
                  </a:cubicBezTo>
                  <a:close/>
                  <a:moveTo>
                    <a:pt x="2116472" y="374162"/>
                  </a:moveTo>
                  <a:lnTo>
                    <a:pt x="2287759" y="374162"/>
                  </a:lnTo>
                  <a:cubicBezTo>
                    <a:pt x="2282679" y="320105"/>
                    <a:pt x="2251027" y="283438"/>
                    <a:pt x="2199054" y="283438"/>
                  </a:cubicBezTo>
                  <a:cubicBezTo>
                    <a:pt x="2144021" y="283438"/>
                    <a:pt x="2119533" y="334433"/>
                    <a:pt x="2116472" y="374162"/>
                  </a:cubicBezTo>
                  <a:close/>
                  <a:moveTo>
                    <a:pt x="1933982" y="428218"/>
                  </a:moveTo>
                  <a:cubicBezTo>
                    <a:pt x="1933982" y="551571"/>
                    <a:pt x="1882987" y="677984"/>
                    <a:pt x="1746413" y="677984"/>
                  </a:cubicBezTo>
                  <a:cubicBezTo>
                    <a:pt x="1693399" y="677984"/>
                    <a:pt x="1660769" y="658642"/>
                    <a:pt x="1639342" y="638191"/>
                  </a:cubicBezTo>
                  <a:lnTo>
                    <a:pt x="1639342" y="784990"/>
                  </a:lnTo>
                  <a:lnTo>
                    <a:pt x="1519050" y="845169"/>
                  </a:lnTo>
                  <a:lnTo>
                    <a:pt x="1519050" y="186527"/>
                  </a:lnTo>
                  <a:lnTo>
                    <a:pt x="1639342" y="186527"/>
                  </a:lnTo>
                  <a:lnTo>
                    <a:pt x="1639342" y="219157"/>
                  </a:lnTo>
                  <a:cubicBezTo>
                    <a:pt x="1670929" y="190630"/>
                    <a:pt x="1703559" y="176367"/>
                    <a:pt x="1748432" y="176367"/>
                  </a:cubicBezTo>
                  <a:cubicBezTo>
                    <a:pt x="1877907" y="176367"/>
                    <a:pt x="1933982" y="298743"/>
                    <a:pt x="1933982" y="428218"/>
                  </a:cubicBezTo>
                  <a:close/>
                  <a:moveTo>
                    <a:pt x="1809587" y="434340"/>
                  </a:moveTo>
                  <a:cubicBezTo>
                    <a:pt x="1809587" y="364002"/>
                    <a:pt x="1791221" y="292621"/>
                    <a:pt x="1718864" y="292621"/>
                  </a:cubicBezTo>
                  <a:cubicBezTo>
                    <a:pt x="1685193" y="292621"/>
                    <a:pt x="1658685" y="307926"/>
                    <a:pt x="1639342" y="335410"/>
                  </a:cubicBezTo>
                  <a:lnTo>
                    <a:pt x="1639342" y="518942"/>
                  </a:lnTo>
                  <a:cubicBezTo>
                    <a:pt x="1658685" y="546491"/>
                    <a:pt x="1691315" y="562773"/>
                    <a:pt x="1726028" y="562773"/>
                  </a:cubicBezTo>
                  <a:cubicBezTo>
                    <a:pt x="1793305" y="562773"/>
                    <a:pt x="1809652" y="501618"/>
                    <a:pt x="1809652" y="434340"/>
                  </a:cubicBezTo>
                  <a:close/>
                  <a:moveTo>
                    <a:pt x="1435426" y="667825"/>
                  </a:moveTo>
                  <a:lnTo>
                    <a:pt x="1315134" y="667825"/>
                  </a:lnTo>
                  <a:lnTo>
                    <a:pt x="1315134" y="634153"/>
                  </a:lnTo>
                  <a:cubicBezTo>
                    <a:pt x="1286608" y="662680"/>
                    <a:pt x="1249876" y="677984"/>
                    <a:pt x="1202983" y="677984"/>
                  </a:cubicBezTo>
                  <a:cubicBezTo>
                    <a:pt x="1108157" y="677984"/>
                    <a:pt x="1033715" y="616829"/>
                    <a:pt x="1033715" y="510800"/>
                  </a:cubicBezTo>
                  <a:cubicBezTo>
                    <a:pt x="1033715" y="404772"/>
                    <a:pt x="1106072" y="348696"/>
                    <a:pt x="1221284" y="348696"/>
                  </a:cubicBezTo>
                  <a:cubicBezTo>
                    <a:pt x="1251894" y="348696"/>
                    <a:pt x="1283482" y="352799"/>
                    <a:pt x="1315069" y="368040"/>
                  </a:cubicBezTo>
                  <a:lnTo>
                    <a:pt x="1315069" y="342574"/>
                  </a:lnTo>
                  <a:cubicBezTo>
                    <a:pt x="1315069" y="297701"/>
                    <a:pt x="1285501" y="279335"/>
                    <a:pt x="1232486" y="279335"/>
                  </a:cubicBezTo>
                  <a:cubicBezTo>
                    <a:pt x="1194777" y="279335"/>
                    <a:pt x="1159087" y="288518"/>
                    <a:pt x="1121378" y="310922"/>
                  </a:cubicBezTo>
                  <a:lnTo>
                    <a:pt x="1073443" y="225278"/>
                  </a:lnTo>
                  <a:cubicBezTo>
                    <a:pt x="1125416" y="192649"/>
                    <a:pt x="1175369" y="176367"/>
                    <a:pt x="1239650" y="176367"/>
                  </a:cubicBezTo>
                  <a:cubicBezTo>
                    <a:pt x="1360984" y="176367"/>
                    <a:pt x="1435426" y="235503"/>
                    <a:pt x="1435426" y="344593"/>
                  </a:cubicBezTo>
                  <a:lnTo>
                    <a:pt x="1435426" y="667759"/>
                  </a:lnTo>
                  <a:close/>
                  <a:moveTo>
                    <a:pt x="1315134" y="527083"/>
                  </a:moveTo>
                  <a:lnTo>
                    <a:pt x="1315134" y="465927"/>
                  </a:lnTo>
                  <a:cubicBezTo>
                    <a:pt x="1290646" y="450622"/>
                    <a:pt x="1259059" y="445542"/>
                    <a:pt x="1234570" y="445542"/>
                  </a:cubicBezTo>
                  <a:cubicBezTo>
                    <a:pt x="1181556" y="445542"/>
                    <a:pt x="1156091" y="468988"/>
                    <a:pt x="1156091" y="507740"/>
                  </a:cubicBezTo>
                  <a:cubicBezTo>
                    <a:pt x="1156091" y="544472"/>
                    <a:pt x="1179537" y="574040"/>
                    <a:pt x="1224410" y="574040"/>
                  </a:cubicBezTo>
                  <a:cubicBezTo>
                    <a:pt x="1247857" y="574040"/>
                    <a:pt x="1288627" y="565899"/>
                    <a:pt x="1315134" y="527148"/>
                  </a:cubicBezTo>
                  <a:close/>
                  <a:moveTo>
                    <a:pt x="967480" y="667825"/>
                  </a:moveTo>
                  <a:lnTo>
                    <a:pt x="847188" y="667825"/>
                  </a:lnTo>
                  <a:lnTo>
                    <a:pt x="847188" y="405814"/>
                  </a:lnTo>
                  <a:cubicBezTo>
                    <a:pt x="847188" y="340555"/>
                    <a:pt x="832925" y="292621"/>
                    <a:pt x="765647" y="292621"/>
                  </a:cubicBezTo>
                  <a:cubicBezTo>
                    <a:pt x="698370" y="292621"/>
                    <a:pt x="683065" y="336452"/>
                    <a:pt x="683065" y="402753"/>
                  </a:cubicBezTo>
                  <a:lnTo>
                    <a:pt x="683065" y="667825"/>
                  </a:lnTo>
                  <a:lnTo>
                    <a:pt x="562773" y="667825"/>
                  </a:lnTo>
                  <a:lnTo>
                    <a:pt x="562773" y="61221"/>
                  </a:lnTo>
                  <a:lnTo>
                    <a:pt x="683065" y="65"/>
                  </a:lnTo>
                  <a:lnTo>
                    <a:pt x="683065" y="220264"/>
                  </a:lnTo>
                  <a:cubicBezTo>
                    <a:pt x="709572" y="193756"/>
                    <a:pt x="742201" y="176432"/>
                    <a:pt x="796258" y="176432"/>
                  </a:cubicBezTo>
                  <a:cubicBezTo>
                    <a:pt x="923713" y="176432"/>
                    <a:pt x="967545" y="274320"/>
                    <a:pt x="967545" y="396631"/>
                  </a:cubicBezTo>
                  <a:lnTo>
                    <a:pt x="967545" y="667825"/>
                  </a:lnTo>
                  <a:close/>
                  <a:moveTo>
                    <a:pt x="496472" y="475110"/>
                  </a:moveTo>
                  <a:cubicBezTo>
                    <a:pt x="496472" y="619890"/>
                    <a:pt x="386341" y="677984"/>
                    <a:pt x="255889" y="677984"/>
                  </a:cubicBezTo>
                  <a:cubicBezTo>
                    <a:pt x="162104" y="677984"/>
                    <a:pt x="58094" y="648416"/>
                    <a:pt x="0" y="562773"/>
                  </a:cubicBezTo>
                  <a:lnTo>
                    <a:pt x="89747" y="483251"/>
                  </a:lnTo>
                  <a:cubicBezTo>
                    <a:pt x="131559" y="533205"/>
                    <a:pt x="191672" y="556651"/>
                    <a:pt x="252893" y="556651"/>
                  </a:cubicBezTo>
                  <a:cubicBezTo>
                    <a:pt x="325250" y="556651"/>
                    <a:pt x="367063" y="524022"/>
                    <a:pt x="367063" y="478171"/>
                  </a:cubicBezTo>
                  <a:cubicBezTo>
                    <a:pt x="367063" y="459805"/>
                    <a:pt x="359899" y="441439"/>
                    <a:pt x="329353" y="426199"/>
                  </a:cubicBezTo>
                  <a:cubicBezTo>
                    <a:pt x="306949" y="414997"/>
                    <a:pt x="279400" y="407833"/>
                    <a:pt x="225344" y="394612"/>
                  </a:cubicBezTo>
                  <a:cubicBezTo>
                    <a:pt x="191672" y="386471"/>
                    <a:pt x="122376" y="370124"/>
                    <a:pt x="79522" y="335475"/>
                  </a:cubicBezTo>
                  <a:cubicBezTo>
                    <a:pt x="36732" y="300827"/>
                    <a:pt x="24488" y="250874"/>
                    <a:pt x="24488" y="207042"/>
                  </a:cubicBezTo>
                  <a:cubicBezTo>
                    <a:pt x="24488" y="71445"/>
                    <a:pt x="140742" y="16412"/>
                    <a:pt x="254912" y="16412"/>
                  </a:cubicBezTo>
                  <a:cubicBezTo>
                    <a:pt x="353776" y="16412"/>
                    <a:pt x="425157" y="57182"/>
                    <a:pt x="482274" y="115277"/>
                  </a:cubicBezTo>
                  <a:lnTo>
                    <a:pt x="392528" y="202939"/>
                  </a:lnTo>
                  <a:cubicBezTo>
                    <a:pt x="350715" y="161127"/>
                    <a:pt x="309945" y="137681"/>
                    <a:pt x="246706" y="137681"/>
                  </a:cubicBezTo>
                  <a:cubicBezTo>
                    <a:pt x="192649" y="137681"/>
                    <a:pt x="152921" y="155005"/>
                    <a:pt x="152921" y="199878"/>
                  </a:cubicBezTo>
                  <a:cubicBezTo>
                    <a:pt x="152921" y="219221"/>
                    <a:pt x="160085" y="232508"/>
                    <a:pt x="179428" y="243710"/>
                  </a:cubicBezTo>
                  <a:cubicBezTo>
                    <a:pt x="201832" y="255954"/>
                    <a:pt x="233485" y="265137"/>
                    <a:pt x="282396" y="277381"/>
                  </a:cubicBezTo>
                  <a:cubicBezTo>
                    <a:pt x="340490" y="292686"/>
                    <a:pt x="394547" y="305907"/>
                    <a:pt x="438378" y="341598"/>
                  </a:cubicBezTo>
                  <a:cubicBezTo>
                    <a:pt x="477129" y="373185"/>
                    <a:pt x="496472" y="414997"/>
                    <a:pt x="496472" y="475176"/>
                  </a:cubicBezTo>
                  <a:close/>
                  <a:moveTo>
                    <a:pt x="6100885" y="208996"/>
                  </a:moveTo>
                  <a:lnTo>
                    <a:pt x="6051778" y="329288"/>
                  </a:lnTo>
                  <a:cubicBezTo>
                    <a:pt x="6033413" y="311964"/>
                    <a:pt x="6011985" y="299720"/>
                    <a:pt x="5982482" y="299720"/>
                  </a:cubicBezTo>
                  <a:cubicBezTo>
                    <a:pt x="5925365" y="299720"/>
                    <a:pt x="5911232" y="347654"/>
                    <a:pt x="5911232" y="405749"/>
                  </a:cubicBezTo>
                  <a:lnTo>
                    <a:pt x="5911232" y="667759"/>
                  </a:lnTo>
                  <a:lnTo>
                    <a:pt x="5790940" y="667759"/>
                  </a:lnTo>
                  <a:lnTo>
                    <a:pt x="5790940" y="186527"/>
                  </a:lnTo>
                  <a:lnTo>
                    <a:pt x="5911232" y="186527"/>
                  </a:lnTo>
                  <a:lnTo>
                    <a:pt x="5911232" y="220198"/>
                  </a:lnTo>
                  <a:cubicBezTo>
                    <a:pt x="5938781" y="192649"/>
                    <a:pt x="5973429" y="176367"/>
                    <a:pt x="6012181" y="176367"/>
                  </a:cubicBezTo>
                  <a:cubicBezTo>
                    <a:pt x="6045852" y="176367"/>
                    <a:pt x="6075420" y="186592"/>
                    <a:pt x="6100885" y="208996"/>
                  </a:cubicBezTo>
                  <a:close/>
                </a:path>
              </a:pathLst>
            </a:custGeom>
            <a:solidFill>
              <a:schemeClr val="bg2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7473426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ram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713817A-1A0E-6215-C86F-711F67622AC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8386354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0"/>
                  <a:alpha val="0"/>
                </a:schemeClr>
              </a:gs>
              <a:gs pos="95000">
                <a:srgbClr val="000000">
                  <a:alpha val="70000"/>
                </a:srgb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n-US" sz="1200" b="1">
              <a:solidFill>
                <a:schemeClr val="tx1"/>
              </a:solidFill>
            </a:endParaRP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632E76BF-46D5-8E94-88AA-4783DD302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89762" y="4436485"/>
            <a:ext cx="4907628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edit master subtitle style</a:t>
            </a:r>
            <a:endParaRPr lang="en-US" dirty="0"/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1F7B1FDC-B90E-6693-A750-B9BA4B535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9762" y="2698751"/>
            <a:ext cx="4906009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" panose="02000503020000020004" pitchFamily="2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0" name="Text Placeholder 288">
            <a:extLst>
              <a:ext uri="{FF2B5EF4-FFF2-40B4-BE49-F238E27FC236}">
                <a16:creationId xmlns:a16="http://schemas.microsoft.com/office/drawing/2014/main" id="{1673B89D-F206-B9D2-CDB7-BDE045C744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89762" y="5047485"/>
            <a:ext cx="4906010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74EBDC9A-DAD0-DF95-C863-A513F5757B58}"/>
              </a:ext>
            </a:extLst>
          </p:cNvPr>
          <p:cNvGrpSpPr/>
          <p:nvPr userDrawn="1"/>
        </p:nvGrpSpPr>
        <p:grpSpPr>
          <a:xfrm>
            <a:off x="485774" y="1291008"/>
            <a:ext cx="5706110" cy="4360545"/>
            <a:chOff x="485774" y="1291008"/>
            <a:chExt cx="5706110" cy="4360545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F7E50E80-DFF0-E065-898F-1AFD970459B6}"/>
                </a:ext>
              </a:extLst>
            </p:cNvPr>
            <p:cNvSpPr/>
            <p:nvPr userDrawn="1"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7E9D0337-F340-664F-6A13-B03AA4BA4F82}"/>
                </a:ext>
              </a:extLst>
            </p:cNvPr>
            <p:cNvSpPr/>
            <p:nvPr userDrawn="1"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gradFill flip="none" rotWithShape="1">
              <a:gsLst>
                <a:gs pos="46000">
                  <a:srgbClr val="FFE600"/>
                </a:gs>
                <a:gs pos="66000">
                  <a:srgbClr val="FF32FF"/>
                </a:gs>
                <a:gs pos="100000">
                  <a:srgbClr val="32FFFF"/>
                </a:gs>
              </a:gsLst>
              <a:lin ang="18600000" scaled="0"/>
              <a:tileRect/>
            </a:gradFill>
            <a:ln w="81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1882E718-34C5-4345-6EDE-C2A2274567A3}"/>
              </a:ext>
            </a:extLst>
          </p:cNvPr>
          <p:cNvGrpSpPr/>
          <p:nvPr userDrawn="1"/>
        </p:nvGrpSpPr>
        <p:grpSpPr>
          <a:xfrm>
            <a:off x="485775" y="6164633"/>
            <a:ext cx="4940935" cy="318770"/>
            <a:chOff x="485775" y="6164633"/>
            <a:chExt cx="4940935" cy="318770"/>
          </a:xfrm>
        </p:grpSpPr>
        <p:sp>
          <p:nvSpPr>
            <p:cNvPr id="5" name="Freeform 23">
              <a:extLst>
                <a:ext uri="{FF2B5EF4-FFF2-40B4-BE49-F238E27FC236}">
                  <a16:creationId xmlns:a16="http://schemas.microsoft.com/office/drawing/2014/main" id="{04769FC2-AA96-BF7D-A57D-6136B16425B4}"/>
                </a:ext>
              </a:extLst>
            </p:cNvPr>
            <p:cNvSpPr/>
            <p:nvPr userDrawn="1"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6" name="Freeform 24">
              <a:extLst>
                <a:ext uri="{FF2B5EF4-FFF2-40B4-BE49-F238E27FC236}">
                  <a16:creationId xmlns:a16="http://schemas.microsoft.com/office/drawing/2014/main" id="{018A045E-469B-37B4-66BD-A077F6237FA6}"/>
                </a:ext>
              </a:extLst>
            </p:cNvPr>
            <p:cNvSpPr/>
            <p:nvPr userDrawn="1"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chemeClr val="bg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D96664EF-CE5B-CE23-BD45-8EBEE44AB59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562024" y="5167683"/>
            <a:ext cx="1220400" cy="1285398"/>
            <a:chOff x="3913438" y="-99392"/>
            <a:chExt cx="6512821" cy="6859693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E6DD499C-9F4F-85B2-7CED-8B5892C7AA74}"/>
                </a:ext>
              </a:extLst>
            </p:cNvPr>
            <p:cNvSpPr/>
            <p:nvPr/>
          </p:nvSpPr>
          <p:spPr>
            <a:xfrm>
              <a:off x="5319751" y="-99392"/>
              <a:ext cx="4303606" cy="1570696"/>
            </a:xfrm>
            <a:custGeom>
              <a:avLst/>
              <a:gdLst>
                <a:gd name="connsiteX0" fmla="*/ 4303607 w 4303606"/>
                <a:gd name="connsiteY0" fmla="*/ 0 h 1570696"/>
                <a:gd name="connsiteX1" fmla="*/ 0 w 4303606"/>
                <a:gd name="connsiteY1" fmla="*/ 1570697 h 1570696"/>
                <a:gd name="connsiteX2" fmla="*/ 4303607 w 4303606"/>
                <a:gd name="connsiteY2" fmla="*/ 810521 h 1570696"/>
                <a:gd name="connsiteX3" fmla="*/ 4303607 w 4303606"/>
                <a:gd name="connsiteY3" fmla="*/ 0 h 1570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03606" h="1570696">
                  <a:moveTo>
                    <a:pt x="4303607" y="0"/>
                  </a:moveTo>
                  <a:lnTo>
                    <a:pt x="0" y="1570697"/>
                  </a:lnTo>
                  <a:lnTo>
                    <a:pt x="4303607" y="810521"/>
                  </a:lnTo>
                  <a:lnTo>
                    <a:pt x="4303607" y="0"/>
                  </a:lnTo>
                  <a:close/>
                </a:path>
              </a:pathLst>
            </a:custGeom>
            <a:solidFill>
              <a:srgbClr val="FFE600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0224288A-4174-3DC7-2268-294BCF7472B4}"/>
                </a:ext>
              </a:extLst>
            </p:cNvPr>
            <p:cNvSpPr/>
            <p:nvPr/>
          </p:nvSpPr>
          <p:spPr>
            <a:xfrm>
              <a:off x="5357395" y="2124345"/>
              <a:ext cx="3613052" cy="2176910"/>
            </a:xfrm>
            <a:custGeom>
              <a:avLst/>
              <a:gdLst>
                <a:gd name="connsiteX0" fmla="*/ 652845 w 3613052"/>
                <a:gd name="connsiteY0" fmla="*/ 1676205 h 2176910"/>
                <a:gd name="connsiteX1" fmla="*/ 1741463 w 3613052"/>
                <a:gd name="connsiteY1" fmla="*/ 1676205 h 2176910"/>
                <a:gd name="connsiteX2" fmla="*/ 1741463 w 3613052"/>
                <a:gd name="connsiteY2" fmla="*/ 2176910 h 2176910"/>
                <a:gd name="connsiteX3" fmla="*/ 0 w 3613052"/>
                <a:gd name="connsiteY3" fmla="*/ 2176910 h 2176910"/>
                <a:gd name="connsiteX4" fmla="*/ 0 w 3613052"/>
                <a:gd name="connsiteY4" fmla="*/ 0 h 2176910"/>
                <a:gd name="connsiteX5" fmla="*/ 1234766 w 3613052"/>
                <a:gd name="connsiteY5" fmla="*/ 0 h 2176910"/>
                <a:gd name="connsiteX6" fmla="*/ 1523675 w 3613052"/>
                <a:gd name="connsiteY6" fmla="*/ 500706 h 2176910"/>
                <a:gd name="connsiteX7" fmla="*/ 652910 w 3613052"/>
                <a:gd name="connsiteY7" fmla="*/ 500706 h 2176910"/>
                <a:gd name="connsiteX8" fmla="*/ 652910 w 3613052"/>
                <a:gd name="connsiteY8" fmla="*/ 859953 h 2176910"/>
                <a:gd name="connsiteX9" fmla="*/ 1440050 w 3613052"/>
                <a:gd name="connsiteY9" fmla="*/ 859953 h 2176910"/>
                <a:gd name="connsiteX10" fmla="*/ 1440050 w 3613052"/>
                <a:gd name="connsiteY10" fmla="*/ 1317022 h 2176910"/>
                <a:gd name="connsiteX11" fmla="*/ 652910 w 3613052"/>
                <a:gd name="connsiteY11" fmla="*/ 1317022 h 2176910"/>
                <a:gd name="connsiteX12" fmla="*/ 652910 w 3613052"/>
                <a:gd name="connsiteY12" fmla="*/ 1676205 h 2176910"/>
                <a:gd name="connsiteX13" fmla="*/ 2900485 w 3613052"/>
                <a:gd name="connsiteY13" fmla="*/ 0 h 2176910"/>
                <a:gd name="connsiteX14" fmla="*/ 2530687 w 3613052"/>
                <a:gd name="connsiteY14" fmla="*/ 710418 h 2176910"/>
                <a:gd name="connsiteX15" fmla="*/ 2161801 w 3613052"/>
                <a:gd name="connsiteY15" fmla="*/ 0 h 2176910"/>
                <a:gd name="connsiteX16" fmla="*/ 1439985 w 3613052"/>
                <a:gd name="connsiteY16" fmla="*/ 0 h 2176910"/>
                <a:gd name="connsiteX17" fmla="*/ 2200552 w 3613052"/>
                <a:gd name="connsiteY17" fmla="*/ 1317022 h 2176910"/>
                <a:gd name="connsiteX18" fmla="*/ 2200552 w 3613052"/>
                <a:gd name="connsiteY18" fmla="*/ 2176910 h 2176910"/>
                <a:gd name="connsiteX19" fmla="*/ 2851443 w 3613052"/>
                <a:gd name="connsiteY19" fmla="*/ 2176910 h 2176910"/>
                <a:gd name="connsiteX20" fmla="*/ 2851443 w 3613052"/>
                <a:gd name="connsiteY20" fmla="*/ 1317022 h 2176910"/>
                <a:gd name="connsiteX21" fmla="*/ 3613053 w 3613052"/>
                <a:gd name="connsiteY21" fmla="*/ 0 h 2176910"/>
                <a:gd name="connsiteX22" fmla="*/ 2900485 w 3613052"/>
                <a:gd name="connsiteY22" fmla="*/ 0 h 2176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613052" h="2176910">
                  <a:moveTo>
                    <a:pt x="652845" y="1676205"/>
                  </a:moveTo>
                  <a:lnTo>
                    <a:pt x="1741463" y="1676205"/>
                  </a:lnTo>
                  <a:lnTo>
                    <a:pt x="1741463" y="2176910"/>
                  </a:lnTo>
                  <a:lnTo>
                    <a:pt x="0" y="2176910"/>
                  </a:lnTo>
                  <a:lnTo>
                    <a:pt x="0" y="0"/>
                  </a:lnTo>
                  <a:lnTo>
                    <a:pt x="1234766" y="0"/>
                  </a:lnTo>
                  <a:lnTo>
                    <a:pt x="1523675" y="500706"/>
                  </a:lnTo>
                  <a:lnTo>
                    <a:pt x="652910" y="500706"/>
                  </a:lnTo>
                  <a:lnTo>
                    <a:pt x="652910" y="859953"/>
                  </a:lnTo>
                  <a:lnTo>
                    <a:pt x="1440050" y="859953"/>
                  </a:lnTo>
                  <a:lnTo>
                    <a:pt x="1440050" y="1317022"/>
                  </a:lnTo>
                  <a:lnTo>
                    <a:pt x="652910" y="1317022"/>
                  </a:lnTo>
                  <a:lnTo>
                    <a:pt x="652910" y="1676205"/>
                  </a:lnTo>
                  <a:close/>
                  <a:moveTo>
                    <a:pt x="2900485" y="0"/>
                  </a:moveTo>
                  <a:lnTo>
                    <a:pt x="2530687" y="710418"/>
                  </a:lnTo>
                  <a:lnTo>
                    <a:pt x="2161801" y="0"/>
                  </a:lnTo>
                  <a:lnTo>
                    <a:pt x="1439985" y="0"/>
                  </a:lnTo>
                  <a:lnTo>
                    <a:pt x="2200552" y="1317022"/>
                  </a:lnTo>
                  <a:lnTo>
                    <a:pt x="2200552" y="2176910"/>
                  </a:lnTo>
                  <a:lnTo>
                    <a:pt x="2851443" y="2176910"/>
                  </a:lnTo>
                  <a:lnTo>
                    <a:pt x="2851443" y="1317022"/>
                  </a:lnTo>
                  <a:lnTo>
                    <a:pt x="3613053" y="0"/>
                  </a:lnTo>
                  <a:lnTo>
                    <a:pt x="2900485" y="0"/>
                  </a:lnTo>
                  <a:close/>
                </a:path>
              </a:pathLst>
            </a:custGeom>
            <a:solidFill>
              <a:schemeClr val="bg2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277925CB-5565-D7E0-CA9C-B423DA5657B2}"/>
                </a:ext>
              </a:extLst>
            </p:cNvPr>
            <p:cNvSpPr/>
            <p:nvPr/>
          </p:nvSpPr>
          <p:spPr>
            <a:xfrm>
              <a:off x="3913438" y="5111711"/>
              <a:ext cx="6512821" cy="1648590"/>
            </a:xfrm>
            <a:custGeom>
              <a:avLst/>
              <a:gdLst>
                <a:gd name="connsiteX0" fmla="*/ 5071143 w 6512821"/>
                <a:gd name="connsiteY0" fmla="*/ 1396740 h 1648590"/>
                <a:gd name="connsiteX1" fmla="*/ 5069124 w 6512821"/>
                <a:gd name="connsiteY1" fmla="*/ 1438552 h 1648590"/>
                <a:gd name="connsiteX2" fmla="*/ 4777545 w 6512821"/>
                <a:gd name="connsiteY2" fmla="*/ 1438552 h 1648590"/>
                <a:gd name="connsiteX3" fmla="*/ 4880513 w 6512821"/>
                <a:gd name="connsiteY3" fmla="*/ 1533378 h 1648590"/>
                <a:gd name="connsiteX4" fmla="*/ 4964137 w 6512821"/>
                <a:gd name="connsiteY4" fmla="*/ 1499707 h 1648590"/>
                <a:gd name="connsiteX5" fmla="*/ 5049781 w 6512821"/>
                <a:gd name="connsiteY5" fmla="*/ 1572065 h 1648590"/>
                <a:gd name="connsiteX6" fmla="*/ 4875433 w 6512821"/>
                <a:gd name="connsiteY6" fmla="*/ 1648525 h 1648590"/>
                <a:gd name="connsiteX7" fmla="*/ 4654192 w 6512821"/>
                <a:gd name="connsiteY7" fmla="*/ 1398759 h 1648590"/>
                <a:gd name="connsiteX8" fmla="*/ 4867292 w 6512821"/>
                <a:gd name="connsiteY8" fmla="*/ 1146908 h 1648590"/>
                <a:gd name="connsiteX9" fmla="*/ 5071208 w 6512821"/>
                <a:gd name="connsiteY9" fmla="*/ 1396675 h 1648590"/>
                <a:gd name="connsiteX10" fmla="*/ 4779564 w 6512821"/>
                <a:gd name="connsiteY10" fmla="*/ 1344767 h 1648590"/>
                <a:gd name="connsiteX11" fmla="*/ 4950851 w 6512821"/>
                <a:gd name="connsiteY11" fmla="*/ 1344767 h 1648590"/>
                <a:gd name="connsiteX12" fmla="*/ 4863189 w 6512821"/>
                <a:gd name="connsiteY12" fmla="*/ 1254044 h 1648590"/>
                <a:gd name="connsiteX13" fmla="*/ 4779564 w 6512821"/>
                <a:gd name="connsiteY13" fmla="*/ 1344767 h 1648590"/>
                <a:gd name="connsiteX14" fmla="*/ 6512756 w 6512821"/>
                <a:gd name="connsiteY14" fmla="*/ 1396740 h 1648590"/>
                <a:gd name="connsiteX15" fmla="*/ 6510737 w 6512821"/>
                <a:gd name="connsiteY15" fmla="*/ 1438552 h 1648590"/>
                <a:gd name="connsiteX16" fmla="*/ 6219158 w 6512821"/>
                <a:gd name="connsiteY16" fmla="*/ 1438552 h 1648590"/>
                <a:gd name="connsiteX17" fmla="*/ 6322126 w 6512821"/>
                <a:gd name="connsiteY17" fmla="*/ 1533378 h 1648590"/>
                <a:gd name="connsiteX18" fmla="*/ 6405751 w 6512821"/>
                <a:gd name="connsiteY18" fmla="*/ 1499707 h 1648590"/>
                <a:gd name="connsiteX19" fmla="*/ 6491394 w 6512821"/>
                <a:gd name="connsiteY19" fmla="*/ 1572065 h 1648590"/>
                <a:gd name="connsiteX20" fmla="*/ 6317046 w 6512821"/>
                <a:gd name="connsiteY20" fmla="*/ 1648525 h 1648590"/>
                <a:gd name="connsiteX21" fmla="*/ 6095805 w 6512821"/>
                <a:gd name="connsiteY21" fmla="*/ 1398759 h 1648590"/>
                <a:gd name="connsiteX22" fmla="*/ 6308905 w 6512821"/>
                <a:gd name="connsiteY22" fmla="*/ 1146908 h 1648590"/>
                <a:gd name="connsiteX23" fmla="*/ 6512821 w 6512821"/>
                <a:gd name="connsiteY23" fmla="*/ 1396675 h 1648590"/>
                <a:gd name="connsiteX24" fmla="*/ 6221177 w 6512821"/>
                <a:gd name="connsiteY24" fmla="*/ 1344767 h 1648590"/>
                <a:gd name="connsiteX25" fmla="*/ 6392465 w 6512821"/>
                <a:gd name="connsiteY25" fmla="*/ 1344767 h 1648590"/>
                <a:gd name="connsiteX26" fmla="*/ 6304802 w 6512821"/>
                <a:gd name="connsiteY26" fmla="*/ 1254044 h 1648590"/>
                <a:gd name="connsiteX27" fmla="*/ 6221177 w 6512821"/>
                <a:gd name="connsiteY27" fmla="*/ 1344767 h 1648590"/>
                <a:gd name="connsiteX28" fmla="*/ 5978509 w 6512821"/>
                <a:gd name="connsiteY28" fmla="*/ 1467143 h 1648590"/>
                <a:gd name="connsiteX29" fmla="*/ 6058031 w 6512821"/>
                <a:gd name="connsiteY29" fmla="*/ 1542561 h 1648590"/>
                <a:gd name="connsiteX30" fmla="*/ 5866359 w 6512821"/>
                <a:gd name="connsiteY30" fmla="*/ 1648590 h 1648590"/>
                <a:gd name="connsiteX31" fmla="*/ 5637954 w 6512821"/>
                <a:gd name="connsiteY31" fmla="*/ 1398823 h 1648590"/>
                <a:gd name="connsiteX32" fmla="*/ 5868378 w 6512821"/>
                <a:gd name="connsiteY32" fmla="*/ 1146973 h 1648590"/>
                <a:gd name="connsiteX33" fmla="*/ 6056989 w 6512821"/>
                <a:gd name="connsiteY33" fmla="*/ 1250983 h 1648590"/>
                <a:gd name="connsiteX34" fmla="*/ 5975448 w 6512821"/>
                <a:gd name="connsiteY34" fmla="*/ 1333565 h 1648590"/>
                <a:gd name="connsiteX35" fmla="*/ 5867401 w 6512821"/>
                <a:gd name="connsiteY35" fmla="*/ 1266288 h 1648590"/>
                <a:gd name="connsiteX36" fmla="*/ 5766452 w 6512821"/>
                <a:gd name="connsiteY36" fmla="*/ 1396804 h 1648590"/>
                <a:gd name="connsiteX37" fmla="*/ 5868378 w 6512821"/>
                <a:gd name="connsiteY37" fmla="*/ 1528299 h 1648590"/>
                <a:gd name="connsiteX38" fmla="*/ 5978509 w 6512821"/>
                <a:gd name="connsiteY38" fmla="*/ 1467143 h 1648590"/>
                <a:gd name="connsiteX39" fmla="*/ 4869246 w 6512821"/>
                <a:gd name="connsiteY39" fmla="*/ 667825 h 1648590"/>
                <a:gd name="connsiteX40" fmla="*/ 4750973 w 6512821"/>
                <a:gd name="connsiteY40" fmla="*/ 667825 h 1648590"/>
                <a:gd name="connsiteX41" fmla="*/ 4750973 w 6512821"/>
                <a:gd name="connsiteY41" fmla="*/ 634153 h 1648590"/>
                <a:gd name="connsiteX42" fmla="*/ 4638822 w 6512821"/>
                <a:gd name="connsiteY42" fmla="*/ 677984 h 1648590"/>
                <a:gd name="connsiteX43" fmla="*/ 4467535 w 6512821"/>
                <a:gd name="connsiteY43" fmla="*/ 458763 h 1648590"/>
                <a:gd name="connsiteX44" fmla="*/ 4467535 w 6512821"/>
                <a:gd name="connsiteY44" fmla="*/ 186527 h 1648590"/>
                <a:gd name="connsiteX45" fmla="*/ 4587827 w 6512821"/>
                <a:gd name="connsiteY45" fmla="*/ 186527 h 1648590"/>
                <a:gd name="connsiteX46" fmla="*/ 4587827 w 6512821"/>
                <a:gd name="connsiteY46" fmla="*/ 448538 h 1648590"/>
                <a:gd name="connsiteX47" fmla="*/ 4668390 w 6512821"/>
                <a:gd name="connsiteY47" fmla="*/ 562708 h 1648590"/>
                <a:gd name="connsiteX48" fmla="*/ 4748954 w 6512821"/>
                <a:gd name="connsiteY48" fmla="*/ 452576 h 1648590"/>
                <a:gd name="connsiteX49" fmla="*/ 4748954 w 6512821"/>
                <a:gd name="connsiteY49" fmla="*/ 186462 h 1648590"/>
                <a:gd name="connsiteX50" fmla="*/ 4869246 w 6512821"/>
                <a:gd name="connsiteY50" fmla="*/ 186462 h 1648590"/>
                <a:gd name="connsiteX51" fmla="*/ 4869246 w 6512821"/>
                <a:gd name="connsiteY51" fmla="*/ 667695 h 1648590"/>
                <a:gd name="connsiteX52" fmla="*/ 5244449 w 6512821"/>
                <a:gd name="connsiteY52" fmla="*/ 527083 h 1648590"/>
                <a:gd name="connsiteX53" fmla="*/ 5227125 w 6512821"/>
                <a:gd name="connsiteY53" fmla="*/ 649458 h 1648590"/>
                <a:gd name="connsiteX54" fmla="*/ 5128261 w 6512821"/>
                <a:gd name="connsiteY54" fmla="*/ 677984 h 1648590"/>
                <a:gd name="connsiteX55" fmla="*/ 4997744 w 6512821"/>
                <a:gd name="connsiteY55" fmla="*/ 535224 h 1648590"/>
                <a:gd name="connsiteX56" fmla="*/ 4997744 w 6512821"/>
                <a:gd name="connsiteY56" fmla="*/ 301739 h 1648590"/>
                <a:gd name="connsiteX57" fmla="*/ 4928447 w 6512821"/>
                <a:gd name="connsiteY57" fmla="*/ 301739 h 1648590"/>
                <a:gd name="connsiteX58" fmla="*/ 4928447 w 6512821"/>
                <a:gd name="connsiteY58" fmla="*/ 186527 h 1648590"/>
                <a:gd name="connsiteX59" fmla="*/ 4997744 w 6512821"/>
                <a:gd name="connsiteY59" fmla="*/ 186527 h 1648590"/>
                <a:gd name="connsiteX60" fmla="*/ 4997744 w 6512821"/>
                <a:gd name="connsiteY60" fmla="*/ 61155 h 1648590"/>
                <a:gd name="connsiteX61" fmla="*/ 5118035 w 6512821"/>
                <a:gd name="connsiteY61" fmla="*/ 0 h 1648590"/>
                <a:gd name="connsiteX62" fmla="*/ 5118035 w 6512821"/>
                <a:gd name="connsiteY62" fmla="*/ 186592 h 1648590"/>
                <a:gd name="connsiteX63" fmla="*/ 5232205 w 6512821"/>
                <a:gd name="connsiteY63" fmla="*/ 186592 h 1648590"/>
                <a:gd name="connsiteX64" fmla="*/ 5232205 w 6512821"/>
                <a:gd name="connsiteY64" fmla="*/ 301804 h 1648590"/>
                <a:gd name="connsiteX65" fmla="*/ 5118035 w 6512821"/>
                <a:gd name="connsiteY65" fmla="*/ 301804 h 1648590"/>
                <a:gd name="connsiteX66" fmla="*/ 5118035 w 6512821"/>
                <a:gd name="connsiteY66" fmla="*/ 503701 h 1648590"/>
                <a:gd name="connsiteX67" fmla="*/ 5164928 w 6512821"/>
                <a:gd name="connsiteY67" fmla="*/ 560819 h 1648590"/>
                <a:gd name="connsiteX68" fmla="*/ 5244449 w 6512821"/>
                <a:gd name="connsiteY68" fmla="*/ 527148 h 1648590"/>
                <a:gd name="connsiteX69" fmla="*/ 3417407 w 6512821"/>
                <a:gd name="connsiteY69" fmla="*/ 667825 h 1648590"/>
                <a:gd name="connsiteX70" fmla="*/ 3297116 w 6512821"/>
                <a:gd name="connsiteY70" fmla="*/ 667825 h 1648590"/>
                <a:gd name="connsiteX71" fmla="*/ 3297116 w 6512821"/>
                <a:gd name="connsiteY71" fmla="*/ 405814 h 1648590"/>
                <a:gd name="connsiteX72" fmla="*/ 3215575 w 6512821"/>
                <a:gd name="connsiteY72" fmla="*/ 292621 h 1648590"/>
                <a:gd name="connsiteX73" fmla="*/ 3132993 w 6512821"/>
                <a:gd name="connsiteY73" fmla="*/ 402753 h 1648590"/>
                <a:gd name="connsiteX74" fmla="*/ 3132993 w 6512821"/>
                <a:gd name="connsiteY74" fmla="*/ 667825 h 1648590"/>
                <a:gd name="connsiteX75" fmla="*/ 3012701 w 6512821"/>
                <a:gd name="connsiteY75" fmla="*/ 667825 h 1648590"/>
                <a:gd name="connsiteX76" fmla="*/ 3012701 w 6512821"/>
                <a:gd name="connsiteY76" fmla="*/ 61221 h 1648590"/>
                <a:gd name="connsiteX77" fmla="*/ 3132993 w 6512821"/>
                <a:gd name="connsiteY77" fmla="*/ 65 h 1648590"/>
                <a:gd name="connsiteX78" fmla="*/ 3132993 w 6512821"/>
                <a:gd name="connsiteY78" fmla="*/ 220264 h 1648590"/>
                <a:gd name="connsiteX79" fmla="*/ 3246186 w 6512821"/>
                <a:gd name="connsiteY79" fmla="*/ 176432 h 1648590"/>
                <a:gd name="connsiteX80" fmla="*/ 3417473 w 6512821"/>
                <a:gd name="connsiteY80" fmla="*/ 396631 h 1648590"/>
                <a:gd name="connsiteX81" fmla="*/ 3417473 w 6512821"/>
                <a:gd name="connsiteY81" fmla="*/ 667825 h 1648590"/>
                <a:gd name="connsiteX82" fmla="*/ 5564554 w 6512821"/>
                <a:gd name="connsiteY82" fmla="*/ 1638365 h 1648590"/>
                <a:gd name="connsiteX83" fmla="*/ 5440160 w 6512821"/>
                <a:gd name="connsiteY83" fmla="*/ 1638365 h 1648590"/>
                <a:gd name="connsiteX84" fmla="*/ 5440160 w 6512821"/>
                <a:gd name="connsiteY84" fmla="*/ 1376355 h 1648590"/>
                <a:gd name="connsiteX85" fmla="*/ 5357577 w 6512821"/>
                <a:gd name="connsiteY85" fmla="*/ 1264204 h 1648590"/>
                <a:gd name="connsiteX86" fmla="*/ 5273952 w 6512821"/>
                <a:gd name="connsiteY86" fmla="*/ 1373293 h 1648590"/>
                <a:gd name="connsiteX87" fmla="*/ 5273952 w 6512821"/>
                <a:gd name="connsiteY87" fmla="*/ 1638365 h 1648590"/>
                <a:gd name="connsiteX88" fmla="*/ 5149558 w 6512821"/>
                <a:gd name="connsiteY88" fmla="*/ 1638365 h 1648590"/>
                <a:gd name="connsiteX89" fmla="*/ 5149558 w 6512821"/>
                <a:gd name="connsiteY89" fmla="*/ 1157133 h 1648590"/>
                <a:gd name="connsiteX90" fmla="*/ 5273952 w 6512821"/>
                <a:gd name="connsiteY90" fmla="*/ 1157133 h 1648590"/>
                <a:gd name="connsiteX91" fmla="*/ 5273952 w 6512821"/>
                <a:gd name="connsiteY91" fmla="*/ 1189762 h 1648590"/>
                <a:gd name="connsiteX92" fmla="*/ 5391183 w 6512821"/>
                <a:gd name="connsiteY92" fmla="*/ 1146973 h 1648590"/>
                <a:gd name="connsiteX93" fmla="*/ 5564490 w 6512821"/>
                <a:gd name="connsiteY93" fmla="*/ 1366195 h 1648590"/>
                <a:gd name="connsiteX94" fmla="*/ 5564490 w 6512821"/>
                <a:gd name="connsiteY94" fmla="*/ 1638430 h 1648590"/>
                <a:gd name="connsiteX95" fmla="*/ 4008772 w 6512821"/>
                <a:gd name="connsiteY95" fmla="*/ 1115386 h 1648590"/>
                <a:gd name="connsiteX96" fmla="*/ 4080152 w 6512821"/>
                <a:gd name="connsiteY96" fmla="*/ 1044005 h 1648590"/>
                <a:gd name="connsiteX97" fmla="*/ 4008772 w 6512821"/>
                <a:gd name="connsiteY97" fmla="*/ 972624 h 1648590"/>
                <a:gd name="connsiteX98" fmla="*/ 3937391 w 6512821"/>
                <a:gd name="connsiteY98" fmla="*/ 1044005 h 1648590"/>
                <a:gd name="connsiteX99" fmla="*/ 4008772 w 6512821"/>
                <a:gd name="connsiteY99" fmla="*/ 1115386 h 1648590"/>
                <a:gd name="connsiteX100" fmla="*/ 829864 w 6512821"/>
                <a:gd name="connsiteY100" fmla="*/ 1115386 h 1648590"/>
                <a:gd name="connsiteX101" fmla="*/ 901244 w 6512821"/>
                <a:gd name="connsiteY101" fmla="*/ 1044005 h 1648590"/>
                <a:gd name="connsiteX102" fmla="*/ 829864 w 6512821"/>
                <a:gd name="connsiteY102" fmla="*/ 972624 h 1648590"/>
                <a:gd name="connsiteX103" fmla="*/ 758483 w 6512821"/>
                <a:gd name="connsiteY103" fmla="*/ 1044005 h 1648590"/>
                <a:gd name="connsiteX104" fmla="*/ 829864 w 6512821"/>
                <a:gd name="connsiteY104" fmla="*/ 1115386 h 1648590"/>
                <a:gd name="connsiteX105" fmla="*/ 6512756 w 6512821"/>
                <a:gd name="connsiteY105" fmla="*/ 426134 h 1648590"/>
                <a:gd name="connsiteX106" fmla="*/ 6510737 w 6512821"/>
                <a:gd name="connsiteY106" fmla="*/ 467946 h 1648590"/>
                <a:gd name="connsiteX107" fmla="*/ 6219158 w 6512821"/>
                <a:gd name="connsiteY107" fmla="*/ 467946 h 1648590"/>
                <a:gd name="connsiteX108" fmla="*/ 6322126 w 6512821"/>
                <a:gd name="connsiteY108" fmla="*/ 562773 h 1648590"/>
                <a:gd name="connsiteX109" fmla="*/ 6405751 w 6512821"/>
                <a:gd name="connsiteY109" fmla="*/ 529102 h 1648590"/>
                <a:gd name="connsiteX110" fmla="*/ 6491394 w 6512821"/>
                <a:gd name="connsiteY110" fmla="*/ 601459 h 1648590"/>
                <a:gd name="connsiteX111" fmla="*/ 6317046 w 6512821"/>
                <a:gd name="connsiteY111" fmla="*/ 677919 h 1648590"/>
                <a:gd name="connsiteX112" fmla="*/ 6095805 w 6512821"/>
                <a:gd name="connsiteY112" fmla="*/ 428153 h 1648590"/>
                <a:gd name="connsiteX113" fmla="*/ 6308905 w 6512821"/>
                <a:gd name="connsiteY113" fmla="*/ 176302 h 1648590"/>
                <a:gd name="connsiteX114" fmla="*/ 6512821 w 6512821"/>
                <a:gd name="connsiteY114" fmla="*/ 426069 h 1648590"/>
                <a:gd name="connsiteX115" fmla="*/ 6221177 w 6512821"/>
                <a:gd name="connsiteY115" fmla="*/ 374162 h 1648590"/>
                <a:gd name="connsiteX116" fmla="*/ 6392465 w 6512821"/>
                <a:gd name="connsiteY116" fmla="*/ 374162 h 1648590"/>
                <a:gd name="connsiteX117" fmla="*/ 6304802 w 6512821"/>
                <a:gd name="connsiteY117" fmla="*/ 283438 h 1648590"/>
                <a:gd name="connsiteX118" fmla="*/ 6221177 w 6512821"/>
                <a:gd name="connsiteY118" fmla="*/ 374162 h 1648590"/>
                <a:gd name="connsiteX119" fmla="*/ 5702235 w 6512821"/>
                <a:gd name="connsiteY119" fmla="*/ 667825 h 1648590"/>
                <a:gd name="connsiteX120" fmla="*/ 5583963 w 6512821"/>
                <a:gd name="connsiteY120" fmla="*/ 667825 h 1648590"/>
                <a:gd name="connsiteX121" fmla="*/ 5583963 w 6512821"/>
                <a:gd name="connsiteY121" fmla="*/ 634153 h 1648590"/>
                <a:gd name="connsiteX122" fmla="*/ 5471812 w 6512821"/>
                <a:gd name="connsiteY122" fmla="*/ 677984 h 1648590"/>
                <a:gd name="connsiteX123" fmla="*/ 5300525 w 6512821"/>
                <a:gd name="connsiteY123" fmla="*/ 458763 h 1648590"/>
                <a:gd name="connsiteX124" fmla="*/ 5300525 w 6512821"/>
                <a:gd name="connsiteY124" fmla="*/ 186527 h 1648590"/>
                <a:gd name="connsiteX125" fmla="*/ 5420817 w 6512821"/>
                <a:gd name="connsiteY125" fmla="*/ 186527 h 1648590"/>
                <a:gd name="connsiteX126" fmla="*/ 5420817 w 6512821"/>
                <a:gd name="connsiteY126" fmla="*/ 448538 h 1648590"/>
                <a:gd name="connsiteX127" fmla="*/ 5501380 w 6512821"/>
                <a:gd name="connsiteY127" fmla="*/ 562708 h 1648590"/>
                <a:gd name="connsiteX128" fmla="*/ 5581944 w 6512821"/>
                <a:gd name="connsiteY128" fmla="*/ 452576 h 1648590"/>
                <a:gd name="connsiteX129" fmla="*/ 5581944 w 6512821"/>
                <a:gd name="connsiteY129" fmla="*/ 186462 h 1648590"/>
                <a:gd name="connsiteX130" fmla="*/ 5702235 w 6512821"/>
                <a:gd name="connsiteY130" fmla="*/ 186462 h 1648590"/>
                <a:gd name="connsiteX131" fmla="*/ 5702235 w 6512821"/>
                <a:gd name="connsiteY131" fmla="*/ 667695 h 1648590"/>
                <a:gd name="connsiteX132" fmla="*/ 3895579 w 6512821"/>
                <a:gd name="connsiteY132" fmla="*/ 426134 h 1648590"/>
                <a:gd name="connsiteX133" fmla="*/ 3893560 w 6512821"/>
                <a:gd name="connsiteY133" fmla="*/ 467946 h 1648590"/>
                <a:gd name="connsiteX134" fmla="*/ 3601981 w 6512821"/>
                <a:gd name="connsiteY134" fmla="*/ 467946 h 1648590"/>
                <a:gd name="connsiteX135" fmla="*/ 3704949 w 6512821"/>
                <a:gd name="connsiteY135" fmla="*/ 562773 h 1648590"/>
                <a:gd name="connsiteX136" fmla="*/ 3788573 w 6512821"/>
                <a:gd name="connsiteY136" fmla="*/ 529102 h 1648590"/>
                <a:gd name="connsiteX137" fmla="*/ 3874217 w 6512821"/>
                <a:gd name="connsiteY137" fmla="*/ 601459 h 1648590"/>
                <a:gd name="connsiteX138" fmla="*/ 3699868 w 6512821"/>
                <a:gd name="connsiteY138" fmla="*/ 677919 h 1648590"/>
                <a:gd name="connsiteX139" fmla="*/ 3478628 w 6512821"/>
                <a:gd name="connsiteY139" fmla="*/ 428153 h 1648590"/>
                <a:gd name="connsiteX140" fmla="*/ 3691727 w 6512821"/>
                <a:gd name="connsiteY140" fmla="*/ 176302 h 1648590"/>
                <a:gd name="connsiteX141" fmla="*/ 3895644 w 6512821"/>
                <a:gd name="connsiteY141" fmla="*/ 426069 h 1648590"/>
                <a:gd name="connsiteX142" fmla="*/ 3604000 w 6512821"/>
                <a:gd name="connsiteY142" fmla="*/ 374162 h 1648590"/>
                <a:gd name="connsiteX143" fmla="*/ 3775287 w 6512821"/>
                <a:gd name="connsiteY143" fmla="*/ 374162 h 1648590"/>
                <a:gd name="connsiteX144" fmla="*/ 3687624 w 6512821"/>
                <a:gd name="connsiteY144" fmla="*/ 283438 h 1648590"/>
                <a:gd name="connsiteX145" fmla="*/ 3604000 w 6512821"/>
                <a:gd name="connsiteY145" fmla="*/ 374162 h 1648590"/>
                <a:gd name="connsiteX146" fmla="*/ 4579686 w 6512821"/>
                <a:gd name="connsiteY146" fmla="*/ 1638365 h 1648590"/>
                <a:gd name="connsiteX147" fmla="*/ 4455291 w 6512821"/>
                <a:gd name="connsiteY147" fmla="*/ 1638365 h 1648590"/>
                <a:gd name="connsiteX148" fmla="*/ 4455291 w 6512821"/>
                <a:gd name="connsiteY148" fmla="*/ 1606778 h 1648590"/>
                <a:gd name="connsiteX149" fmla="*/ 4346201 w 6512821"/>
                <a:gd name="connsiteY149" fmla="*/ 1648590 h 1648590"/>
                <a:gd name="connsiteX150" fmla="*/ 4148406 w 6512821"/>
                <a:gd name="connsiteY150" fmla="*/ 1393678 h 1648590"/>
                <a:gd name="connsiteX151" fmla="*/ 4343140 w 6512821"/>
                <a:gd name="connsiteY151" fmla="*/ 1146973 h 1648590"/>
                <a:gd name="connsiteX152" fmla="*/ 4455291 w 6512821"/>
                <a:gd name="connsiteY152" fmla="*/ 1185724 h 1648590"/>
                <a:gd name="connsiteX153" fmla="*/ 4455291 w 6512821"/>
                <a:gd name="connsiteY153" fmla="*/ 1031761 h 1648590"/>
                <a:gd name="connsiteX154" fmla="*/ 4579686 w 6512821"/>
                <a:gd name="connsiteY154" fmla="*/ 969564 h 1648590"/>
                <a:gd name="connsiteX155" fmla="*/ 4579686 w 6512821"/>
                <a:gd name="connsiteY155" fmla="*/ 1638365 h 1648590"/>
                <a:gd name="connsiteX156" fmla="*/ 4455356 w 6512821"/>
                <a:gd name="connsiteY156" fmla="*/ 1489547 h 1648590"/>
                <a:gd name="connsiteX157" fmla="*/ 4455356 w 6512821"/>
                <a:gd name="connsiteY157" fmla="*/ 1306016 h 1648590"/>
                <a:gd name="connsiteX158" fmla="*/ 4368670 w 6512821"/>
                <a:gd name="connsiteY158" fmla="*/ 1264204 h 1648590"/>
                <a:gd name="connsiteX159" fmla="*/ 4278924 w 6512821"/>
                <a:gd name="connsiteY159" fmla="*/ 1389575 h 1648590"/>
                <a:gd name="connsiteX160" fmla="*/ 4371731 w 6512821"/>
                <a:gd name="connsiteY160" fmla="*/ 1531294 h 1648590"/>
                <a:gd name="connsiteX161" fmla="*/ 4455356 w 6512821"/>
                <a:gd name="connsiteY161" fmla="*/ 1489482 h 1648590"/>
                <a:gd name="connsiteX162" fmla="*/ 3945532 w 6512821"/>
                <a:gd name="connsiteY162" fmla="*/ 1157198 h 1648590"/>
                <a:gd name="connsiteX163" fmla="*/ 3945532 w 6512821"/>
                <a:gd name="connsiteY163" fmla="*/ 1638430 h 1648590"/>
                <a:gd name="connsiteX164" fmla="*/ 4069927 w 6512821"/>
                <a:gd name="connsiteY164" fmla="*/ 1638430 h 1648590"/>
                <a:gd name="connsiteX165" fmla="*/ 4069927 w 6512821"/>
                <a:gd name="connsiteY165" fmla="*/ 1157198 h 1648590"/>
                <a:gd name="connsiteX166" fmla="*/ 3945532 w 6512821"/>
                <a:gd name="connsiteY166" fmla="*/ 1157198 h 1648590"/>
                <a:gd name="connsiteX167" fmla="*/ 3873175 w 6512821"/>
                <a:gd name="connsiteY167" fmla="*/ 985911 h 1648590"/>
                <a:gd name="connsiteX168" fmla="*/ 3873175 w 6512821"/>
                <a:gd name="connsiteY168" fmla="*/ 1085817 h 1648590"/>
                <a:gd name="connsiteX169" fmla="*/ 3812019 w 6512821"/>
                <a:gd name="connsiteY169" fmla="*/ 1076634 h 1648590"/>
                <a:gd name="connsiteX170" fmla="*/ 3760047 w 6512821"/>
                <a:gd name="connsiteY170" fmla="*/ 1118447 h 1648590"/>
                <a:gd name="connsiteX171" fmla="*/ 3760047 w 6512821"/>
                <a:gd name="connsiteY171" fmla="*/ 1157198 h 1648590"/>
                <a:gd name="connsiteX172" fmla="*/ 3863015 w 6512821"/>
                <a:gd name="connsiteY172" fmla="*/ 1157198 h 1648590"/>
                <a:gd name="connsiteX173" fmla="*/ 3863015 w 6512821"/>
                <a:gd name="connsiteY173" fmla="*/ 1273452 h 1648590"/>
                <a:gd name="connsiteX174" fmla="*/ 3760047 w 6512821"/>
                <a:gd name="connsiteY174" fmla="*/ 1273452 h 1648590"/>
                <a:gd name="connsiteX175" fmla="*/ 3760047 w 6512821"/>
                <a:gd name="connsiteY175" fmla="*/ 1638430 h 1648590"/>
                <a:gd name="connsiteX176" fmla="*/ 3635652 w 6512821"/>
                <a:gd name="connsiteY176" fmla="*/ 1638430 h 1648590"/>
                <a:gd name="connsiteX177" fmla="*/ 3635652 w 6512821"/>
                <a:gd name="connsiteY177" fmla="*/ 1273452 h 1648590"/>
                <a:gd name="connsiteX178" fmla="*/ 3568375 w 6512821"/>
                <a:gd name="connsiteY178" fmla="*/ 1273452 h 1648590"/>
                <a:gd name="connsiteX179" fmla="*/ 3568375 w 6512821"/>
                <a:gd name="connsiteY179" fmla="*/ 1157198 h 1648590"/>
                <a:gd name="connsiteX180" fmla="*/ 3635652 w 6512821"/>
                <a:gd name="connsiteY180" fmla="*/ 1157198 h 1648590"/>
                <a:gd name="connsiteX181" fmla="*/ 3635652 w 6512821"/>
                <a:gd name="connsiteY181" fmla="*/ 1099104 h 1648590"/>
                <a:gd name="connsiteX182" fmla="*/ 3782451 w 6512821"/>
                <a:gd name="connsiteY182" fmla="*/ 972690 h 1648590"/>
                <a:gd name="connsiteX183" fmla="*/ 3873175 w 6512821"/>
                <a:gd name="connsiteY183" fmla="*/ 985976 h 1648590"/>
                <a:gd name="connsiteX184" fmla="*/ 3507154 w 6512821"/>
                <a:gd name="connsiteY184" fmla="*/ 1638365 h 1648590"/>
                <a:gd name="connsiteX185" fmla="*/ 3382759 w 6512821"/>
                <a:gd name="connsiteY185" fmla="*/ 1638365 h 1648590"/>
                <a:gd name="connsiteX186" fmla="*/ 3382759 w 6512821"/>
                <a:gd name="connsiteY186" fmla="*/ 1376355 h 1648590"/>
                <a:gd name="connsiteX187" fmla="*/ 3300177 w 6512821"/>
                <a:gd name="connsiteY187" fmla="*/ 1264204 h 1648590"/>
                <a:gd name="connsiteX188" fmla="*/ 3216552 w 6512821"/>
                <a:gd name="connsiteY188" fmla="*/ 1373293 h 1648590"/>
                <a:gd name="connsiteX189" fmla="*/ 3216552 w 6512821"/>
                <a:gd name="connsiteY189" fmla="*/ 1638365 h 1648590"/>
                <a:gd name="connsiteX190" fmla="*/ 3092157 w 6512821"/>
                <a:gd name="connsiteY190" fmla="*/ 1638365 h 1648590"/>
                <a:gd name="connsiteX191" fmla="*/ 3092157 w 6512821"/>
                <a:gd name="connsiteY191" fmla="*/ 1157133 h 1648590"/>
                <a:gd name="connsiteX192" fmla="*/ 3216552 w 6512821"/>
                <a:gd name="connsiteY192" fmla="*/ 1157133 h 1648590"/>
                <a:gd name="connsiteX193" fmla="*/ 3216552 w 6512821"/>
                <a:gd name="connsiteY193" fmla="*/ 1189762 h 1648590"/>
                <a:gd name="connsiteX194" fmla="*/ 3333783 w 6512821"/>
                <a:gd name="connsiteY194" fmla="*/ 1146973 h 1648590"/>
                <a:gd name="connsiteX195" fmla="*/ 3507089 w 6512821"/>
                <a:gd name="connsiteY195" fmla="*/ 1366195 h 1648590"/>
                <a:gd name="connsiteX196" fmla="*/ 3507089 w 6512821"/>
                <a:gd name="connsiteY196" fmla="*/ 1638430 h 1648590"/>
                <a:gd name="connsiteX197" fmla="*/ 2792437 w 6512821"/>
                <a:gd name="connsiteY197" fmla="*/ 1146973 h 1648590"/>
                <a:gd name="connsiteX198" fmla="*/ 2567094 w 6512821"/>
                <a:gd name="connsiteY198" fmla="*/ 1397782 h 1648590"/>
                <a:gd name="connsiteX199" fmla="*/ 2792437 w 6512821"/>
                <a:gd name="connsiteY199" fmla="*/ 1648590 h 1648590"/>
                <a:gd name="connsiteX200" fmla="*/ 3017781 w 6512821"/>
                <a:gd name="connsiteY200" fmla="*/ 1397782 h 1648590"/>
                <a:gd name="connsiteX201" fmla="*/ 2792437 w 6512821"/>
                <a:gd name="connsiteY201" fmla="*/ 1146973 h 1648590"/>
                <a:gd name="connsiteX202" fmla="*/ 2792437 w 6512821"/>
                <a:gd name="connsiteY202" fmla="*/ 1528299 h 1648590"/>
                <a:gd name="connsiteX203" fmla="*/ 2695592 w 6512821"/>
                <a:gd name="connsiteY203" fmla="*/ 1397782 h 1648590"/>
                <a:gd name="connsiteX204" fmla="*/ 2792437 w 6512821"/>
                <a:gd name="connsiteY204" fmla="*/ 1266288 h 1648590"/>
                <a:gd name="connsiteX205" fmla="*/ 2889283 w 6512821"/>
                <a:gd name="connsiteY205" fmla="*/ 1397782 h 1648590"/>
                <a:gd name="connsiteX206" fmla="*/ 2792437 w 6512821"/>
                <a:gd name="connsiteY206" fmla="*/ 1528299 h 1648590"/>
                <a:gd name="connsiteX207" fmla="*/ 2446802 w 6512821"/>
                <a:gd name="connsiteY207" fmla="*/ 1467143 h 1648590"/>
                <a:gd name="connsiteX208" fmla="*/ 2526323 w 6512821"/>
                <a:gd name="connsiteY208" fmla="*/ 1542561 h 1648590"/>
                <a:gd name="connsiteX209" fmla="*/ 2334651 w 6512821"/>
                <a:gd name="connsiteY209" fmla="*/ 1648590 h 1648590"/>
                <a:gd name="connsiteX210" fmla="*/ 2106246 w 6512821"/>
                <a:gd name="connsiteY210" fmla="*/ 1398823 h 1648590"/>
                <a:gd name="connsiteX211" fmla="*/ 2336670 w 6512821"/>
                <a:gd name="connsiteY211" fmla="*/ 1146973 h 1648590"/>
                <a:gd name="connsiteX212" fmla="*/ 2525281 w 6512821"/>
                <a:gd name="connsiteY212" fmla="*/ 1250983 h 1648590"/>
                <a:gd name="connsiteX213" fmla="*/ 2443741 w 6512821"/>
                <a:gd name="connsiteY213" fmla="*/ 1333565 h 1648590"/>
                <a:gd name="connsiteX214" fmla="*/ 2335693 w 6512821"/>
                <a:gd name="connsiteY214" fmla="*/ 1266288 h 1648590"/>
                <a:gd name="connsiteX215" fmla="*/ 2234744 w 6512821"/>
                <a:gd name="connsiteY215" fmla="*/ 1396804 h 1648590"/>
                <a:gd name="connsiteX216" fmla="*/ 2336670 w 6512821"/>
                <a:gd name="connsiteY216" fmla="*/ 1528299 h 1648590"/>
                <a:gd name="connsiteX217" fmla="*/ 2446802 w 6512821"/>
                <a:gd name="connsiteY217" fmla="*/ 1467143 h 1648590"/>
                <a:gd name="connsiteX218" fmla="*/ 1803530 w 6512821"/>
                <a:gd name="connsiteY218" fmla="*/ 1638365 h 1648590"/>
                <a:gd name="connsiteX219" fmla="*/ 1679135 w 6512821"/>
                <a:gd name="connsiteY219" fmla="*/ 1638365 h 1648590"/>
                <a:gd name="connsiteX220" fmla="*/ 1679135 w 6512821"/>
                <a:gd name="connsiteY220" fmla="*/ 1376355 h 1648590"/>
                <a:gd name="connsiteX221" fmla="*/ 1596553 w 6512821"/>
                <a:gd name="connsiteY221" fmla="*/ 1264204 h 1648590"/>
                <a:gd name="connsiteX222" fmla="*/ 1511951 w 6512821"/>
                <a:gd name="connsiteY222" fmla="*/ 1373293 h 1648590"/>
                <a:gd name="connsiteX223" fmla="*/ 1511951 w 6512821"/>
                <a:gd name="connsiteY223" fmla="*/ 1638365 h 1648590"/>
                <a:gd name="connsiteX224" fmla="*/ 1387557 w 6512821"/>
                <a:gd name="connsiteY224" fmla="*/ 1638365 h 1648590"/>
                <a:gd name="connsiteX225" fmla="*/ 1387557 w 6512821"/>
                <a:gd name="connsiteY225" fmla="*/ 1031761 h 1648590"/>
                <a:gd name="connsiteX226" fmla="*/ 1511951 w 6512821"/>
                <a:gd name="connsiteY226" fmla="*/ 969564 h 1648590"/>
                <a:gd name="connsiteX227" fmla="*/ 1511951 w 6512821"/>
                <a:gd name="connsiteY227" fmla="*/ 1189762 h 1648590"/>
                <a:gd name="connsiteX228" fmla="*/ 1632243 w 6512821"/>
                <a:gd name="connsiteY228" fmla="*/ 1146973 h 1648590"/>
                <a:gd name="connsiteX229" fmla="*/ 1803530 w 6512821"/>
                <a:gd name="connsiteY229" fmla="*/ 1366195 h 1648590"/>
                <a:gd name="connsiteX230" fmla="*/ 1803530 w 6512821"/>
                <a:gd name="connsiteY230" fmla="*/ 1638430 h 1648590"/>
                <a:gd name="connsiteX231" fmla="*/ 1311031 w 6512821"/>
                <a:gd name="connsiteY231" fmla="*/ 1493650 h 1648590"/>
                <a:gd name="connsiteX232" fmla="*/ 1292665 w 6512821"/>
                <a:gd name="connsiteY232" fmla="*/ 1619022 h 1648590"/>
                <a:gd name="connsiteX233" fmla="*/ 1173350 w 6512821"/>
                <a:gd name="connsiteY233" fmla="*/ 1648590 h 1648590"/>
                <a:gd name="connsiteX234" fmla="*/ 1043875 w 6512821"/>
                <a:gd name="connsiteY234" fmla="*/ 1504852 h 1648590"/>
                <a:gd name="connsiteX235" fmla="*/ 1043875 w 6512821"/>
                <a:gd name="connsiteY235" fmla="*/ 1273387 h 1648590"/>
                <a:gd name="connsiteX236" fmla="*/ 960250 w 6512821"/>
                <a:gd name="connsiteY236" fmla="*/ 1273387 h 1648590"/>
                <a:gd name="connsiteX237" fmla="*/ 960250 w 6512821"/>
                <a:gd name="connsiteY237" fmla="*/ 1157133 h 1648590"/>
                <a:gd name="connsiteX238" fmla="*/ 1043875 w 6512821"/>
                <a:gd name="connsiteY238" fmla="*/ 1157133 h 1648590"/>
                <a:gd name="connsiteX239" fmla="*/ 1043875 w 6512821"/>
                <a:gd name="connsiteY239" fmla="*/ 1031761 h 1648590"/>
                <a:gd name="connsiteX240" fmla="*/ 1168270 w 6512821"/>
                <a:gd name="connsiteY240" fmla="*/ 969564 h 1648590"/>
                <a:gd name="connsiteX241" fmla="*/ 1168270 w 6512821"/>
                <a:gd name="connsiteY241" fmla="*/ 1157133 h 1648590"/>
                <a:gd name="connsiteX242" fmla="*/ 1308947 w 6512821"/>
                <a:gd name="connsiteY242" fmla="*/ 1157133 h 1648590"/>
                <a:gd name="connsiteX243" fmla="*/ 1308947 w 6512821"/>
                <a:gd name="connsiteY243" fmla="*/ 1273387 h 1648590"/>
                <a:gd name="connsiteX244" fmla="*/ 1168270 w 6512821"/>
                <a:gd name="connsiteY244" fmla="*/ 1273387 h 1648590"/>
                <a:gd name="connsiteX245" fmla="*/ 1168270 w 6512821"/>
                <a:gd name="connsiteY245" fmla="*/ 1471181 h 1648590"/>
                <a:gd name="connsiteX246" fmla="*/ 1214120 w 6512821"/>
                <a:gd name="connsiteY246" fmla="*/ 1529275 h 1648590"/>
                <a:gd name="connsiteX247" fmla="*/ 1310966 w 6512821"/>
                <a:gd name="connsiteY247" fmla="*/ 1493585 h 1648590"/>
                <a:gd name="connsiteX248" fmla="*/ 767666 w 6512821"/>
                <a:gd name="connsiteY248" fmla="*/ 1157198 h 1648590"/>
                <a:gd name="connsiteX249" fmla="*/ 767666 w 6512821"/>
                <a:gd name="connsiteY249" fmla="*/ 1638430 h 1648590"/>
                <a:gd name="connsiteX250" fmla="*/ 892061 w 6512821"/>
                <a:gd name="connsiteY250" fmla="*/ 1638430 h 1648590"/>
                <a:gd name="connsiteX251" fmla="*/ 892061 w 6512821"/>
                <a:gd name="connsiteY251" fmla="*/ 1157198 h 1648590"/>
                <a:gd name="connsiteX252" fmla="*/ 767666 w 6512821"/>
                <a:gd name="connsiteY252" fmla="*/ 1157198 h 1648590"/>
                <a:gd name="connsiteX253" fmla="*/ 702408 w 6512821"/>
                <a:gd name="connsiteY253" fmla="*/ 1157198 h 1648590"/>
                <a:gd name="connsiteX254" fmla="*/ 550529 w 6512821"/>
                <a:gd name="connsiteY254" fmla="*/ 1638430 h 1648590"/>
                <a:gd name="connsiteX255" fmla="*/ 436359 w 6512821"/>
                <a:gd name="connsiteY255" fmla="*/ 1638430 h 1648590"/>
                <a:gd name="connsiteX256" fmla="*/ 354819 w 6512821"/>
                <a:gd name="connsiteY256" fmla="*/ 1345809 h 1648590"/>
                <a:gd name="connsiteX257" fmla="*/ 272236 w 6512821"/>
                <a:gd name="connsiteY257" fmla="*/ 1638430 h 1648590"/>
                <a:gd name="connsiteX258" fmla="*/ 158066 w 6512821"/>
                <a:gd name="connsiteY258" fmla="*/ 1638430 h 1648590"/>
                <a:gd name="connsiteX259" fmla="*/ 7099 w 6512821"/>
                <a:gd name="connsiteY259" fmla="*/ 1157198 h 1648590"/>
                <a:gd name="connsiteX260" fmla="*/ 145757 w 6512821"/>
                <a:gd name="connsiteY260" fmla="*/ 1157198 h 1648590"/>
                <a:gd name="connsiteX261" fmla="*/ 218114 w 6512821"/>
                <a:gd name="connsiteY261" fmla="*/ 1436533 h 1648590"/>
                <a:gd name="connsiteX262" fmla="*/ 299655 w 6512821"/>
                <a:gd name="connsiteY262" fmla="*/ 1157198 h 1648590"/>
                <a:gd name="connsiteX263" fmla="*/ 412848 w 6512821"/>
                <a:gd name="connsiteY263" fmla="*/ 1157198 h 1648590"/>
                <a:gd name="connsiteX264" fmla="*/ 494388 w 6512821"/>
                <a:gd name="connsiteY264" fmla="*/ 1436533 h 1648590"/>
                <a:gd name="connsiteX265" fmla="*/ 567788 w 6512821"/>
                <a:gd name="connsiteY265" fmla="*/ 1157198 h 1648590"/>
                <a:gd name="connsiteX266" fmla="*/ 702343 w 6512821"/>
                <a:gd name="connsiteY266" fmla="*/ 1157198 h 1648590"/>
                <a:gd name="connsiteX267" fmla="*/ 4436990 w 6512821"/>
                <a:gd name="connsiteY267" fmla="*/ 16282 h 1648590"/>
                <a:gd name="connsiteX268" fmla="*/ 4436990 w 6512821"/>
                <a:gd name="connsiteY268" fmla="*/ 115147 h 1648590"/>
                <a:gd name="connsiteX269" fmla="*/ 4374792 w 6512821"/>
                <a:gd name="connsiteY269" fmla="*/ 104921 h 1648590"/>
                <a:gd name="connsiteX270" fmla="*/ 4322820 w 6512821"/>
                <a:gd name="connsiteY270" fmla="*/ 144715 h 1648590"/>
                <a:gd name="connsiteX271" fmla="*/ 4322820 w 6512821"/>
                <a:gd name="connsiteY271" fmla="*/ 186527 h 1648590"/>
                <a:gd name="connsiteX272" fmla="*/ 4404361 w 6512821"/>
                <a:gd name="connsiteY272" fmla="*/ 186527 h 1648590"/>
                <a:gd name="connsiteX273" fmla="*/ 4404361 w 6512821"/>
                <a:gd name="connsiteY273" fmla="*/ 302781 h 1648590"/>
                <a:gd name="connsiteX274" fmla="*/ 4322820 w 6512821"/>
                <a:gd name="connsiteY274" fmla="*/ 302781 h 1648590"/>
                <a:gd name="connsiteX275" fmla="*/ 4322820 w 6512821"/>
                <a:gd name="connsiteY275" fmla="*/ 667759 h 1648590"/>
                <a:gd name="connsiteX276" fmla="*/ 4202528 w 6512821"/>
                <a:gd name="connsiteY276" fmla="*/ 667759 h 1648590"/>
                <a:gd name="connsiteX277" fmla="*/ 4202528 w 6512821"/>
                <a:gd name="connsiteY277" fmla="*/ 302781 h 1648590"/>
                <a:gd name="connsiteX278" fmla="*/ 4143392 w 6512821"/>
                <a:gd name="connsiteY278" fmla="*/ 302781 h 1648590"/>
                <a:gd name="connsiteX279" fmla="*/ 4143392 w 6512821"/>
                <a:gd name="connsiteY279" fmla="*/ 186527 h 1648590"/>
                <a:gd name="connsiteX280" fmla="*/ 4202528 w 6512821"/>
                <a:gd name="connsiteY280" fmla="*/ 186527 h 1648590"/>
                <a:gd name="connsiteX281" fmla="*/ 4202528 w 6512821"/>
                <a:gd name="connsiteY281" fmla="*/ 128433 h 1648590"/>
                <a:gd name="connsiteX282" fmla="*/ 4348350 w 6512821"/>
                <a:gd name="connsiteY282" fmla="*/ 2019 h 1648590"/>
                <a:gd name="connsiteX283" fmla="*/ 4437055 w 6512821"/>
                <a:gd name="connsiteY283" fmla="*/ 16282 h 1648590"/>
                <a:gd name="connsiteX284" fmla="*/ 2957602 w 6512821"/>
                <a:gd name="connsiteY284" fmla="*/ 527083 h 1648590"/>
                <a:gd name="connsiteX285" fmla="*/ 2940278 w 6512821"/>
                <a:gd name="connsiteY285" fmla="*/ 649458 h 1648590"/>
                <a:gd name="connsiteX286" fmla="*/ 2843433 w 6512821"/>
                <a:gd name="connsiteY286" fmla="*/ 677984 h 1648590"/>
                <a:gd name="connsiteX287" fmla="*/ 2712916 w 6512821"/>
                <a:gd name="connsiteY287" fmla="*/ 535224 h 1648590"/>
                <a:gd name="connsiteX288" fmla="*/ 2712916 w 6512821"/>
                <a:gd name="connsiteY288" fmla="*/ 301739 h 1648590"/>
                <a:gd name="connsiteX289" fmla="*/ 2629291 w 6512821"/>
                <a:gd name="connsiteY289" fmla="*/ 301739 h 1648590"/>
                <a:gd name="connsiteX290" fmla="*/ 2629291 w 6512821"/>
                <a:gd name="connsiteY290" fmla="*/ 186527 h 1648590"/>
                <a:gd name="connsiteX291" fmla="*/ 2712916 w 6512821"/>
                <a:gd name="connsiteY291" fmla="*/ 186527 h 1648590"/>
                <a:gd name="connsiteX292" fmla="*/ 2712916 w 6512821"/>
                <a:gd name="connsiteY292" fmla="*/ 61155 h 1648590"/>
                <a:gd name="connsiteX293" fmla="*/ 2833208 w 6512821"/>
                <a:gd name="connsiteY293" fmla="*/ 0 h 1648590"/>
                <a:gd name="connsiteX294" fmla="*/ 2833208 w 6512821"/>
                <a:gd name="connsiteY294" fmla="*/ 186592 h 1648590"/>
                <a:gd name="connsiteX295" fmla="*/ 2945358 w 6512821"/>
                <a:gd name="connsiteY295" fmla="*/ 186592 h 1648590"/>
                <a:gd name="connsiteX296" fmla="*/ 2945358 w 6512821"/>
                <a:gd name="connsiteY296" fmla="*/ 301804 h 1648590"/>
                <a:gd name="connsiteX297" fmla="*/ 2833208 w 6512821"/>
                <a:gd name="connsiteY297" fmla="*/ 301804 h 1648590"/>
                <a:gd name="connsiteX298" fmla="*/ 2833208 w 6512821"/>
                <a:gd name="connsiteY298" fmla="*/ 503701 h 1648590"/>
                <a:gd name="connsiteX299" fmla="*/ 2880100 w 6512821"/>
                <a:gd name="connsiteY299" fmla="*/ 560819 h 1648590"/>
                <a:gd name="connsiteX300" fmla="*/ 2957602 w 6512821"/>
                <a:gd name="connsiteY300" fmla="*/ 527148 h 1648590"/>
                <a:gd name="connsiteX301" fmla="*/ 2397891 w 6512821"/>
                <a:gd name="connsiteY301" fmla="*/ 426134 h 1648590"/>
                <a:gd name="connsiteX302" fmla="*/ 2395872 w 6512821"/>
                <a:gd name="connsiteY302" fmla="*/ 467946 h 1648590"/>
                <a:gd name="connsiteX303" fmla="*/ 2114453 w 6512821"/>
                <a:gd name="connsiteY303" fmla="*/ 467946 h 1648590"/>
                <a:gd name="connsiteX304" fmla="*/ 2218462 w 6512821"/>
                <a:gd name="connsiteY304" fmla="*/ 562773 h 1648590"/>
                <a:gd name="connsiteX305" fmla="*/ 2301045 w 6512821"/>
                <a:gd name="connsiteY305" fmla="*/ 529102 h 1648590"/>
                <a:gd name="connsiteX306" fmla="*/ 2386689 w 6512821"/>
                <a:gd name="connsiteY306" fmla="*/ 601459 h 1648590"/>
                <a:gd name="connsiteX307" fmla="*/ 2210321 w 6512821"/>
                <a:gd name="connsiteY307" fmla="*/ 677919 h 1648590"/>
                <a:gd name="connsiteX308" fmla="*/ 1991100 w 6512821"/>
                <a:gd name="connsiteY308" fmla="*/ 429130 h 1648590"/>
                <a:gd name="connsiteX309" fmla="*/ 2205176 w 6512821"/>
                <a:gd name="connsiteY309" fmla="*/ 176302 h 1648590"/>
                <a:gd name="connsiteX310" fmla="*/ 2397891 w 6512821"/>
                <a:gd name="connsiteY310" fmla="*/ 426069 h 1648590"/>
                <a:gd name="connsiteX311" fmla="*/ 2116472 w 6512821"/>
                <a:gd name="connsiteY311" fmla="*/ 374162 h 1648590"/>
                <a:gd name="connsiteX312" fmla="*/ 2287759 w 6512821"/>
                <a:gd name="connsiteY312" fmla="*/ 374162 h 1648590"/>
                <a:gd name="connsiteX313" fmla="*/ 2199054 w 6512821"/>
                <a:gd name="connsiteY313" fmla="*/ 283438 h 1648590"/>
                <a:gd name="connsiteX314" fmla="*/ 2116472 w 6512821"/>
                <a:gd name="connsiteY314" fmla="*/ 374162 h 1648590"/>
                <a:gd name="connsiteX315" fmla="*/ 1933982 w 6512821"/>
                <a:gd name="connsiteY315" fmla="*/ 428218 h 1648590"/>
                <a:gd name="connsiteX316" fmla="*/ 1746413 w 6512821"/>
                <a:gd name="connsiteY316" fmla="*/ 677984 h 1648590"/>
                <a:gd name="connsiteX317" fmla="*/ 1639342 w 6512821"/>
                <a:gd name="connsiteY317" fmla="*/ 638191 h 1648590"/>
                <a:gd name="connsiteX318" fmla="*/ 1639342 w 6512821"/>
                <a:gd name="connsiteY318" fmla="*/ 784990 h 1648590"/>
                <a:gd name="connsiteX319" fmla="*/ 1519050 w 6512821"/>
                <a:gd name="connsiteY319" fmla="*/ 845169 h 1648590"/>
                <a:gd name="connsiteX320" fmla="*/ 1519050 w 6512821"/>
                <a:gd name="connsiteY320" fmla="*/ 186527 h 1648590"/>
                <a:gd name="connsiteX321" fmla="*/ 1639342 w 6512821"/>
                <a:gd name="connsiteY321" fmla="*/ 186527 h 1648590"/>
                <a:gd name="connsiteX322" fmla="*/ 1639342 w 6512821"/>
                <a:gd name="connsiteY322" fmla="*/ 219157 h 1648590"/>
                <a:gd name="connsiteX323" fmla="*/ 1748432 w 6512821"/>
                <a:gd name="connsiteY323" fmla="*/ 176367 h 1648590"/>
                <a:gd name="connsiteX324" fmla="*/ 1933982 w 6512821"/>
                <a:gd name="connsiteY324" fmla="*/ 428218 h 1648590"/>
                <a:gd name="connsiteX325" fmla="*/ 1809587 w 6512821"/>
                <a:gd name="connsiteY325" fmla="*/ 434340 h 1648590"/>
                <a:gd name="connsiteX326" fmla="*/ 1718864 w 6512821"/>
                <a:gd name="connsiteY326" fmla="*/ 292621 h 1648590"/>
                <a:gd name="connsiteX327" fmla="*/ 1639342 w 6512821"/>
                <a:gd name="connsiteY327" fmla="*/ 335410 h 1648590"/>
                <a:gd name="connsiteX328" fmla="*/ 1639342 w 6512821"/>
                <a:gd name="connsiteY328" fmla="*/ 518942 h 1648590"/>
                <a:gd name="connsiteX329" fmla="*/ 1726028 w 6512821"/>
                <a:gd name="connsiteY329" fmla="*/ 562773 h 1648590"/>
                <a:gd name="connsiteX330" fmla="*/ 1809652 w 6512821"/>
                <a:gd name="connsiteY330" fmla="*/ 434340 h 1648590"/>
                <a:gd name="connsiteX331" fmla="*/ 1435426 w 6512821"/>
                <a:gd name="connsiteY331" fmla="*/ 667825 h 1648590"/>
                <a:gd name="connsiteX332" fmla="*/ 1315134 w 6512821"/>
                <a:gd name="connsiteY332" fmla="*/ 667825 h 1648590"/>
                <a:gd name="connsiteX333" fmla="*/ 1315134 w 6512821"/>
                <a:gd name="connsiteY333" fmla="*/ 634153 h 1648590"/>
                <a:gd name="connsiteX334" fmla="*/ 1202983 w 6512821"/>
                <a:gd name="connsiteY334" fmla="*/ 677984 h 1648590"/>
                <a:gd name="connsiteX335" fmla="*/ 1033715 w 6512821"/>
                <a:gd name="connsiteY335" fmla="*/ 510800 h 1648590"/>
                <a:gd name="connsiteX336" fmla="*/ 1221284 w 6512821"/>
                <a:gd name="connsiteY336" fmla="*/ 348696 h 1648590"/>
                <a:gd name="connsiteX337" fmla="*/ 1315069 w 6512821"/>
                <a:gd name="connsiteY337" fmla="*/ 368040 h 1648590"/>
                <a:gd name="connsiteX338" fmla="*/ 1315069 w 6512821"/>
                <a:gd name="connsiteY338" fmla="*/ 342574 h 1648590"/>
                <a:gd name="connsiteX339" fmla="*/ 1232486 w 6512821"/>
                <a:gd name="connsiteY339" fmla="*/ 279335 h 1648590"/>
                <a:gd name="connsiteX340" fmla="*/ 1121378 w 6512821"/>
                <a:gd name="connsiteY340" fmla="*/ 310922 h 1648590"/>
                <a:gd name="connsiteX341" fmla="*/ 1073443 w 6512821"/>
                <a:gd name="connsiteY341" fmla="*/ 225278 h 1648590"/>
                <a:gd name="connsiteX342" fmla="*/ 1239650 w 6512821"/>
                <a:gd name="connsiteY342" fmla="*/ 176367 h 1648590"/>
                <a:gd name="connsiteX343" fmla="*/ 1435426 w 6512821"/>
                <a:gd name="connsiteY343" fmla="*/ 344593 h 1648590"/>
                <a:gd name="connsiteX344" fmla="*/ 1435426 w 6512821"/>
                <a:gd name="connsiteY344" fmla="*/ 667759 h 1648590"/>
                <a:gd name="connsiteX345" fmla="*/ 1315134 w 6512821"/>
                <a:gd name="connsiteY345" fmla="*/ 527083 h 1648590"/>
                <a:gd name="connsiteX346" fmla="*/ 1315134 w 6512821"/>
                <a:gd name="connsiteY346" fmla="*/ 465927 h 1648590"/>
                <a:gd name="connsiteX347" fmla="*/ 1234570 w 6512821"/>
                <a:gd name="connsiteY347" fmla="*/ 445542 h 1648590"/>
                <a:gd name="connsiteX348" fmla="*/ 1156091 w 6512821"/>
                <a:gd name="connsiteY348" fmla="*/ 507740 h 1648590"/>
                <a:gd name="connsiteX349" fmla="*/ 1224410 w 6512821"/>
                <a:gd name="connsiteY349" fmla="*/ 574040 h 1648590"/>
                <a:gd name="connsiteX350" fmla="*/ 1315134 w 6512821"/>
                <a:gd name="connsiteY350" fmla="*/ 527148 h 1648590"/>
                <a:gd name="connsiteX351" fmla="*/ 967480 w 6512821"/>
                <a:gd name="connsiteY351" fmla="*/ 667825 h 1648590"/>
                <a:gd name="connsiteX352" fmla="*/ 847188 w 6512821"/>
                <a:gd name="connsiteY352" fmla="*/ 667825 h 1648590"/>
                <a:gd name="connsiteX353" fmla="*/ 847188 w 6512821"/>
                <a:gd name="connsiteY353" fmla="*/ 405814 h 1648590"/>
                <a:gd name="connsiteX354" fmla="*/ 765647 w 6512821"/>
                <a:gd name="connsiteY354" fmla="*/ 292621 h 1648590"/>
                <a:gd name="connsiteX355" fmla="*/ 683065 w 6512821"/>
                <a:gd name="connsiteY355" fmla="*/ 402753 h 1648590"/>
                <a:gd name="connsiteX356" fmla="*/ 683065 w 6512821"/>
                <a:gd name="connsiteY356" fmla="*/ 667825 h 1648590"/>
                <a:gd name="connsiteX357" fmla="*/ 562773 w 6512821"/>
                <a:gd name="connsiteY357" fmla="*/ 667825 h 1648590"/>
                <a:gd name="connsiteX358" fmla="*/ 562773 w 6512821"/>
                <a:gd name="connsiteY358" fmla="*/ 61221 h 1648590"/>
                <a:gd name="connsiteX359" fmla="*/ 683065 w 6512821"/>
                <a:gd name="connsiteY359" fmla="*/ 65 h 1648590"/>
                <a:gd name="connsiteX360" fmla="*/ 683065 w 6512821"/>
                <a:gd name="connsiteY360" fmla="*/ 220264 h 1648590"/>
                <a:gd name="connsiteX361" fmla="*/ 796258 w 6512821"/>
                <a:gd name="connsiteY361" fmla="*/ 176432 h 1648590"/>
                <a:gd name="connsiteX362" fmla="*/ 967545 w 6512821"/>
                <a:gd name="connsiteY362" fmla="*/ 396631 h 1648590"/>
                <a:gd name="connsiteX363" fmla="*/ 967545 w 6512821"/>
                <a:gd name="connsiteY363" fmla="*/ 667825 h 1648590"/>
                <a:gd name="connsiteX364" fmla="*/ 496472 w 6512821"/>
                <a:gd name="connsiteY364" fmla="*/ 475110 h 1648590"/>
                <a:gd name="connsiteX365" fmla="*/ 255889 w 6512821"/>
                <a:gd name="connsiteY365" fmla="*/ 677984 h 1648590"/>
                <a:gd name="connsiteX366" fmla="*/ 0 w 6512821"/>
                <a:gd name="connsiteY366" fmla="*/ 562773 h 1648590"/>
                <a:gd name="connsiteX367" fmla="*/ 89747 w 6512821"/>
                <a:gd name="connsiteY367" fmla="*/ 483251 h 1648590"/>
                <a:gd name="connsiteX368" fmla="*/ 252893 w 6512821"/>
                <a:gd name="connsiteY368" fmla="*/ 556651 h 1648590"/>
                <a:gd name="connsiteX369" fmla="*/ 367063 w 6512821"/>
                <a:gd name="connsiteY369" fmla="*/ 478171 h 1648590"/>
                <a:gd name="connsiteX370" fmla="*/ 329353 w 6512821"/>
                <a:gd name="connsiteY370" fmla="*/ 426199 h 1648590"/>
                <a:gd name="connsiteX371" fmla="*/ 225344 w 6512821"/>
                <a:gd name="connsiteY371" fmla="*/ 394612 h 1648590"/>
                <a:gd name="connsiteX372" fmla="*/ 79522 w 6512821"/>
                <a:gd name="connsiteY372" fmla="*/ 335475 h 1648590"/>
                <a:gd name="connsiteX373" fmla="*/ 24488 w 6512821"/>
                <a:gd name="connsiteY373" fmla="*/ 207042 h 1648590"/>
                <a:gd name="connsiteX374" fmla="*/ 254912 w 6512821"/>
                <a:gd name="connsiteY374" fmla="*/ 16412 h 1648590"/>
                <a:gd name="connsiteX375" fmla="*/ 482274 w 6512821"/>
                <a:gd name="connsiteY375" fmla="*/ 115277 h 1648590"/>
                <a:gd name="connsiteX376" fmla="*/ 392528 w 6512821"/>
                <a:gd name="connsiteY376" fmla="*/ 202939 h 1648590"/>
                <a:gd name="connsiteX377" fmla="*/ 246706 w 6512821"/>
                <a:gd name="connsiteY377" fmla="*/ 137681 h 1648590"/>
                <a:gd name="connsiteX378" fmla="*/ 152921 w 6512821"/>
                <a:gd name="connsiteY378" fmla="*/ 199878 h 1648590"/>
                <a:gd name="connsiteX379" fmla="*/ 179428 w 6512821"/>
                <a:gd name="connsiteY379" fmla="*/ 243710 h 1648590"/>
                <a:gd name="connsiteX380" fmla="*/ 282396 w 6512821"/>
                <a:gd name="connsiteY380" fmla="*/ 277381 h 1648590"/>
                <a:gd name="connsiteX381" fmla="*/ 438378 w 6512821"/>
                <a:gd name="connsiteY381" fmla="*/ 341598 h 1648590"/>
                <a:gd name="connsiteX382" fmla="*/ 496472 w 6512821"/>
                <a:gd name="connsiteY382" fmla="*/ 475176 h 1648590"/>
                <a:gd name="connsiteX383" fmla="*/ 6100885 w 6512821"/>
                <a:gd name="connsiteY383" fmla="*/ 208996 h 1648590"/>
                <a:gd name="connsiteX384" fmla="*/ 6051778 w 6512821"/>
                <a:gd name="connsiteY384" fmla="*/ 329288 h 1648590"/>
                <a:gd name="connsiteX385" fmla="*/ 5982482 w 6512821"/>
                <a:gd name="connsiteY385" fmla="*/ 299720 h 1648590"/>
                <a:gd name="connsiteX386" fmla="*/ 5911232 w 6512821"/>
                <a:gd name="connsiteY386" fmla="*/ 405749 h 1648590"/>
                <a:gd name="connsiteX387" fmla="*/ 5911232 w 6512821"/>
                <a:gd name="connsiteY387" fmla="*/ 667759 h 1648590"/>
                <a:gd name="connsiteX388" fmla="*/ 5790940 w 6512821"/>
                <a:gd name="connsiteY388" fmla="*/ 667759 h 1648590"/>
                <a:gd name="connsiteX389" fmla="*/ 5790940 w 6512821"/>
                <a:gd name="connsiteY389" fmla="*/ 186527 h 1648590"/>
                <a:gd name="connsiteX390" fmla="*/ 5911232 w 6512821"/>
                <a:gd name="connsiteY390" fmla="*/ 186527 h 1648590"/>
                <a:gd name="connsiteX391" fmla="*/ 5911232 w 6512821"/>
                <a:gd name="connsiteY391" fmla="*/ 220198 h 1648590"/>
                <a:gd name="connsiteX392" fmla="*/ 6012181 w 6512821"/>
                <a:gd name="connsiteY392" fmla="*/ 176367 h 1648590"/>
                <a:gd name="connsiteX393" fmla="*/ 6100885 w 6512821"/>
                <a:gd name="connsiteY393" fmla="*/ 208996 h 1648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</a:cxnLst>
              <a:rect l="l" t="t" r="r" b="b"/>
              <a:pathLst>
                <a:path w="6512821" h="1648590">
                  <a:moveTo>
                    <a:pt x="5071143" y="1396740"/>
                  </a:moveTo>
                  <a:cubicBezTo>
                    <a:pt x="5071143" y="1412045"/>
                    <a:pt x="5070101" y="1431388"/>
                    <a:pt x="5069124" y="1438552"/>
                  </a:cubicBezTo>
                  <a:lnTo>
                    <a:pt x="4777545" y="1438552"/>
                  </a:lnTo>
                  <a:cubicBezTo>
                    <a:pt x="4782625" y="1505829"/>
                    <a:pt x="4828541" y="1533378"/>
                    <a:pt x="4880513" y="1533378"/>
                  </a:cubicBezTo>
                  <a:cubicBezTo>
                    <a:pt x="4911123" y="1533378"/>
                    <a:pt x="4939649" y="1524196"/>
                    <a:pt x="4964137" y="1499707"/>
                  </a:cubicBezTo>
                  <a:lnTo>
                    <a:pt x="5049781" y="1572065"/>
                  </a:lnTo>
                  <a:cubicBezTo>
                    <a:pt x="5004908" y="1628140"/>
                    <a:pt x="4936588" y="1648525"/>
                    <a:pt x="4875433" y="1648525"/>
                  </a:cubicBezTo>
                  <a:cubicBezTo>
                    <a:pt x="4734756" y="1648525"/>
                    <a:pt x="4654192" y="1540478"/>
                    <a:pt x="4654192" y="1398759"/>
                  </a:cubicBezTo>
                  <a:cubicBezTo>
                    <a:pt x="4654192" y="1244795"/>
                    <a:pt x="4749019" y="1146908"/>
                    <a:pt x="4867292" y="1146908"/>
                  </a:cubicBezTo>
                  <a:cubicBezTo>
                    <a:pt x="4993706" y="1146908"/>
                    <a:pt x="5071208" y="1258016"/>
                    <a:pt x="5071208" y="1396675"/>
                  </a:cubicBezTo>
                  <a:close/>
                  <a:moveTo>
                    <a:pt x="4779564" y="1344767"/>
                  </a:moveTo>
                  <a:lnTo>
                    <a:pt x="4950851" y="1344767"/>
                  </a:lnTo>
                  <a:cubicBezTo>
                    <a:pt x="4946748" y="1290711"/>
                    <a:pt x="4912100" y="1254044"/>
                    <a:pt x="4863189" y="1254044"/>
                  </a:cubicBezTo>
                  <a:cubicBezTo>
                    <a:pt x="4805094" y="1254044"/>
                    <a:pt x="4782625" y="1305039"/>
                    <a:pt x="4779564" y="1344767"/>
                  </a:cubicBezTo>
                  <a:close/>
                  <a:moveTo>
                    <a:pt x="6512756" y="1396740"/>
                  </a:moveTo>
                  <a:cubicBezTo>
                    <a:pt x="6512756" y="1412045"/>
                    <a:pt x="6511714" y="1431388"/>
                    <a:pt x="6510737" y="1438552"/>
                  </a:cubicBezTo>
                  <a:lnTo>
                    <a:pt x="6219158" y="1438552"/>
                  </a:lnTo>
                  <a:cubicBezTo>
                    <a:pt x="6224238" y="1505829"/>
                    <a:pt x="6270154" y="1533378"/>
                    <a:pt x="6322126" y="1533378"/>
                  </a:cubicBezTo>
                  <a:cubicBezTo>
                    <a:pt x="6352736" y="1533378"/>
                    <a:pt x="6381262" y="1524196"/>
                    <a:pt x="6405751" y="1499707"/>
                  </a:cubicBezTo>
                  <a:lnTo>
                    <a:pt x="6491394" y="1572065"/>
                  </a:lnTo>
                  <a:cubicBezTo>
                    <a:pt x="6446521" y="1628140"/>
                    <a:pt x="6378201" y="1648525"/>
                    <a:pt x="6317046" y="1648525"/>
                  </a:cubicBezTo>
                  <a:cubicBezTo>
                    <a:pt x="6176369" y="1648525"/>
                    <a:pt x="6095805" y="1540478"/>
                    <a:pt x="6095805" y="1398759"/>
                  </a:cubicBezTo>
                  <a:cubicBezTo>
                    <a:pt x="6095805" y="1244795"/>
                    <a:pt x="6190632" y="1146908"/>
                    <a:pt x="6308905" y="1146908"/>
                  </a:cubicBezTo>
                  <a:cubicBezTo>
                    <a:pt x="6435319" y="1146908"/>
                    <a:pt x="6512821" y="1258016"/>
                    <a:pt x="6512821" y="1396675"/>
                  </a:cubicBezTo>
                  <a:close/>
                  <a:moveTo>
                    <a:pt x="6221177" y="1344767"/>
                  </a:moveTo>
                  <a:lnTo>
                    <a:pt x="6392465" y="1344767"/>
                  </a:lnTo>
                  <a:cubicBezTo>
                    <a:pt x="6388361" y="1290711"/>
                    <a:pt x="6353713" y="1254044"/>
                    <a:pt x="6304802" y="1254044"/>
                  </a:cubicBezTo>
                  <a:cubicBezTo>
                    <a:pt x="6246708" y="1254044"/>
                    <a:pt x="6224238" y="1305039"/>
                    <a:pt x="6221177" y="1344767"/>
                  </a:cubicBezTo>
                  <a:close/>
                  <a:moveTo>
                    <a:pt x="5978509" y="1467143"/>
                  </a:moveTo>
                  <a:lnTo>
                    <a:pt x="6058031" y="1542561"/>
                  </a:lnTo>
                  <a:cubicBezTo>
                    <a:pt x="6017261" y="1594534"/>
                    <a:pt x="5961185" y="1648590"/>
                    <a:pt x="5866359" y="1648590"/>
                  </a:cubicBezTo>
                  <a:cubicBezTo>
                    <a:pt x="5734865" y="1648590"/>
                    <a:pt x="5637954" y="1543604"/>
                    <a:pt x="5637954" y="1398823"/>
                  </a:cubicBezTo>
                  <a:cubicBezTo>
                    <a:pt x="5637954" y="1266288"/>
                    <a:pt x="5718518" y="1146973"/>
                    <a:pt x="5868378" y="1146973"/>
                  </a:cubicBezTo>
                  <a:cubicBezTo>
                    <a:pt x="5954021" y="1146973"/>
                    <a:pt x="6013157" y="1185724"/>
                    <a:pt x="6056989" y="1250983"/>
                  </a:cubicBezTo>
                  <a:lnTo>
                    <a:pt x="5975448" y="1333565"/>
                  </a:lnTo>
                  <a:cubicBezTo>
                    <a:pt x="5946922" y="1295856"/>
                    <a:pt x="5916312" y="1266288"/>
                    <a:pt x="5867401" y="1266288"/>
                  </a:cubicBezTo>
                  <a:cubicBezTo>
                    <a:pt x="5801100" y="1266288"/>
                    <a:pt x="5766452" y="1322363"/>
                    <a:pt x="5766452" y="1396804"/>
                  </a:cubicBezTo>
                  <a:cubicBezTo>
                    <a:pt x="5766452" y="1466101"/>
                    <a:pt x="5797062" y="1528299"/>
                    <a:pt x="5868378" y="1528299"/>
                  </a:cubicBezTo>
                  <a:cubicBezTo>
                    <a:pt x="5912209" y="1528299"/>
                    <a:pt x="5948941" y="1504852"/>
                    <a:pt x="5978509" y="1467143"/>
                  </a:cubicBezTo>
                  <a:close/>
                  <a:moveTo>
                    <a:pt x="4869246" y="667825"/>
                  </a:moveTo>
                  <a:lnTo>
                    <a:pt x="4750973" y="667825"/>
                  </a:lnTo>
                  <a:lnTo>
                    <a:pt x="4750973" y="634153"/>
                  </a:lnTo>
                  <a:cubicBezTo>
                    <a:pt x="4724466" y="663721"/>
                    <a:pt x="4681676" y="677984"/>
                    <a:pt x="4638822" y="677984"/>
                  </a:cubicBezTo>
                  <a:cubicBezTo>
                    <a:pt x="4514427" y="677984"/>
                    <a:pt x="4467535" y="588238"/>
                    <a:pt x="4467535" y="458763"/>
                  </a:cubicBezTo>
                  <a:lnTo>
                    <a:pt x="4467535" y="186527"/>
                  </a:lnTo>
                  <a:lnTo>
                    <a:pt x="4587827" y="186527"/>
                  </a:lnTo>
                  <a:lnTo>
                    <a:pt x="4587827" y="448538"/>
                  </a:lnTo>
                  <a:cubicBezTo>
                    <a:pt x="4587827" y="513797"/>
                    <a:pt x="4601113" y="562708"/>
                    <a:pt x="4668390" y="562708"/>
                  </a:cubicBezTo>
                  <a:cubicBezTo>
                    <a:pt x="4735668" y="562708"/>
                    <a:pt x="4748954" y="511712"/>
                    <a:pt x="4748954" y="452576"/>
                  </a:cubicBezTo>
                  <a:lnTo>
                    <a:pt x="4748954" y="186462"/>
                  </a:lnTo>
                  <a:lnTo>
                    <a:pt x="4869246" y="186462"/>
                  </a:lnTo>
                  <a:lnTo>
                    <a:pt x="4869246" y="667695"/>
                  </a:lnTo>
                  <a:close/>
                  <a:moveTo>
                    <a:pt x="5244449" y="527083"/>
                  </a:moveTo>
                  <a:lnTo>
                    <a:pt x="5227125" y="649458"/>
                  </a:lnTo>
                  <a:cubicBezTo>
                    <a:pt x="5202637" y="668802"/>
                    <a:pt x="5157829" y="677984"/>
                    <a:pt x="5128261" y="677984"/>
                  </a:cubicBezTo>
                  <a:cubicBezTo>
                    <a:pt x="5054861" y="677984"/>
                    <a:pt x="4997744" y="622951"/>
                    <a:pt x="4997744" y="535224"/>
                  </a:cubicBezTo>
                  <a:lnTo>
                    <a:pt x="4997744" y="301739"/>
                  </a:lnTo>
                  <a:lnTo>
                    <a:pt x="4928447" y="301739"/>
                  </a:lnTo>
                  <a:lnTo>
                    <a:pt x="4928447" y="186527"/>
                  </a:lnTo>
                  <a:lnTo>
                    <a:pt x="4997744" y="186527"/>
                  </a:lnTo>
                  <a:lnTo>
                    <a:pt x="4997744" y="61155"/>
                  </a:lnTo>
                  <a:lnTo>
                    <a:pt x="5118035" y="0"/>
                  </a:lnTo>
                  <a:lnTo>
                    <a:pt x="5118035" y="186592"/>
                  </a:lnTo>
                  <a:lnTo>
                    <a:pt x="5232205" y="186592"/>
                  </a:lnTo>
                  <a:lnTo>
                    <a:pt x="5232205" y="301804"/>
                  </a:lnTo>
                  <a:lnTo>
                    <a:pt x="5118035" y="301804"/>
                  </a:lnTo>
                  <a:lnTo>
                    <a:pt x="5118035" y="503701"/>
                  </a:lnTo>
                  <a:cubicBezTo>
                    <a:pt x="5118035" y="545514"/>
                    <a:pt x="5135360" y="560819"/>
                    <a:pt x="5164928" y="560819"/>
                  </a:cubicBezTo>
                  <a:cubicBezTo>
                    <a:pt x="5194496" y="560819"/>
                    <a:pt x="5225106" y="545514"/>
                    <a:pt x="5244449" y="527148"/>
                  </a:cubicBezTo>
                  <a:close/>
                  <a:moveTo>
                    <a:pt x="3417407" y="667825"/>
                  </a:moveTo>
                  <a:lnTo>
                    <a:pt x="3297116" y="667825"/>
                  </a:lnTo>
                  <a:lnTo>
                    <a:pt x="3297116" y="405814"/>
                  </a:lnTo>
                  <a:cubicBezTo>
                    <a:pt x="3297116" y="340555"/>
                    <a:pt x="3282853" y="292621"/>
                    <a:pt x="3215575" y="292621"/>
                  </a:cubicBezTo>
                  <a:cubicBezTo>
                    <a:pt x="3148298" y="292621"/>
                    <a:pt x="3132993" y="336452"/>
                    <a:pt x="3132993" y="402753"/>
                  </a:cubicBezTo>
                  <a:lnTo>
                    <a:pt x="3132993" y="667825"/>
                  </a:lnTo>
                  <a:lnTo>
                    <a:pt x="3012701" y="667825"/>
                  </a:lnTo>
                  <a:lnTo>
                    <a:pt x="3012701" y="61221"/>
                  </a:lnTo>
                  <a:lnTo>
                    <a:pt x="3132993" y="65"/>
                  </a:lnTo>
                  <a:lnTo>
                    <a:pt x="3132993" y="220264"/>
                  </a:lnTo>
                  <a:cubicBezTo>
                    <a:pt x="3159500" y="193756"/>
                    <a:pt x="3192129" y="176432"/>
                    <a:pt x="3246186" y="176432"/>
                  </a:cubicBezTo>
                  <a:cubicBezTo>
                    <a:pt x="3373641" y="176432"/>
                    <a:pt x="3417473" y="274320"/>
                    <a:pt x="3417473" y="396631"/>
                  </a:cubicBezTo>
                  <a:lnTo>
                    <a:pt x="3417473" y="667825"/>
                  </a:lnTo>
                  <a:close/>
                  <a:moveTo>
                    <a:pt x="5564554" y="1638365"/>
                  </a:moveTo>
                  <a:lnTo>
                    <a:pt x="5440160" y="1638365"/>
                  </a:lnTo>
                  <a:lnTo>
                    <a:pt x="5440160" y="1376355"/>
                  </a:lnTo>
                  <a:cubicBezTo>
                    <a:pt x="5440160" y="1309077"/>
                    <a:pt x="5424855" y="1264204"/>
                    <a:pt x="5357577" y="1264204"/>
                  </a:cubicBezTo>
                  <a:cubicBezTo>
                    <a:pt x="5294337" y="1264204"/>
                    <a:pt x="5273952" y="1301913"/>
                    <a:pt x="5273952" y="1373293"/>
                  </a:cubicBezTo>
                  <a:lnTo>
                    <a:pt x="5273952" y="1638365"/>
                  </a:lnTo>
                  <a:lnTo>
                    <a:pt x="5149558" y="1638365"/>
                  </a:lnTo>
                  <a:lnTo>
                    <a:pt x="5149558" y="1157133"/>
                  </a:lnTo>
                  <a:lnTo>
                    <a:pt x="5273952" y="1157133"/>
                  </a:lnTo>
                  <a:lnTo>
                    <a:pt x="5273952" y="1189762"/>
                  </a:lnTo>
                  <a:cubicBezTo>
                    <a:pt x="5299418" y="1164297"/>
                    <a:pt x="5337192" y="1146973"/>
                    <a:pt x="5391183" y="1146973"/>
                  </a:cubicBezTo>
                  <a:cubicBezTo>
                    <a:pt x="5521700" y="1146973"/>
                    <a:pt x="5564490" y="1247922"/>
                    <a:pt x="5564490" y="1366195"/>
                  </a:cubicBezTo>
                  <a:lnTo>
                    <a:pt x="5564490" y="1638430"/>
                  </a:lnTo>
                  <a:close/>
                  <a:moveTo>
                    <a:pt x="4008772" y="1115386"/>
                  </a:moveTo>
                  <a:cubicBezTo>
                    <a:pt x="4048565" y="1115386"/>
                    <a:pt x="4080152" y="1083798"/>
                    <a:pt x="4080152" y="1044005"/>
                  </a:cubicBezTo>
                  <a:cubicBezTo>
                    <a:pt x="4080152" y="1004212"/>
                    <a:pt x="4048565" y="972624"/>
                    <a:pt x="4008772" y="972624"/>
                  </a:cubicBezTo>
                  <a:cubicBezTo>
                    <a:pt x="3968978" y="972624"/>
                    <a:pt x="3937391" y="1004212"/>
                    <a:pt x="3937391" y="1044005"/>
                  </a:cubicBezTo>
                  <a:cubicBezTo>
                    <a:pt x="3937391" y="1083798"/>
                    <a:pt x="3968978" y="1115386"/>
                    <a:pt x="4008772" y="1115386"/>
                  </a:cubicBezTo>
                  <a:close/>
                  <a:moveTo>
                    <a:pt x="829864" y="1115386"/>
                  </a:moveTo>
                  <a:cubicBezTo>
                    <a:pt x="869657" y="1115386"/>
                    <a:pt x="901244" y="1083798"/>
                    <a:pt x="901244" y="1044005"/>
                  </a:cubicBezTo>
                  <a:cubicBezTo>
                    <a:pt x="901244" y="1004212"/>
                    <a:pt x="869657" y="972624"/>
                    <a:pt x="829864" y="972624"/>
                  </a:cubicBezTo>
                  <a:cubicBezTo>
                    <a:pt x="790070" y="972624"/>
                    <a:pt x="758483" y="1004212"/>
                    <a:pt x="758483" y="1044005"/>
                  </a:cubicBezTo>
                  <a:cubicBezTo>
                    <a:pt x="758483" y="1083798"/>
                    <a:pt x="790070" y="1115386"/>
                    <a:pt x="829864" y="1115386"/>
                  </a:cubicBezTo>
                  <a:close/>
                  <a:moveTo>
                    <a:pt x="6512756" y="426134"/>
                  </a:moveTo>
                  <a:cubicBezTo>
                    <a:pt x="6512756" y="441439"/>
                    <a:pt x="6511714" y="460782"/>
                    <a:pt x="6510737" y="467946"/>
                  </a:cubicBezTo>
                  <a:lnTo>
                    <a:pt x="6219158" y="467946"/>
                  </a:lnTo>
                  <a:cubicBezTo>
                    <a:pt x="6224238" y="535224"/>
                    <a:pt x="6270154" y="562773"/>
                    <a:pt x="6322126" y="562773"/>
                  </a:cubicBezTo>
                  <a:cubicBezTo>
                    <a:pt x="6352736" y="562773"/>
                    <a:pt x="6381262" y="553590"/>
                    <a:pt x="6405751" y="529102"/>
                  </a:cubicBezTo>
                  <a:lnTo>
                    <a:pt x="6491394" y="601459"/>
                  </a:lnTo>
                  <a:cubicBezTo>
                    <a:pt x="6446521" y="657535"/>
                    <a:pt x="6378201" y="677919"/>
                    <a:pt x="6317046" y="677919"/>
                  </a:cubicBezTo>
                  <a:cubicBezTo>
                    <a:pt x="6176369" y="677919"/>
                    <a:pt x="6095805" y="569872"/>
                    <a:pt x="6095805" y="428153"/>
                  </a:cubicBezTo>
                  <a:cubicBezTo>
                    <a:pt x="6095805" y="274190"/>
                    <a:pt x="6190632" y="176302"/>
                    <a:pt x="6308905" y="176302"/>
                  </a:cubicBezTo>
                  <a:cubicBezTo>
                    <a:pt x="6435319" y="176302"/>
                    <a:pt x="6512821" y="287411"/>
                    <a:pt x="6512821" y="426069"/>
                  </a:cubicBezTo>
                  <a:close/>
                  <a:moveTo>
                    <a:pt x="6221177" y="374162"/>
                  </a:moveTo>
                  <a:lnTo>
                    <a:pt x="6392465" y="374162"/>
                  </a:lnTo>
                  <a:cubicBezTo>
                    <a:pt x="6388361" y="320105"/>
                    <a:pt x="6353713" y="283438"/>
                    <a:pt x="6304802" y="283438"/>
                  </a:cubicBezTo>
                  <a:cubicBezTo>
                    <a:pt x="6246708" y="283438"/>
                    <a:pt x="6224238" y="334433"/>
                    <a:pt x="6221177" y="374162"/>
                  </a:cubicBezTo>
                  <a:close/>
                  <a:moveTo>
                    <a:pt x="5702235" y="667825"/>
                  </a:moveTo>
                  <a:lnTo>
                    <a:pt x="5583963" y="667825"/>
                  </a:lnTo>
                  <a:lnTo>
                    <a:pt x="5583963" y="634153"/>
                  </a:lnTo>
                  <a:cubicBezTo>
                    <a:pt x="5557456" y="663721"/>
                    <a:pt x="5514666" y="677984"/>
                    <a:pt x="5471812" y="677984"/>
                  </a:cubicBezTo>
                  <a:cubicBezTo>
                    <a:pt x="5347417" y="677984"/>
                    <a:pt x="5300525" y="588238"/>
                    <a:pt x="5300525" y="458763"/>
                  </a:cubicBezTo>
                  <a:lnTo>
                    <a:pt x="5300525" y="186527"/>
                  </a:lnTo>
                  <a:lnTo>
                    <a:pt x="5420817" y="186527"/>
                  </a:lnTo>
                  <a:lnTo>
                    <a:pt x="5420817" y="448538"/>
                  </a:lnTo>
                  <a:cubicBezTo>
                    <a:pt x="5420817" y="513797"/>
                    <a:pt x="5434103" y="562708"/>
                    <a:pt x="5501380" y="562708"/>
                  </a:cubicBezTo>
                  <a:cubicBezTo>
                    <a:pt x="5568657" y="562708"/>
                    <a:pt x="5581944" y="511712"/>
                    <a:pt x="5581944" y="452576"/>
                  </a:cubicBezTo>
                  <a:lnTo>
                    <a:pt x="5581944" y="186462"/>
                  </a:lnTo>
                  <a:lnTo>
                    <a:pt x="5702235" y="186462"/>
                  </a:lnTo>
                  <a:lnTo>
                    <a:pt x="5702235" y="667695"/>
                  </a:lnTo>
                  <a:close/>
                  <a:moveTo>
                    <a:pt x="3895579" y="426134"/>
                  </a:moveTo>
                  <a:cubicBezTo>
                    <a:pt x="3895579" y="441439"/>
                    <a:pt x="3894537" y="460782"/>
                    <a:pt x="3893560" y="467946"/>
                  </a:cubicBezTo>
                  <a:lnTo>
                    <a:pt x="3601981" y="467946"/>
                  </a:lnTo>
                  <a:cubicBezTo>
                    <a:pt x="3607061" y="535224"/>
                    <a:pt x="3652976" y="562773"/>
                    <a:pt x="3704949" y="562773"/>
                  </a:cubicBezTo>
                  <a:cubicBezTo>
                    <a:pt x="3735559" y="562773"/>
                    <a:pt x="3764085" y="553590"/>
                    <a:pt x="3788573" y="529102"/>
                  </a:cubicBezTo>
                  <a:lnTo>
                    <a:pt x="3874217" y="601459"/>
                  </a:lnTo>
                  <a:cubicBezTo>
                    <a:pt x="3829343" y="657535"/>
                    <a:pt x="3761024" y="677919"/>
                    <a:pt x="3699868" y="677919"/>
                  </a:cubicBezTo>
                  <a:cubicBezTo>
                    <a:pt x="3559192" y="677919"/>
                    <a:pt x="3478628" y="569872"/>
                    <a:pt x="3478628" y="428153"/>
                  </a:cubicBezTo>
                  <a:cubicBezTo>
                    <a:pt x="3478628" y="274190"/>
                    <a:pt x="3573455" y="176302"/>
                    <a:pt x="3691727" y="176302"/>
                  </a:cubicBezTo>
                  <a:cubicBezTo>
                    <a:pt x="3818141" y="176302"/>
                    <a:pt x="3895644" y="287411"/>
                    <a:pt x="3895644" y="426069"/>
                  </a:cubicBezTo>
                  <a:close/>
                  <a:moveTo>
                    <a:pt x="3604000" y="374162"/>
                  </a:moveTo>
                  <a:lnTo>
                    <a:pt x="3775287" y="374162"/>
                  </a:lnTo>
                  <a:cubicBezTo>
                    <a:pt x="3771184" y="320105"/>
                    <a:pt x="3736536" y="283438"/>
                    <a:pt x="3687624" y="283438"/>
                  </a:cubicBezTo>
                  <a:cubicBezTo>
                    <a:pt x="3629530" y="283438"/>
                    <a:pt x="3607061" y="334433"/>
                    <a:pt x="3604000" y="374162"/>
                  </a:cubicBezTo>
                  <a:close/>
                  <a:moveTo>
                    <a:pt x="4579686" y="1638365"/>
                  </a:moveTo>
                  <a:lnTo>
                    <a:pt x="4455291" y="1638365"/>
                  </a:lnTo>
                  <a:lnTo>
                    <a:pt x="4455291" y="1606778"/>
                  </a:lnTo>
                  <a:cubicBezTo>
                    <a:pt x="4414521" y="1636346"/>
                    <a:pt x="4390032" y="1648590"/>
                    <a:pt x="4346201" y="1648590"/>
                  </a:cubicBezTo>
                  <a:cubicBezTo>
                    <a:pt x="4207543" y="1648590"/>
                    <a:pt x="4148406" y="1528299"/>
                    <a:pt x="4148406" y="1393678"/>
                  </a:cubicBezTo>
                  <a:cubicBezTo>
                    <a:pt x="4148406" y="1247856"/>
                    <a:pt x="4217703" y="1146973"/>
                    <a:pt x="4343140" y="1146973"/>
                  </a:cubicBezTo>
                  <a:cubicBezTo>
                    <a:pt x="4384952" y="1146973"/>
                    <a:pt x="4424681" y="1158175"/>
                    <a:pt x="4455291" y="1185724"/>
                  </a:cubicBezTo>
                  <a:lnTo>
                    <a:pt x="4455291" y="1031761"/>
                  </a:lnTo>
                  <a:lnTo>
                    <a:pt x="4579686" y="969564"/>
                  </a:lnTo>
                  <a:lnTo>
                    <a:pt x="4579686" y="1638365"/>
                  </a:lnTo>
                  <a:close/>
                  <a:moveTo>
                    <a:pt x="4455356" y="1489547"/>
                  </a:moveTo>
                  <a:lnTo>
                    <a:pt x="4455356" y="1306016"/>
                  </a:lnTo>
                  <a:cubicBezTo>
                    <a:pt x="4428849" y="1277490"/>
                    <a:pt x="4403384" y="1264204"/>
                    <a:pt x="4368670" y="1264204"/>
                  </a:cubicBezTo>
                  <a:cubicBezTo>
                    <a:pt x="4296313" y="1264204"/>
                    <a:pt x="4278924" y="1321321"/>
                    <a:pt x="4278924" y="1389575"/>
                  </a:cubicBezTo>
                  <a:cubicBezTo>
                    <a:pt x="4278924" y="1467078"/>
                    <a:pt x="4301328" y="1531294"/>
                    <a:pt x="4371731" y="1531294"/>
                  </a:cubicBezTo>
                  <a:cubicBezTo>
                    <a:pt x="4406380" y="1531294"/>
                    <a:pt x="4430868" y="1515989"/>
                    <a:pt x="4455356" y="1489482"/>
                  </a:cubicBezTo>
                  <a:close/>
                  <a:moveTo>
                    <a:pt x="3945532" y="1157198"/>
                  </a:moveTo>
                  <a:lnTo>
                    <a:pt x="3945532" y="1638430"/>
                  </a:lnTo>
                  <a:lnTo>
                    <a:pt x="4069927" y="1638430"/>
                  </a:lnTo>
                  <a:lnTo>
                    <a:pt x="4069927" y="1157198"/>
                  </a:lnTo>
                  <a:lnTo>
                    <a:pt x="3945532" y="1157198"/>
                  </a:lnTo>
                  <a:close/>
                  <a:moveTo>
                    <a:pt x="3873175" y="985911"/>
                  </a:moveTo>
                  <a:lnTo>
                    <a:pt x="3873175" y="1085817"/>
                  </a:lnTo>
                  <a:cubicBezTo>
                    <a:pt x="3854809" y="1079695"/>
                    <a:pt x="3830386" y="1076634"/>
                    <a:pt x="3812019" y="1076634"/>
                  </a:cubicBezTo>
                  <a:cubicBezTo>
                    <a:pt x="3776329" y="1076634"/>
                    <a:pt x="3760047" y="1087836"/>
                    <a:pt x="3760047" y="1118447"/>
                  </a:cubicBezTo>
                  <a:lnTo>
                    <a:pt x="3760047" y="1157198"/>
                  </a:lnTo>
                  <a:lnTo>
                    <a:pt x="3863015" y="1157198"/>
                  </a:lnTo>
                  <a:lnTo>
                    <a:pt x="3863015" y="1273452"/>
                  </a:lnTo>
                  <a:lnTo>
                    <a:pt x="3760047" y="1273452"/>
                  </a:lnTo>
                  <a:lnTo>
                    <a:pt x="3760047" y="1638430"/>
                  </a:lnTo>
                  <a:lnTo>
                    <a:pt x="3635652" y="1638430"/>
                  </a:lnTo>
                  <a:lnTo>
                    <a:pt x="3635652" y="1273452"/>
                  </a:lnTo>
                  <a:lnTo>
                    <a:pt x="3568375" y="1273452"/>
                  </a:lnTo>
                  <a:lnTo>
                    <a:pt x="3568375" y="1157198"/>
                  </a:lnTo>
                  <a:lnTo>
                    <a:pt x="3635652" y="1157198"/>
                  </a:lnTo>
                  <a:lnTo>
                    <a:pt x="3635652" y="1099104"/>
                  </a:lnTo>
                  <a:cubicBezTo>
                    <a:pt x="3635652" y="1009357"/>
                    <a:pt x="3691727" y="972690"/>
                    <a:pt x="3782451" y="972690"/>
                  </a:cubicBezTo>
                  <a:cubicBezTo>
                    <a:pt x="3808958" y="972690"/>
                    <a:pt x="3847710" y="975751"/>
                    <a:pt x="3873175" y="985976"/>
                  </a:cubicBezTo>
                  <a:close/>
                  <a:moveTo>
                    <a:pt x="3507154" y="1638365"/>
                  </a:moveTo>
                  <a:lnTo>
                    <a:pt x="3382759" y="1638365"/>
                  </a:lnTo>
                  <a:lnTo>
                    <a:pt x="3382759" y="1376355"/>
                  </a:lnTo>
                  <a:cubicBezTo>
                    <a:pt x="3382759" y="1309077"/>
                    <a:pt x="3367454" y="1264204"/>
                    <a:pt x="3300177" y="1264204"/>
                  </a:cubicBezTo>
                  <a:cubicBezTo>
                    <a:pt x="3236937" y="1264204"/>
                    <a:pt x="3216552" y="1301913"/>
                    <a:pt x="3216552" y="1373293"/>
                  </a:cubicBezTo>
                  <a:lnTo>
                    <a:pt x="3216552" y="1638365"/>
                  </a:lnTo>
                  <a:lnTo>
                    <a:pt x="3092157" y="1638365"/>
                  </a:lnTo>
                  <a:lnTo>
                    <a:pt x="3092157" y="1157133"/>
                  </a:lnTo>
                  <a:lnTo>
                    <a:pt x="3216552" y="1157133"/>
                  </a:lnTo>
                  <a:lnTo>
                    <a:pt x="3216552" y="1189762"/>
                  </a:lnTo>
                  <a:cubicBezTo>
                    <a:pt x="3242017" y="1164297"/>
                    <a:pt x="3279792" y="1146973"/>
                    <a:pt x="3333783" y="1146973"/>
                  </a:cubicBezTo>
                  <a:cubicBezTo>
                    <a:pt x="3464300" y="1146973"/>
                    <a:pt x="3507089" y="1247922"/>
                    <a:pt x="3507089" y="1366195"/>
                  </a:cubicBezTo>
                  <a:lnTo>
                    <a:pt x="3507089" y="1638430"/>
                  </a:lnTo>
                  <a:close/>
                  <a:moveTo>
                    <a:pt x="2792437" y="1146973"/>
                  </a:moveTo>
                  <a:cubicBezTo>
                    <a:pt x="2653779" y="1146973"/>
                    <a:pt x="2567094" y="1256063"/>
                    <a:pt x="2567094" y="1397782"/>
                  </a:cubicBezTo>
                  <a:cubicBezTo>
                    <a:pt x="2567094" y="1546665"/>
                    <a:pt x="2661920" y="1648590"/>
                    <a:pt x="2792437" y="1648590"/>
                  </a:cubicBezTo>
                  <a:cubicBezTo>
                    <a:pt x="2922954" y="1648590"/>
                    <a:pt x="3017781" y="1546665"/>
                    <a:pt x="3017781" y="1397782"/>
                  </a:cubicBezTo>
                  <a:cubicBezTo>
                    <a:pt x="3017781" y="1248899"/>
                    <a:pt x="2931095" y="1146973"/>
                    <a:pt x="2792437" y="1146973"/>
                  </a:cubicBezTo>
                  <a:close/>
                  <a:moveTo>
                    <a:pt x="2792437" y="1528299"/>
                  </a:moveTo>
                  <a:cubicBezTo>
                    <a:pt x="2712916" y="1528299"/>
                    <a:pt x="2695592" y="1451838"/>
                    <a:pt x="2695592" y="1397782"/>
                  </a:cubicBezTo>
                  <a:cubicBezTo>
                    <a:pt x="2695592" y="1323340"/>
                    <a:pt x="2726202" y="1266288"/>
                    <a:pt x="2792437" y="1266288"/>
                  </a:cubicBezTo>
                  <a:cubicBezTo>
                    <a:pt x="2858673" y="1266288"/>
                    <a:pt x="2889283" y="1323405"/>
                    <a:pt x="2889283" y="1397782"/>
                  </a:cubicBezTo>
                  <a:cubicBezTo>
                    <a:pt x="2889283" y="1451838"/>
                    <a:pt x="2871959" y="1528299"/>
                    <a:pt x="2792437" y="1528299"/>
                  </a:cubicBezTo>
                  <a:close/>
                  <a:moveTo>
                    <a:pt x="2446802" y="1467143"/>
                  </a:moveTo>
                  <a:lnTo>
                    <a:pt x="2526323" y="1542561"/>
                  </a:lnTo>
                  <a:cubicBezTo>
                    <a:pt x="2485553" y="1594534"/>
                    <a:pt x="2429478" y="1648590"/>
                    <a:pt x="2334651" y="1648590"/>
                  </a:cubicBezTo>
                  <a:cubicBezTo>
                    <a:pt x="2203157" y="1648590"/>
                    <a:pt x="2106246" y="1543604"/>
                    <a:pt x="2106246" y="1398823"/>
                  </a:cubicBezTo>
                  <a:cubicBezTo>
                    <a:pt x="2106246" y="1266288"/>
                    <a:pt x="2186810" y="1146973"/>
                    <a:pt x="2336670" y="1146973"/>
                  </a:cubicBezTo>
                  <a:cubicBezTo>
                    <a:pt x="2422314" y="1146973"/>
                    <a:pt x="2481450" y="1185724"/>
                    <a:pt x="2525281" y="1250983"/>
                  </a:cubicBezTo>
                  <a:lnTo>
                    <a:pt x="2443741" y="1333565"/>
                  </a:lnTo>
                  <a:cubicBezTo>
                    <a:pt x="2415215" y="1295856"/>
                    <a:pt x="2384604" y="1266288"/>
                    <a:pt x="2335693" y="1266288"/>
                  </a:cubicBezTo>
                  <a:cubicBezTo>
                    <a:pt x="2269393" y="1266288"/>
                    <a:pt x="2234744" y="1322363"/>
                    <a:pt x="2234744" y="1396804"/>
                  </a:cubicBezTo>
                  <a:cubicBezTo>
                    <a:pt x="2234744" y="1466101"/>
                    <a:pt x="2265355" y="1528299"/>
                    <a:pt x="2336670" y="1528299"/>
                  </a:cubicBezTo>
                  <a:cubicBezTo>
                    <a:pt x="2380501" y="1528299"/>
                    <a:pt x="2417234" y="1504852"/>
                    <a:pt x="2446802" y="1467143"/>
                  </a:cubicBezTo>
                  <a:close/>
                  <a:moveTo>
                    <a:pt x="1803530" y="1638365"/>
                  </a:moveTo>
                  <a:lnTo>
                    <a:pt x="1679135" y="1638365"/>
                  </a:lnTo>
                  <a:lnTo>
                    <a:pt x="1679135" y="1376355"/>
                  </a:lnTo>
                  <a:cubicBezTo>
                    <a:pt x="1679135" y="1309077"/>
                    <a:pt x="1663830" y="1264204"/>
                    <a:pt x="1596553" y="1264204"/>
                  </a:cubicBezTo>
                  <a:cubicBezTo>
                    <a:pt x="1533314" y="1264204"/>
                    <a:pt x="1511951" y="1301913"/>
                    <a:pt x="1511951" y="1373293"/>
                  </a:cubicBezTo>
                  <a:lnTo>
                    <a:pt x="1511951" y="1638365"/>
                  </a:lnTo>
                  <a:lnTo>
                    <a:pt x="1387557" y="1638365"/>
                  </a:lnTo>
                  <a:lnTo>
                    <a:pt x="1387557" y="1031761"/>
                  </a:lnTo>
                  <a:lnTo>
                    <a:pt x="1511951" y="969564"/>
                  </a:lnTo>
                  <a:lnTo>
                    <a:pt x="1511951" y="1189762"/>
                  </a:lnTo>
                  <a:cubicBezTo>
                    <a:pt x="1535398" y="1161236"/>
                    <a:pt x="1584309" y="1146973"/>
                    <a:pt x="1632243" y="1146973"/>
                  </a:cubicBezTo>
                  <a:cubicBezTo>
                    <a:pt x="1758657" y="1146973"/>
                    <a:pt x="1803530" y="1246880"/>
                    <a:pt x="1803530" y="1366195"/>
                  </a:cubicBezTo>
                  <a:lnTo>
                    <a:pt x="1803530" y="1638430"/>
                  </a:lnTo>
                  <a:close/>
                  <a:moveTo>
                    <a:pt x="1311031" y="1493650"/>
                  </a:moveTo>
                  <a:lnTo>
                    <a:pt x="1292665" y="1619022"/>
                  </a:lnTo>
                  <a:cubicBezTo>
                    <a:pt x="1267200" y="1639407"/>
                    <a:pt x="1205979" y="1648590"/>
                    <a:pt x="1173350" y="1648590"/>
                  </a:cubicBezTo>
                  <a:cubicBezTo>
                    <a:pt x="1097931" y="1648590"/>
                    <a:pt x="1043875" y="1588412"/>
                    <a:pt x="1043875" y="1504852"/>
                  </a:cubicBezTo>
                  <a:lnTo>
                    <a:pt x="1043875" y="1273387"/>
                  </a:lnTo>
                  <a:lnTo>
                    <a:pt x="960250" y="1273387"/>
                  </a:lnTo>
                  <a:lnTo>
                    <a:pt x="960250" y="1157133"/>
                  </a:lnTo>
                  <a:lnTo>
                    <a:pt x="1043875" y="1157133"/>
                  </a:lnTo>
                  <a:lnTo>
                    <a:pt x="1043875" y="1031761"/>
                  </a:lnTo>
                  <a:lnTo>
                    <a:pt x="1168270" y="969564"/>
                  </a:lnTo>
                  <a:lnTo>
                    <a:pt x="1168270" y="1157133"/>
                  </a:lnTo>
                  <a:lnTo>
                    <a:pt x="1308947" y="1157133"/>
                  </a:lnTo>
                  <a:lnTo>
                    <a:pt x="1308947" y="1273387"/>
                  </a:lnTo>
                  <a:lnTo>
                    <a:pt x="1168270" y="1273387"/>
                  </a:lnTo>
                  <a:lnTo>
                    <a:pt x="1168270" y="1471181"/>
                  </a:lnTo>
                  <a:cubicBezTo>
                    <a:pt x="1168270" y="1515012"/>
                    <a:pt x="1184552" y="1529275"/>
                    <a:pt x="1214120" y="1529275"/>
                  </a:cubicBezTo>
                  <a:cubicBezTo>
                    <a:pt x="1243688" y="1529275"/>
                    <a:pt x="1289539" y="1513970"/>
                    <a:pt x="1310966" y="1493585"/>
                  </a:cubicBezTo>
                  <a:close/>
                  <a:moveTo>
                    <a:pt x="767666" y="1157198"/>
                  </a:moveTo>
                  <a:lnTo>
                    <a:pt x="767666" y="1638430"/>
                  </a:lnTo>
                  <a:lnTo>
                    <a:pt x="892061" y="1638430"/>
                  </a:lnTo>
                  <a:lnTo>
                    <a:pt x="892061" y="1157198"/>
                  </a:lnTo>
                  <a:lnTo>
                    <a:pt x="767666" y="1157198"/>
                  </a:lnTo>
                  <a:close/>
                  <a:moveTo>
                    <a:pt x="702408" y="1157198"/>
                  </a:moveTo>
                  <a:lnTo>
                    <a:pt x="550529" y="1638430"/>
                  </a:lnTo>
                  <a:lnTo>
                    <a:pt x="436359" y="1638430"/>
                  </a:lnTo>
                  <a:lnTo>
                    <a:pt x="354819" y="1345809"/>
                  </a:lnTo>
                  <a:lnTo>
                    <a:pt x="272236" y="1638430"/>
                  </a:lnTo>
                  <a:lnTo>
                    <a:pt x="158066" y="1638430"/>
                  </a:lnTo>
                  <a:lnTo>
                    <a:pt x="7099" y="1157198"/>
                  </a:lnTo>
                  <a:lnTo>
                    <a:pt x="145757" y="1157198"/>
                  </a:lnTo>
                  <a:lnTo>
                    <a:pt x="218114" y="1436533"/>
                  </a:lnTo>
                  <a:lnTo>
                    <a:pt x="299655" y="1157198"/>
                  </a:lnTo>
                  <a:lnTo>
                    <a:pt x="412848" y="1157198"/>
                  </a:lnTo>
                  <a:lnTo>
                    <a:pt x="494388" y="1436533"/>
                  </a:lnTo>
                  <a:lnTo>
                    <a:pt x="567788" y="1157198"/>
                  </a:lnTo>
                  <a:lnTo>
                    <a:pt x="702343" y="1157198"/>
                  </a:lnTo>
                  <a:close/>
                  <a:moveTo>
                    <a:pt x="4436990" y="16282"/>
                  </a:moveTo>
                  <a:lnTo>
                    <a:pt x="4436990" y="115147"/>
                  </a:lnTo>
                  <a:cubicBezTo>
                    <a:pt x="4409441" y="107983"/>
                    <a:pt x="4391139" y="104921"/>
                    <a:pt x="4374792" y="104921"/>
                  </a:cubicBezTo>
                  <a:cubicBezTo>
                    <a:pt x="4332003" y="104921"/>
                    <a:pt x="4322820" y="120227"/>
                    <a:pt x="4322820" y="144715"/>
                  </a:cubicBezTo>
                  <a:lnTo>
                    <a:pt x="4322820" y="186527"/>
                  </a:lnTo>
                  <a:lnTo>
                    <a:pt x="4404361" y="186527"/>
                  </a:lnTo>
                  <a:lnTo>
                    <a:pt x="4404361" y="302781"/>
                  </a:lnTo>
                  <a:lnTo>
                    <a:pt x="4322820" y="302781"/>
                  </a:lnTo>
                  <a:lnTo>
                    <a:pt x="4322820" y="667759"/>
                  </a:lnTo>
                  <a:lnTo>
                    <a:pt x="4202528" y="667759"/>
                  </a:lnTo>
                  <a:lnTo>
                    <a:pt x="4202528" y="302781"/>
                  </a:lnTo>
                  <a:lnTo>
                    <a:pt x="4143392" y="302781"/>
                  </a:lnTo>
                  <a:lnTo>
                    <a:pt x="4143392" y="186527"/>
                  </a:lnTo>
                  <a:lnTo>
                    <a:pt x="4202528" y="186527"/>
                  </a:lnTo>
                  <a:lnTo>
                    <a:pt x="4202528" y="128433"/>
                  </a:lnTo>
                  <a:cubicBezTo>
                    <a:pt x="4202528" y="44808"/>
                    <a:pt x="4246360" y="2019"/>
                    <a:pt x="4348350" y="2019"/>
                  </a:cubicBezTo>
                  <a:cubicBezTo>
                    <a:pt x="4380980" y="2019"/>
                    <a:pt x="4407487" y="8141"/>
                    <a:pt x="4437055" y="16282"/>
                  </a:cubicBezTo>
                  <a:close/>
                  <a:moveTo>
                    <a:pt x="2957602" y="527083"/>
                  </a:moveTo>
                  <a:lnTo>
                    <a:pt x="2940278" y="649458"/>
                  </a:lnTo>
                  <a:cubicBezTo>
                    <a:pt x="2915790" y="668802"/>
                    <a:pt x="2873001" y="677984"/>
                    <a:pt x="2843433" y="677984"/>
                  </a:cubicBezTo>
                  <a:cubicBezTo>
                    <a:pt x="2770033" y="677984"/>
                    <a:pt x="2712916" y="622951"/>
                    <a:pt x="2712916" y="535224"/>
                  </a:cubicBezTo>
                  <a:lnTo>
                    <a:pt x="2712916" y="301739"/>
                  </a:lnTo>
                  <a:lnTo>
                    <a:pt x="2629291" y="301739"/>
                  </a:lnTo>
                  <a:lnTo>
                    <a:pt x="2629291" y="186527"/>
                  </a:lnTo>
                  <a:lnTo>
                    <a:pt x="2712916" y="186527"/>
                  </a:lnTo>
                  <a:lnTo>
                    <a:pt x="2712916" y="61155"/>
                  </a:lnTo>
                  <a:lnTo>
                    <a:pt x="2833208" y="0"/>
                  </a:lnTo>
                  <a:lnTo>
                    <a:pt x="2833208" y="186592"/>
                  </a:lnTo>
                  <a:lnTo>
                    <a:pt x="2945358" y="186592"/>
                  </a:lnTo>
                  <a:lnTo>
                    <a:pt x="2945358" y="301804"/>
                  </a:lnTo>
                  <a:lnTo>
                    <a:pt x="2833208" y="301804"/>
                  </a:lnTo>
                  <a:lnTo>
                    <a:pt x="2833208" y="503701"/>
                  </a:lnTo>
                  <a:cubicBezTo>
                    <a:pt x="2833208" y="545514"/>
                    <a:pt x="2850532" y="560819"/>
                    <a:pt x="2880100" y="560819"/>
                  </a:cubicBezTo>
                  <a:cubicBezTo>
                    <a:pt x="2909668" y="560819"/>
                    <a:pt x="2938194" y="545514"/>
                    <a:pt x="2957602" y="527148"/>
                  </a:cubicBezTo>
                  <a:close/>
                  <a:moveTo>
                    <a:pt x="2397891" y="426134"/>
                  </a:moveTo>
                  <a:cubicBezTo>
                    <a:pt x="2397891" y="441439"/>
                    <a:pt x="2396849" y="460782"/>
                    <a:pt x="2395872" y="467946"/>
                  </a:cubicBezTo>
                  <a:lnTo>
                    <a:pt x="2114453" y="467946"/>
                  </a:lnTo>
                  <a:cubicBezTo>
                    <a:pt x="2119533" y="535224"/>
                    <a:pt x="2166425" y="562773"/>
                    <a:pt x="2218462" y="562773"/>
                  </a:cubicBezTo>
                  <a:cubicBezTo>
                    <a:pt x="2249073" y="562773"/>
                    <a:pt x="2276557" y="553590"/>
                    <a:pt x="2301045" y="529102"/>
                  </a:cubicBezTo>
                  <a:lnTo>
                    <a:pt x="2386689" y="601459"/>
                  </a:lnTo>
                  <a:cubicBezTo>
                    <a:pt x="2346895" y="654473"/>
                    <a:pt x="2274538" y="677919"/>
                    <a:pt x="2210321" y="677919"/>
                  </a:cubicBezTo>
                  <a:cubicBezTo>
                    <a:pt x="2072705" y="677919"/>
                    <a:pt x="1991100" y="569872"/>
                    <a:pt x="1991100" y="429130"/>
                  </a:cubicBezTo>
                  <a:cubicBezTo>
                    <a:pt x="1991100" y="288388"/>
                    <a:pt x="2079804" y="176302"/>
                    <a:pt x="2205176" y="176302"/>
                  </a:cubicBezTo>
                  <a:cubicBezTo>
                    <a:pt x="2339731" y="176302"/>
                    <a:pt x="2397891" y="298678"/>
                    <a:pt x="2397891" y="426069"/>
                  </a:cubicBezTo>
                  <a:close/>
                  <a:moveTo>
                    <a:pt x="2116472" y="374162"/>
                  </a:moveTo>
                  <a:lnTo>
                    <a:pt x="2287759" y="374162"/>
                  </a:lnTo>
                  <a:cubicBezTo>
                    <a:pt x="2282679" y="320105"/>
                    <a:pt x="2251027" y="283438"/>
                    <a:pt x="2199054" y="283438"/>
                  </a:cubicBezTo>
                  <a:cubicBezTo>
                    <a:pt x="2144021" y="283438"/>
                    <a:pt x="2119533" y="334433"/>
                    <a:pt x="2116472" y="374162"/>
                  </a:cubicBezTo>
                  <a:close/>
                  <a:moveTo>
                    <a:pt x="1933982" y="428218"/>
                  </a:moveTo>
                  <a:cubicBezTo>
                    <a:pt x="1933982" y="551571"/>
                    <a:pt x="1882987" y="677984"/>
                    <a:pt x="1746413" y="677984"/>
                  </a:cubicBezTo>
                  <a:cubicBezTo>
                    <a:pt x="1693399" y="677984"/>
                    <a:pt x="1660769" y="658642"/>
                    <a:pt x="1639342" y="638191"/>
                  </a:cubicBezTo>
                  <a:lnTo>
                    <a:pt x="1639342" y="784990"/>
                  </a:lnTo>
                  <a:lnTo>
                    <a:pt x="1519050" y="845169"/>
                  </a:lnTo>
                  <a:lnTo>
                    <a:pt x="1519050" y="186527"/>
                  </a:lnTo>
                  <a:lnTo>
                    <a:pt x="1639342" y="186527"/>
                  </a:lnTo>
                  <a:lnTo>
                    <a:pt x="1639342" y="219157"/>
                  </a:lnTo>
                  <a:cubicBezTo>
                    <a:pt x="1670929" y="190630"/>
                    <a:pt x="1703559" y="176367"/>
                    <a:pt x="1748432" y="176367"/>
                  </a:cubicBezTo>
                  <a:cubicBezTo>
                    <a:pt x="1877907" y="176367"/>
                    <a:pt x="1933982" y="298743"/>
                    <a:pt x="1933982" y="428218"/>
                  </a:cubicBezTo>
                  <a:close/>
                  <a:moveTo>
                    <a:pt x="1809587" y="434340"/>
                  </a:moveTo>
                  <a:cubicBezTo>
                    <a:pt x="1809587" y="364002"/>
                    <a:pt x="1791221" y="292621"/>
                    <a:pt x="1718864" y="292621"/>
                  </a:cubicBezTo>
                  <a:cubicBezTo>
                    <a:pt x="1685193" y="292621"/>
                    <a:pt x="1658685" y="307926"/>
                    <a:pt x="1639342" y="335410"/>
                  </a:cubicBezTo>
                  <a:lnTo>
                    <a:pt x="1639342" y="518942"/>
                  </a:lnTo>
                  <a:cubicBezTo>
                    <a:pt x="1658685" y="546491"/>
                    <a:pt x="1691315" y="562773"/>
                    <a:pt x="1726028" y="562773"/>
                  </a:cubicBezTo>
                  <a:cubicBezTo>
                    <a:pt x="1793305" y="562773"/>
                    <a:pt x="1809652" y="501618"/>
                    <a:pt x="1809652" y="434340"/>
                  </a:cubicBezTo>
                  <a:close/>
                  <a:moveTo>
                    <a:pt x="1435426" y="667825"/>
                  </a:moveTo>
                  <a:lnTo>
                    <a:pt x="1315134" y="667825"/>
                  </a:lnTo>
                  <a:lnTo>
                    <a:pt x="1315134" y="634153"/>
                  </a:lnTo>
                  <a:cubicBezTo>
                    <a:pt x="1286608" y="662680"/>
                    <a:pt x="1249876" y="677984"/>
                    <a:pt x="1202983" y="677984"/>
                  </a:cubicBezTo>
                  <a:cubicBezTo>
                    <a:pt x="1108157" y="677984"/>
                    <a:pt x="1033715" y="616829"/>
                    <a:pt x="1033715" y="510800"/>
                  </a:cubicBezTo>
                  <a:cubicBezTo>
                    <a:pt x="1033715" y="404772"/>
                    <a:pt x="1106072" y="348696"/>
                    <a:pt x="1221284" y="348696"/>
                  </a:cubicBezTo>
                  <a:cubicBezTo>
                    <a:pt x="1251894" y="348696"/>
                    <a:pt x="1283482" y="352799"/>
                    <a:pt x="1315069" y="368040"/>
                  </a:cubicBezTo>
                  <a:lnTo>
                    <a:pt x="1315069" y="342574"/>
                  </a:lnTo>
                  <a:cubicBezTo>
                    <a:pt x="1315069" y="297701"/>
                    <a:pt x="1285501" y="279335"/>
                    <a:pt x="1232486" y="279335"/>
                  </a:cubicBezTo>
                  <a:cubicBezTo>
                    <a:pt x="1194777" y="279335"/>
                    <a:pt x="1159087" y="288518"/>
                    <a:pt x="1121378" y="310922"/>
                  </a:cubicBezTo>
                  <a:lnTo>
                    <a:pt x="1073443" y="225278"/>
                  </a:lnTo>
                  <a:cubicBezTo>
                    <a:pt x="1125416" y="192649"/>
                    <a:pt x="1175369" y="176367"/>
                    <a:pt x="1239650" y="176367"/>
                  </a:cubicBezTo>
                  <a:cubicBezTo>
                    <a:pt x="1360984" y="176367"/>
                    <a:pt x="1435426" y="235503"/>
                    <a:pt x="1435426" y="344593"/>
                  </a:cubicBezTo>
                  <a:lnTo>
                    <a:pt x="1435426" y="667759"/>
                  </a:lnTo>
                  <a:close/>
                  <a:moveTo>
                    <a:pt x="1315134" y="527083"/>
                  </a:moveTo>
                  <a:lnTo>
                    <a:pt x="1315134" y="465927"/>
                  </a:lnTo>
                  <a:cubicBezTo>
                    <a:pt x="1290646" y="450622"/>
                    <a:pt x="1259059" y="445542"/>
                    <a:pt x="1234570" y="445542"/>
                  </a:cubicBezTo>
                  <a:cubicBezTo>
                    <a:pt x="1181556" y="445542"/>
                    <a:pt x="1156091" y="468988"/>
                    <a:pt x="1156091" y="507740"/>
                  </a:cubicBezTo>
                  <a:cubicBezTo>
                    <a:pt x="1156091" y="544472"/>
                    <a:pt x="1179537" y="574040"/>
                    <a:pt x="1224410" y="574040"/>
                  </a:cubicBezTo>
                  <a:cubicBezTo>
                    <a:pt x="1247857" y="574040"/>
                    <a:pt x="1288627" y="565899"/>
                    <a:pt x="1315134" y="527148"/>
                  </a:cubicBezTo>
                  <a:close/>
                  <a:moveTo>
                    <a:pt x="967480" y="667825"/>
                  </a:moveTo>
                  <a:lnTo>
                    <a:pt x="847188" y="667825"/>
                  </a:lnTo>
                  <a:lnTo>
                    <a:pt x="847188" y="405814"/>
                  </a:lnTo>
                  <a:cubicBezTo>
                    <a:pt x="847188" y="340555"/>
                    <a:pt x="832925" y="292621"/>
                    <a:pt x="765647" y="292621"/>
                  </a:cubicBezTo>
                  <a:cubicBezTo>
                    <a:pt x="698370" y="292621"/>
                    <a:pt x="683065" y="336452"/>
                    <a:pt x="683065" y="402753"/>
                  </a:cubicBezTo>
                  <a:lnTo>
                    <a:pt x="683065" y="667825"/>
                  </a:lnTo>
                  <a:lnTo>
                    <a:pt x="562773" y="667825"/>
                  </a:lnTo>
                  <a:lnTo>
                    <a:pt x="562773" y="61221"/>
                  </a:lnTo>
                  <a:lnTo>
                    <a:pt x="683065" y="65"/>
                  </a:lnTo>
                  <a:lnTo>
                    <a:pt x="683065" y="220264"/>
                  </a:lnTo>
                  <a:cubicBezTo>
                    <a:pt x="709572" y="193756"/>
                    <a:pt x="742201" y="176432"/>
                    <a:pt x="796258" y="176432"/>
                  </a:cubicBezTo>
                  <a:cubicBezTo>
                    <a:pt x="923713" y="176432"/>
                    <a:pt x="967545" y="274320"/>
                    <a:pt x="967545" y="396631"/>
                  </a:cubicBezTo>
                  <a:lnTo>
                    <a:pt x="967545" y="667825"/>
                  </a:lnTo>
                  <a:close/>
                  <a:moveTo>
                    <a:pt x="496472" y="475110"/>
                  </a:moveTo>
                  <a:cubicBezTo>
                    <a:pt x="496472" y="619890"/>
                    <a:pt x="386341" y="677984"/>
                    <a:pt x="255889" y="677984"/>
                  </a:cubicBezTo>
                  <a:cubicBezTo>
                    <a:pt x="162104" y="677984"/>
                    <a:pt x="58094" y="648416"/>
                    <a:pt x="0" y="562773"/>
                  </a:cubicBezTo>
                  <a:lnTo>
                    <a:pt x="89747" y="483251"/>
                  </a:lnTo>
                  <a:cubicBezTo>
                    <a:pt x="131559" y="533205"/>
                    <a:pt x="191672" y="556651"/>
                    <a:pt x="252893" y="556651"/>
                  </a:cubicBezTo>
                  <a:cubicBezTo>
                    <a:pt x="325250" y="556651"/>
                    <a:pt x="367063" y="524022"/>
                    <a:pt x="367063" y="478171"/>
                  </a:cubicBezTo>
                  <a:cubicBezTo>
                    <a:pt x="367063" y="459805"/>
                    <a:pt x="359899" y="441439"/>
                    <a:pt x="329353" y="426199"/>
                  </a:cubicBezTo>
                  <a:cubicBezTo>
                    <a:pt x="306949" y="414997"/>
                    <a:pt x="279400" y="407833"/>
                    <a:pt x="225344" y="394612"/>
                  </a:cubicBezTo>
                  <a:cubicBezTo>
                    <a:pt x="191672" y="386471"/>
                    <a:pt x="122376" y="370124"/>
                    <a:pt x="79522" y="335475"/>
                  </a:cubicBezTo>
                  <a:cubicBezTo>
                    <a:pt x="36732" y="300827"/>
                    <a:pt x="24488" y="250874"/>
                    <a:pt x="24488" y="207042"/>
                  </a:cubicBezTo>
                  <a:cubicBezTo>
                    <a:pt x="24488" y="71445"/>
                    <a:pt x="140742" y="16412"/>
                    <a:pt x="254912" y="16412"/>
                  </a:cubicBezTo>
                  <a:cubicBezTo>
                    <a:pt x="353776" y="16412"/>
                    <a:pt x="425157" y="57182"/>
                    <a:pt x="482274" y="115277"/>
                  </a:cubicBezTo>
                  <a:lnTo>
                    <a:pt x="392528" y="202939"/>
                  </a:lnTo>
                  <a:cubicBezTo>
                    <a:pt x="350715" y="161127"/>
                    <a:pt x="309945" y="137681"/>
                    <a:pt x="246706" y="137681"/>
                  </a:cubicBezTo>
                  <a:cubicBezTo>
                    <a:pt x="192649" y="137681"/>
                    <a:pt x="152921" y="155005"/>
                    <a:pt x="152921" y="199878"/>
                  </a:cubicBezTo>
                  <a:cubicBezTo>
                    <a:pt x="152921" y="219221"/>
                    <a:pt x="160085" y="232508"/>
                    <a:pt x="179428" y="243710"/>
                  </a:cubicBezTo>
                  <a:cubicBezTo>
                    <a:pt x="201832" y="255954"/>
                    <a:pt x="233485" y="265137"/>
                    <a:pt x="282396" y="277381"/>
                  </a:cubicBezTo>
                  <a:cubicBezTo>
                    <a:pt x="340490" y="292686"/>
                    <a:pt x="394547" y="305907"/>
                    <a:pt x="438378" y="341598"/>
                  </a:cubicBezTo>
                  <a:cubicBezTo>
                    <a:pt x="477129" y="373185"/>
                    <a:pt x="496472" y="414997"/>
                    <a:pt x="496472" y="475176"/>
                  </a:cubicBezTo>
                  <a:close/>
                  <a:moveTo>
                    <a:pt x="6100885" y="208996"/>
                  </a:moveTo>
                  <a:lnTo>
                    <a:pt x="6051778" y="329288"/>
                  </a:lnTo>
                  <a:cubicBezTo>
                    <a:pt x="6033413" y="311964"/>
                    <a:pt x="6011985" y="299720"/>
                    <a:pt x="5982482" y="299720"/>
                  </a:cubicBezTo>
                  <a:cubicBezTo>
                    <a:pt x="5925365" y="299720"/>
                    <a:pt x="5911232" y="347654"/>
                    <a:pt x="5911232" y="405749"/>
                  </a:cubicBezTo>
                  <a:lnTo>
                    <a:pt x="5911232" y="667759"/>
                  </a:lnTo>
                  <a:lnTo>
                    <a:pt x="5790940" y="667759"/>
                  </a:lnTo>
                  <a:lnTo>
                    <a:pt x="5790940" y="186527"/>
                  </a:lnTo>
                  <a:lnTo>
                    <a:pt x="5911232" y="186527"/>
                  </a:lnTo>
                  <a:lnTo>
                    <a:pt x="5911232" y="220198"/>
                  </a:lnTo>
                  <a:cubicBezTo>
                    <a:pt x="5938781" y="192649"/>
                    <a:pt x="5973429" y="176367"/>
                    <a:pt x="6012181" y="176367"/>
                  </a:cubicBezTo>
                  <a:cubicBezTo>
                    <a:pt x="6045852" y="176367"/>
                    <a:pt x="6075420" y="186592"/>
                    <a:pt x="6100885" y="208996"/>
                  </a:cubicBezTo>
                  <a:close/>
                </a:path>
              </a:pathLst>
            </a:custGeom>
            <a:solidFill>
              <a:schemeClr val="bg2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440905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ram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A7B25F44-CAE3-AE0B-B97B-B0F6E4B43D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8386354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0"/>
                  <a:alpha val="0"/>
                </a:schemeClr>
              </a:gs>
              <a:gs pos="95000">
                <a:srgbClr val="000000">
                  <a:alpha val="70000"/>
                </a:srgb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n-US" sz="1200" b="1">
              <a:solidFill>
                <a:schemeClr val="tx1"/>
              </a:solidFill>
            </a:endParaRP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632E76BF-46D5-8E94-88AA-4783DD302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89762" y="4436485"/>
            <a:ext cx="4907628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edit master subtitle style</a:t>
            </a:r>
            <a:endParaRPr lang="en-US" dirty="0"/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1F7B1FDC-B90E-6693-A750-B9BA4B535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9762" y="2698751"/>
            <a:ext cx="4906009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" panose="02000503020000020004" pitchFamily="2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0" name="Text Placeholder 288">
            <a:extLst>
              <a:ext uri="{FF2B5EF4-FFF2-40B4-BE49-F238E27FC236}">
                <a16:creationId xmlns:a16="http://schemas.microsoft.com/office/drawing/2014/main" id="{1673B89D-F206-B9D2-CDB7-BDE045C744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89762" y="5047485"/>
            <a:ext cx="4906010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8092712F-14F6-2950-E68A-ADC32C53EBC0}"/>
              </a:ext>
            </a:extLst>
          </p:cNvPr>
          <p:cNvGrpSpPr/>
          <p:nvPr userDrawn="1"/>
        </p:nvGrpSpPr>
        <p:grpSpPr>
          <a:xfrm>
            <a:off x="485774" y="1291008"/>
            <a:ext cx="5706110" cy="4360545"/>
            <a:chOff x="485774" y="1291008"/>
            <a:chExt cx="5706110" cy="4360545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F7E50E80-DFF0-E065-898F-1AFD970459B6}"/>
                </a:ext>
              </a:extLst>
            </p:cNvPr>
            <p:cNvSpPr/>
            <p:nvPr userDrawn="1"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CC99724B-50FD-5B78-B6B7-D645073026A7}"/>
                </a:ext>
              </a:extLst>
            </p:cNvPr>
            <p:cNvSpPr/>
            <p:nvPr userDrawn="1"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gradFill flip="none" rotWithShape="1">
              <a:gsLst>
                <a:gs pos="39000">
                  <a:srgbClr val="FFE600"/>
                </a:gs>
                <a:gs pos="68000">
                  <a:srgbClr val="A420F8"/>
                </a:gs>
                <a:gs pos="100000">
                  <a:srgbClr val="5C94F9"/>
                </a:gs>
              </a:gsLst>
              <a:lin ang="18720000" scaled="0"/>
              <a:tileRect/>
            </a:gradFill>
            <a:ln w="8181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D24F0FAD-7582-E59D-E125-54DD5BA160A3}"/>
              </a:ext>
            </a:extLst>
          </p:cNvPr>
          <p:cNvGrpSpPr/>
          <p:nvPr userDrawn="1"/>
        </p:nvGrpSpPr>
        <p:grpSpPr>
          <a:xfrm>
            <a:off x="485775" y="6164633"/>
            <a:ext cx="4940935" cy="318770"/>
            <a:chOff x="485775" y="6164633"/>
            <a:chExt cx="4940935" cy="318770"/>
          </a:xfrm>
        </p:grpSpPr>
        <p:sp>
          <p:nvSpPr>
            <p:cNvPr id="4" name="Freeform 23">
              <a:extLst>
                <a:ext uri="{FF2B5EF4-FFF2-40B4-BE49-F238E27FC236}">
                  <a16:creationId xmlns:a16="http://schemas.microsoft.com/office/drawing/2014/main" id="{6FA849DF-1D4C-EAF0-08A5-7DDBACD55F3C}"/>
                </a:ext>
              </a:extLst>
            </p:cNvPr>
            <p:cNvSpPr/>
            <p:nvPr userDrawn="1"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5" name="Freeform 24">
              <a:extLst>
                <a:ext uri="{FF2B5EF4-FFF2-40B4-BE49-F238E27FC236}">
                  <a16:creationId xmlns:a16="http://schemas.microsoft.com/office/drawing/2014/main" id="{AFCBB4D7-2A1F-809A-E4FD-A2FEADA71C98}"/>
                </a:ext>
              </a:extLst>
            </p:cNvPr>
            <p:cNvSpPr/>
            <p:nvPr userDrawn="1"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chemeClr val="bg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A6CE9ED0-A8F9-201F-B8D4-E7719F6A1A7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562024" y="5167683"/>
            <a:ext cx="1220400" cy="1285398"/>
            <a:chOff x="3913438" y="-99392"/>
            <a:chExt cx="6512821" cy="6859693"/>
          </a:xfrm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54839EC8-BF8D-8EE4-F606-CEE2A03CBD2C}"/>
                </a:ext>
              </a:extLst>
            </p:cNvPr>
            <p:cNvSpPr/>
            <p:nvPr/>
          </p:nvSpPr>
          <p:spPr>
            <a:xfrm>
              <a:off x="5319751" y="-99392"/>
              <a:ext cx="4303606" cy="1570696"/>
            </a:xfrm>
            <a:custGeom>
              <a:avLst/>
              <a:gdLst>
                <a:gd name="connsiteX0" fmla="*/ 4303607 w 4303606"/>
                <a:gd name="connsiteY0" fmla="*/ 0 h 1570696"/>
                <a:gd name="connsiteX1" fmla="*/ 0 w 4303606"/>
                <a:gd name="connsiteY1" fmla="*/ 1570697 h 1570696"/>
                <a:gd name="connsiteX2" fmla="*/ 4303607 w 4303606"/>
                <a:gd name="connsiteY2" fmla="*/ 810521 h 1570696"/>
                <a:gd name="connsiteX3" fmla="*/ 4303607 w 4303606"/>
                <a:gd name="connsiteY3" fmla="*/ 0 h 1570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03606" h="1570696">
                  <a:moveTo>
                    <a:pt x="4303607" y="0"/>
                  </a:moveTo>
                  <a:lnTo>
                    <a:pt x="0" y="1570697"/>
                  </a:lnTo>
                  <a:lnTo>
                    <a:pt x="4303607" y="810521"/>
                  </a:lnTo>
                  <a:lnTo>
                    <a:pt x="4303607" y="0"/>
                  </a:lnTo>
                  <a:close/>
                </a:path>
              </a:pathLst>
            </a:custGeom>
            <a:solidFill>
              <a:srgbClr val="FFE600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FEC72D34-A5B5-3A04-807D-A4539C621A76}"/>
                </a:ext>
              </a:extLst>
            </p:cNvPr>
            <p:cNvSpPr/>
            <p:nvPr/>
          </p:nvSpPr>
          <p:spPr>
            <a:xfrm>
              <a:off x="5357395" y="2124345"/>
              <a:ext cx="3613052" cy="2176910"/>
            </a:xfrm>
            <a:custGeom>
              <a:avLst/>
              <a:gdLst>
                <a:gd name="connsiteX0" fmla="*/ 652845 w 3613052"/>
                <a:gd name="connsiteY0" fmla="*/ 1676205 h 2176910"/>
                <a:gd name="connsiteX1" fmla="*/ 1741463 w 3613052"/>
                <a:gd name="connsiteY1" fmla="*/ 1676205 h 2176910"/>
                <a:gd name="connsiteX2" fmla="*/ 1741463 w 3613052"/>
                <a:gd name="connsiteY2" fmla="*/ 2176910 h 2176910"/>
                <a:gd name="connsiteX3" fmla="*/ 0 w 3613052"/>
                <a:gd name="connsiteY3" fmla="*/ 2176910 h 2176910"/>
                <a:gd name="connsiteX4" fmla="*/ 0 w 3613052"/>
                <a:gd name="connsiteY4" fmla="*/ 0 h 2176910"/>
                <a:gd name="connsiteX5" fmla="*/ 1234766 w 3613052"/>
                <a:gd name="connsiteY5" fmla="*/ 0 h 2176910"/>
                <a:gd name="connsiteX6" fmla="*/ 1523675 w 3613052"/>
                <a:gd name="connsiteY6" fmla="*/ 500706 h 2176910"/>
                <a:gd name="connsiteX7" fmla="*/ 652910 w 3613052"/>
                <a:gd name="connsiteY7" fmla="*/ 500706 h 2176910"/>
                <a:gd name="connsiteX8" fmla="*/ 652910 w 3613052"/>
                <a:gd name="connsiteY8" fmla="*/ 859953 h 2176910"/>
                <a:gd name="connsiteX9" fmla="*/ 1440050 w 3613052"/>
                <a:gd name="connsiteY9" fmla="*/ 859953 h 2176910"/>
                <a:gd name="connsiteX10" fmla="*/ 1440050 w 3613052"/>
                <a:gd name="connsiteY10" fmla="*/ 1317022 h 2176910"/>
                <a:gd name="connsiteX11" fmla="*/ 652910 w 3613052"/>
                <a:gd name="connsiteY11" fmla="*/ 1317022 h 2176910"/>
                <a:gd name="connsiteX12" fmla="*/ 652910 w 3613052"/>
                <a:gd name="connsiteY12" fmla="*/ 1676205 h 2176910"/>
                <a:gd name="connsiteX13" fmla="*/ 2900485 w 3613052"/>
                <a:gd name="connsiteY13" fmla="*/ 0 h 2176910"/>
                <a:gd name="connsiteX14" fmla="*/ 2530687 w 3613052"/>
                <a:gd name="connsiteY14" fmla="*/ 710418 h 2176910"/>
                <a:gd name="connsiteX15" fmla="*/ 2161801 w 3613052"/>
                <a:gd name="connsiteY15" fmla="*/ 0 h 2176910"/>
                <a:gd name="connsiteX16" fmla="*/ 1439985 w 3613052"/>
                <a:gd name="connsiteY16" fmla="*/ 0 h 2176910"/>
                <a:gd name="connsiteX17" fmla="*/ 2200552 w 3613052"/>
                <a:gd name="connsiteY17" fmla="*/ 1317022 h 2176910"/>
                <a:gd name="connsiteX18" fmla="*/ 2200552 w 3613052"/>
                <a:gd name="connsiteY18" fmla="*/ 2176910 h 2176910"/>
                <a:gd name="connsiteX19" fmla="*/ 2851443 w 3613052"/>
                <a:gd name="connsiteY19" fmla="*/ 2176910 h 2176910"/>
                <a:gd name="connsiteX20" fmla="*/ 2851443 w 3613052"/>
                <a:gd name="connsiteY20" fmla="*/ 1317022 h 2176910"/>
                <a:gd name="connsiteX21" fmla="*/ 3613053 w 3613052"/>
                <a:gd name="connsiteY21" fmla="*/ 0 h 2176910"/>
                <a:gd name="connsiteX22" fmla="*/ 2900485 w 3613052"/>
                <a:gd name="connsiteY22" fmla="*/ 0 h 2176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613052" h="2176910">
                  <a:moveTo>
                    <a:pt x="652845" y="1676205"/>
                  </a:moveTo>
                  <a:lnTo>
                    <a:pt x="1741463" y="1676205"/>
                  </a:lnTo>
                  <a:lnTo>
                    <a:pt x="1741463" y="2176910"/>
                  </a:lnTo>
                  <a:lnTo>
                    <a:pt x="0" y="2176910"/>
                  </a:lnTo>
                  <a:lnTo>
                    <a:pt x="0" y="0"/>
                  </a:lnTo>
                  <a:lnTo>
                    <a:pt x="1234766" y="0"/>
                  </a:lnTo>
                  <a:lnTo>
                    <a:pt x="1523675" y="500706"/>
                  </a:lnTo>
                  <a:lnTo>
                    <a:pt x="652910" y="500706"/>
                  </a:lnTo>
                  <a:lnTo>
                    <a:pt x="652910" y="859953"/>
                  </a:lnTo>
                  <a:lnTo>
                    <a:pt x="1440050" y="859953"/>
                  </a:lnTo>
                  <a:lnTo>
                    <a:pt x="1440050" y="1317022"/>
                  </a:lnTo>
                  <a:lnTo>
                    <a:pt x="652910" y="1317022"/>
                  </a:lnTo>
                  <a:lnTo>
                    <a:pt x="652910" y="1676205"/>
                  </a:lnTo>
                  <a:close/>
                  <a:moveTo>
                    <a:pt x="2900485" y="0"/>
                  </a:moveTo>
                  <a:lnTo>
                    <a:pt x="2530687" y="710418"/>
                  </a:lnTo>
                  <a:lnTo>
                    <a:pt x="2161801" y="0"/>
                  </a:lnTo>
                  <a:lnTo>
                    <a:pt x="1439985" y="0"/>
                  </a:lnTo>
                  <a:lnTo>
                    <a:pt x="2200552" y="1317022"/>
                  </a:lnTo>
                  <a:lnTo>
                    <a:pt x="2200552" y="2176910"/>
                  </a:lnTo>
                  <a:lnTo>
                    <a:pt x="2851443" y="2176910"/>
                  </a:lnTo>
                  <a:lnTo>
                    <a:pt x="2851443" y="1317022"/>
                  </a:lnTo>
                  <a:lnTo>
                    <a:pt x="3613053" y="0"/>
                  </a:lnTo>
                  <a:lnTo>
                    <a:pt x="2900485" y="0"/>
                  </a:lnTo>
                  <a:close/>
                </a:path>
              </a:pathLst>
            </a:custGeom>
            <a:solidFill>
              <a:schemeClr val="bg2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9E33F9E4-7AB9-2619-EE33-D5ABBA23ADA3}"/>
                </a:ext>
              </a:extLst>
            </p:cNvPr>
            <p:cNvSpPr/>
            <p:nvPr/>
          </p:nvSpPr>
          <p:spPr>
            <a:xfrm>
              <a:off x="3913438" y="5111711"/>
              <a:ext cx="6512821" cy="1648590"/>
            </a:xfrm>
            <a:custGeom>
              <a:avLst/>
              <a:gdLst>
                <a:gd name="connsiteX0" fmla="*/ 5071143 w 6512821"/>
                <a:gd name="connsiteY0" fmla="*/ 1396740 h 1648590"/>
                <a:gd name="connsiteX1" fmla="*/ 5069124 w 6512821"/>
                <a:gd name="connsiteY1" fmla="*/ 1438552 h 1648590"/>
                <a:gd name="connsiteX2" fmla="*/ 4777545 w 6512821"/>
                <a:gd name="connsiteY2" fmla="*/ 1438552 h 1648590"/>
                <a:gd name="connsiteX3" fmla="*/ 4880513 w 6512821"/>
                <a:gd name="connsiteY3" fmla="*/ 1533378 h 1648590"/>
                <a:gd name="connsiteX4" fmla="*/ 4964137 w 6512821"/>
                <a:gd name="connsiteY4" fmla="*/ 1499707 h 1648590"/>
                <a:gd name="connsiteX5" fmla="*/ 5049781 w 6512821"/>
                <a:gd name="connsiteY5" fmla="*/ 1572065 h 1648590"/>
                <a:gd name="connsiteX6" fmla="*/ 4875433 w 6512821"/>
                <a:gd name="connsiteY6" fmla="*/ 1648525 h 1648590"/>
                <a:gd name="connsiteX7" fmla="*/ 4654192 w 6512821"/>
                <a:gd name="connsiteY7" fmla="*/ 1398759 h 1648590"/>
                <a:gd name="connsiteX8" fmla="*/ 4867292 w 6512821"/>
                <a:gd name="connsiteY8" fmla="*/ 1146908 h 1648590"/>
                <a:gd name="connsiteX9" fmla="*/ 5071208 w 6512821"/>
                <a:gd name="connsiteY9" fmla="*/ 1396675 h 1648590"/>
                <a:gd name="connsiteX10" fmla="*/ 4779564 w 6512821"/>
                <a:gd name="connsiteY10" fmla="*/ 1344767 h 1648590"/>
                <a:gd name="connsiteX11" fmla="*/ 4950851 w 6512821"/>
                <a:gd name="connsiteY11" fmla="*/ 1344767 h 1648590"/>
                <a:gd name="connsiteX12" fmla="*/ 4863189 w 6512821"/>
                <a:gd name="connsiteY12" fmla="*/ 1254044 h 1648590"/>
                <a:gd name="connsiteX13" fmla="*/ 4779564 w 6512821"/>
                <a:gd name="connsiteY13" fmla="*/ 1344767 h 1648590"/>
                <a:gd name="connsiteX14" fmla="*/ 6512756 w 6512821"/>
                <a:gd name="connsiteY14" fmla="*/ 1396740 h 1648590"/>
                <a:gd name="connsiteX15" fmla="*/ 6510737 w 6512821"/>
                <a:gd name="connsiteY15" fmla="*/ 1438552 h 1648590"/>
                <a:gd name="connsiteX16" fmla="*/ 6219158 w 6512821"/>
                <a:gd name="connsiteY16" fmla="*/ 1438552 h 1648590"/>
                <a:gd name="connsiteX17" fmla="*/ 6322126 w 6512821"/>
                <a:gd name="connsiteY17" fmla="*/ 1533378 h 1648590"/>
                <a:gd name="connsiteX18" fmla="*/ 6405751 w 6512821"/>
                <a:gd name="connsiteY18" fmla="*/ 1499707 h 1648590"/>
                <a:gd name="connsiteX19" fmla="*/ 6491394 w 6512821"/>
                <a:gd name="connsiteY19" fmla="*/ 1572065 h 1648590"/>
                <a:gd name="connsiteX20" fmla="*/ 6317046 w 6512821"/>
                <a:gd name="connsiteY20" fmla="*/ 1648525 h 1648590"/>
                <a:gd name="connsiteX21" fmla="*/ 6095805 w 6512821"/>
                <a:gd name="connsiteY21" fmla="*/ 1398759 h 1648590"/>
                <a:gd name="connsiteX22" fmla="*/ 6308905 w 6512821"/>
                <a:gd name="connsiteY22" fmla="*/ 1146908 h 1648590"/>
                <a:gd name="connsiteX23" fmla="*/ 6512821 w 6512821"/>
                <a:gd name="connsiteY23" fmla="*/ 1396675 h 1648590"/>
                <a:gd name="connsiteX24" fmla="*/ 6221177 w 6512821"/>
                <a:gd name="connsiteY24" fmla="*/ 1344767 h 1648590"/>
                <a:gd name="connsiteX25" fmla="*/ 6392465 w 6512821"/>
                <a:gd name="connsiteY25" fmla="*/ 1344767 h 1648590"/>
                <a:gd name="connsiteX26" fmla="*/ 6304802 w 6512821"/>
                <a:gd name="connsiteY26" fmla="*/ 1254044 h 1648590"/>
                <a:gd name="connsiteX27" fmla="*/ 6221177 w 6512821"/>
                <a:gd name="connsiteY27" fmla="*/ 1344767 h 1648590"/>
                <a:gd name="connsiteX28" fmla="*/ 5978509 w 6512821"/>
                <a:gd name="connsiteY28" fmla="*/ 1467143 h 1648590"/>
                <a:gd name="connsiteX29" fmla="*/ 6058031 w 6512821"/>
                <a:gd name="connsiteY29" fmla="*/ 1542561 h 1648590"/>
                <a:gd name="connsiteX30" fmla="*/ 5866359 w 6512821"/>
                <a:gd name="connsiteY30" fmla="*/ 1648590 h 1648590"/>
                <a:gd name="connsiteX31" fmla="*/ 5637954 w 6512821"/>
                <a:gd name="connsiteY31" fmla="*/ 1398823 h 1648590"/>
                <a:gd name="connsiteX32" fmla="*/ 5868378 w 6512821"/>
                <a:gd name="connsiteY32" fmla="*/ 1146973 h 1648590"/>
                <a:gd name="connsiteX33" fmla="*/ 6056989 w 6512821"/>
                <a:gd name="connsiteY33" fmla="*/ 1250983 h 1648590"/>
                <a:gd name="connsiteX34" fmla="*/ 5975448 w 6512821"/>
                <a:gd name="connsiteY34" fmla="*/ 1333565 h 1648590"/>
                <a:gd name="connsiteX35" fmla="*/ 5867401 w 6512821"/>
                <a:gd name="connsiteY35" fmla="*/ 1266288 h 1648590"/>
                <a:gd name="connsiteX36" fmla="*/ 5766452 w 6512821"/>
                <a:gd name="connsiteY36" fmla="*/ 1396804 h 1648590"/>
                <a:gd name="connsiteX37" fmla="*/ 5868378 w 6512821"/>
                <a:gd name="connsiteY37" fmla="*/ 1528299 h 1648590"/>
                <a:gd name="connsiteX38" fmla="*/ 5978509 w 6512821"/>
                <a:gd name="connsiteY38" fmla="*/ 1467143 h 1648590"/>
                <a:gd name="connsiteX39" fmla="*/ 4869246 w 6512821"/>
                <a:gd name="connsiteY39" fmla="*/ 667825 h 1648590"/>
                <a:gd name="connsiteX40" fmla="*/ 4750973 w 6512821"/>
                <a:gd name="connsiteY40" fmla="*/ 667825 h 1648590"/>
                <a:gd name="connsiteX41" fmla="*/ 4750973 w 6512821"/>
                <a:gd name="connsiteY41" fmla="*/ 634153 h 1648590"/>
                <a:gd name="connsiteX42" fmla="*/ 4638822 w 6512821"/>
                <a:gd name="connsiteY42" fmla="*/ 677984 h 1648590"/>
                <a:gd name="connsiteX43" fmla="*/ 4467535 w 6512821"/>
                <a:gd name="connsiteY43" fmla="*/ 458763 h 1648590"/>
                <a:gd name="connsiteX44" fmla="*/ 4467535 w 6512821"/>
                <a:gd name="connsiteY44" fmla="*/ 186527 h 1648590"/>
                <a:gd name="connsiteX45" fmla="*/ 4587827 w 6512821"/>
                <a:gd name="connsiteY45" fmla="*/ 186527 h 1648590"/>
                <a:gd name="connsiteX46" fmla="*/ 4587827 w 6512821"/>
                <a:gd name="connsiteY46" fmla="*/ 448538 h 1648590"/>
                <a:gd name="connsiteX47" fmla="*/ 4668390 w 6512821"/>
                <a:gd name="connsiteY47" fmla="*/ 562708 h 1648590"/>
                <a:gd name="connsiteX48" fmla="*/ 4748954 w 6512821"/>
                <a:gd name="connsiteY48" fmla="*/ 452576 h 1648590"/>
                <a:gd name="connsiteX49" fmla="*/ 4748954 w 6512821"/>
                <a:gd name="connsiteY49" fmla="*/ 186462 h 1648590"/>
                <a:gd name="connsiteX50" fmla="*/ 4869246 w 6512821"/>
                <a:gd name="connsiteY50" fmla="*/ 186462 h 1648590"/>
                <a:gd name="connsiteX51" fmla="*/ 4869246 w 6512821"/>
                <a:gd name="connsiteY51" fmla="*/ 667695 h 1648590"/>
                <a:gd name="connsiteX52" fmla="*/ 5244449 w 6512821"/>
                <a:gd name="connsiteY52" fmla="*/ 527083 h 1648590"/>
                <a:gd name="connsiteX53" fmla="*/ 5227125 w 6512821"/>
                <a:gd name="connsiteY53" fmla="*/ 649458 h 1648590"/>
                <a:gd name="connsiteX54" fmla="*/ 5128261 w 6512821"/>
                <a:gd name="connsiteY54" fmla="*/ 677984 h 1648590"/>
                <a:gd name="connsiteX55" fmla="*/ 4997744 w 6512821"/>
                <a:gd name="connsiteY55" fmla="*/ 535224 h 1648590"/>
                <a:gd name="connsiteX56" fmla="*/ 4997744 w 6512821"/>
                <a:gd name="connsiteY56" fmla="*/ 301739 h 1648590"/>
                <a:gd name="connsiteX57" fmla="*/ 4928447 w 6512821"/>
                <a:gd name="connsiteY57" fmla="*/ 301739 h 1648590"/>
                <a:gd name="connsiteX58" fmla="*/ 4928447 w 6512821"/>
                <a:gd name="connsiteY58" fmla="*/ 186527 h 1648590"/>
                <a:gd name="connsiteX59" fmla="*/ 4997744 w 6512821"/>
                <a:gd name="connsiteY59" fmla="*/ 186527 h 1648590"/>
                <a:gd name="connsiteX60" fmla="*/ 4997744 w 6512821"/>
                <a:gd name="connsiteY60" fmla="*/ 61155 h 1648590"/>
                <a:gd name="connsiteX61" fmla="*/ 5118035 w 6512821"/>
                <a:gd name="connsiteY61" fmla="*/ 0 h 1648590"/>
                <a:gd name="connsiteX62" fmla="*/ 5118035 w 6512821"/>
                <a:gd name="connsiteY62" fmla="*/ 186592 h 1648590"/>
                <a:gd name="connsiteX63" fmla="*/ 5232205 w 6512821"/>
                <a:gd name="connsiteY63" fmla="*/ 186592 h 1648590"/>
                <a:gd name="connsiteX64" fmla="*/ 5232205 w 6512821"/>
                <a:gd name="connsiteY64" fmla="*/ 301804 h 1648590"/>
                <a:gd name="connsiteX65" fmla="*/ 5118035 w 6512821"/>
                <a:gd name="connsiteY65" fmla="*/ 301804 h 1648590"/>
                <a:gd name="connsiteX66" fmla="*/ 5118035 w 6512821"/>
                <a:gd name="connsiteY66" fmla="*/ 503701 h 1648590"/>
                <a:gd name="connsiteX67" fmla="*/ 5164928 w 6512821"/>
                <a:gd name="connsiteY67" fmla="*/ 560819 h 1648590"/>
                <a:gd name="connsiteX68" fmla="*/ 5244449 w 6512821"/>
                <a:gd name="connsiteY68" fmla="*/ 527148 h 1648590"/>
                <a:gd name="connsiteX69" fmla="*/ 3417407 w 6512821"/>
                <a:gd name="connsiteY69" fmla="*/ 667825 h 1648590"/>
                <a:gd name="connsiteX70" fmla="*/ 3297116 w 6512821"/>
                <a:gd name="connsiteY70" fmla="*/ 667825 h 1648590"/>
                <a:gd name="connsiteX71" fmla="*/ 3297116 w 6512821"/>
                <a:gd name="connsiteY71" fmla="*/ 405814 h 1648590"/>
                <a:gd name="connsiteX72" fmla="*/ 3215575 w 6512821"/>
                <a:gd name="connsiteY72" fmla="*/ 292621 h 1648590"/>
                <a:gd name="connsiteX73" fmla="*/ 3132993 w 6512821"/>
                <a:gd name="connsiteY73" fmla="*/ 402753 h 1648590"/>
                <a:gd name="connsiteX74" fmla="*/ 3132993 w 6512821"/>
                <a:gd name="connsiteY74" fmla="*/ 667825 h 1648590"/>
                <a:gd name="connsiteX75" fmla="*/ 3012701 w 6512821"/>
                <a:gd name="connsiteY75" fmla="*/ 667825 h 1648590"/>
                <a:gd name="connsiteX76" fmla="*/ 3012701 w 6512821"/>
                <a:gd name="connsiteY76" fmla="*/ 61221 h 1648590"/>
                <a:gd name="connsiteX77" fmla="*/ 3132993 w 6512821"/>
                <a:gd name="connsiteY77" fmla="*/ 65 h 1648590"/>
                <a:gd name="connsiteX78" fmla="*/ 3132993 w 6512821"/>
                <a:gd name="connsiteY78" fmla="*/ 220264 h 1648590"/>
                <a:gd name="connsiteX79" fmla="*/ 3246186 w 6512821"/>
                <a:gd name="connsiteY79" fmla="*/ 176432 h 1648590"/>
                <a:gd name="connsiteX80" fmla="*/ 3417473 w 6512821"/>
                <a:gd name="connsiteY80" fmla="*/ 396631 h 1648590"/>
                <a:gd name="connsiteX81" fmla="*/ 3417473 w 6512821"/>
                <a:gd name="connsiteY81" fmla="*/ 667825 h 1648590"/>
                <a:gd name="connsiteX82" fmla="*/ 5564554 w 6512821"/>
                <a:gd name="connsiteY82" fmla="*/ 1638365 h 1648590"/>
                <a:gd name="connsiteX83" fmla="*/ 5440160 w 6512821"/>
                <a:gd name="connsiteY83" fmla="*/ 1638365 h 1648590"/>
                <a:gd name="connsiteX84" fmla="*/ 5440160 w 6512821"/>
                <a:gd name="connsiteY84" fmla="*/ 1376355 h 1648590"/>
                <a:gd name="connsiteX85" fmla="*/ 5357577 w 6512821"/>
                <a:gd name="connsiteY85" fmla="*/ 1264204 h 1648590"/>
                <a:gd name="connsiteX86" fmla="*/ 5273952 w 6512821"/>
                <a:gd name="connsiteY86" fmla="*/ 1373293 h 1648590"/>
                <a:gd name="connsiteX87" fmla="*/ 5273952 w 6512821"/>
                <a:gd name="connsiteY87" fmla="*/ 1638365 h 1648590"/>
                <a:gd name="connsiteX88" fmla="*/ 5149558 w 6512821"/>
                <a:gd name="connsiteY88" fmla="*/ 1638365 h 1648590"/>
                <a:gd name="connsiteX89" fmla="*/ 5149558 w 6512821"/>
                <a:gd name="connsiteY89" fmla="*/ 1157133 h 1648590"/>
                <a:gd name="connsiteX90" fmla="*/ 5273952 w 6512821"/>
                <a:gd name="connsiteY90" fmla="*/ 1157133 h 1648590"/>
                <a:gd name="connsiteX91" fmla="*/ 5273952 w 6512821"/>
                <a:gd name="connsiteY91" fmla="*/ 1189762 h 1648590"/>
                <a:gd name="connsiteX92" fmla="*/ 5391183 w 6512821"/>
                <a:gd name="connsiteY92" fmla="*/ 1146973 h 1648590"/>
                <a:gd name="connsiteX93" fmla="*/ 5564490 w 6512821"/>
                <a:gd name="connsiteY93" fmla="*/ 1366195 h 1648590"/>
                <a:gd name="connsiteX94" fmla="*/ 5564490 w 6512821"/>
                <a:gd name="connsiteY94" fmla="*/ 1638430 h 1648590"/>
                <a:gd name="connsiteX95" fmla="*/ 4008772 w 6512821"/>
                <a:gd name="connsiteY95" fmla="*/ 1115386 h 1648590"/>
                <a:gd name="connsiteX96" fmla="*/ 4080152 w 6512821"/>
                <a:gd name="connsiteY96" fmla="*/ 1044005 h 1648590"/>
                <a:gd name="connsiteX97" fmla="*/ 4008772 w 6512821"/>
                <a:gd name="connsiteY97" fmla="*/ 972624 h 1648590"/>
                <a:gd name="connsiteX98" fmla="*/ 3937391 w 6512821"/>
                <a:gd name="connsiteY98" fmla="*/ 1044005 h 1648590"/>
                <a:gd name="connsiteX99" fmla="*/ 4008772 w 6512821"/>
                <a:gd name="connsiteY99" fmla="*/ 1115386 h 1648590"/>
                <a:gd name="connsiteX100" fmla="*/ 829864 w 6512821"/>
                <a:gd name="connsiteY100" fmla="*/ 1115386 h 1648590"/>
                <a:gd name="connsiteX101" fmla="*/ 901244 w 6512821"/>
                <a:gd name="connsiteY101" fmla="*/ 1044005 h 1648590"/>
                <a:gd name="connsiteX102" fmla="*/ 829864 w 6512821"/>
                <a:gd name="connsiteY102" fmla="*/ 972624 h 1648590"/>
                <a:gd name="connsiteX103" fmla="*/ 758483 w 6512821"/>
                <a:gd name="connsiteY103" fmla="*/ 1044005 h 1648590"/>
                <a:gd name="connsiteX104" fmla="*/ 829864 w 6512821"/>
                <a:gd name="connsiteY104" fmla="*/ 1115386 h 1648590"/>
                <a:gd name="connsiteX105" fmla="*/ 6512756 w 6512821"/>
                <a:gd name="connsiteY105" fmla="*/ 426134 h 1648590"/>
                <a:gd name="connsiteX106" fmla="*/ 6510737 w 6512821"/>
                <a:gd name="connsiteY106" fmla="*/ 467946 h 1648590"/>
                <a:gd name="connsiteX107" fmla="*/ 6219158 w 6512821"/>
                <a:gd name="connsiteY107" fmla="*/ 467946 h 1648590"/>
                <a:gd name="connsiteX108" fmla="*/ 6322126 w 6512821"/>
                <a:gd name="connsiteY108" fmla="*/ 562773 h 1648590"/>
                <a:gd name="connsiteX109" fmla="*/ 6405751 w 6512821"/>
                <a:gd name="connsiteY109" fmla="*/ 529102 h 1648590"/>
                <a:gd name="connsiteX110" fmla="*/ 6491394 w 6512821"/>
                <a:gd name="connsiteY110" fmla="*/ 601459 h 1648590"/>
                <a:gd name="connsiteX111" fmla="*/ 6317046 w 6512821"/>
                <a:gd name="connsiteY111" fmla="*/ 677919 h 1648590"/>
                <a:gd name="connsiteX112" fmla="*/ 6095805 w 6512821"/>
                <a:gd name="connsiteY112" fmla="*/ 428153 h 1648590"/>
                <a:gd name="connsiteX113" fmla="*/ 6308905 w 6512821"/>
                <a:gd name="connsiteY113" fmla="*/ 176302 h 1648590"/>
                <a:gd name="connsiteX114" fmla="*/ 6512821 w 6512821"/>
                <a:gd name="connsiteY114" fmla="*/ 426069 h 1648590"/>
                <a:gd name="connsiteX115" fmla="*/ 6221177 w 6512821"/>
                <a:gd name="connsiteY115" fmla="*/ 374162 h 1648590"/>
                <a:gd name="connsiteX116" fmla="*/ 6392465 w 6512821"/>
                <a:gd name="connsiteY116" fmla="*/ 374162 h 1648590"/>
                <a:gd name="connsiteX117" fmla="*/ 6304802 w 6512821"/>
                <a:gd name="connsiteY117" fmla="*/ 283438 h 1648590"/>
                <a:gd name="connsiteX118" fmla="*/ 6221177 w 6512821"/>
                <a:gd name="connsiteY118" fmla="*/ 374162 h 1648590"/>
                <a:gd name="connsiteX119" fmla="*/ 5702235 w 6512821"/>
                <a:gd name="connsiteY119" fmla="*/ 667825 h 1648590"/>
                <a:gd name="connsiteX120" fmla="*/ 5583963 w 6512821"/>
                <a:gd name="connsiteY120" fmla="*/ 667825 h 1648590"/>
                <a:gd name="connsiteX121" fmla="*/ 5583963 w 6512821"/>
                <a:gd name="connsiteY121" fmla="*/ 634153 h 1648590"/>
                <a:gd name="connsiteX122" fmla="*/ 5471812 w 6512821"/>
                <a:gd name="connsiteY122" fmla="*/ 677984 h 1648590"/>
                <a:gd name="connsiteX123" fmla="*/ 5300525 w 6512821"/>
                <a:gd name="connsiteY123" fmla="*/ 458763 h 1648590"/>
                <a:gd name="connsiteX124" fmla="*/ 5300525 w 6512821"/>
                <a:gd name="connsiteY124" fmla="*/ 186527 h 1648590"/>
                <a:gd name="connsiteX125" fmla="*/ 5420817 w 6512821"/>
                <a:gd name="connsiteY125" fmla="*/ 186527 h 1648590"/>
                <a:gd name="connsiteX126" fmla="*/ 5420817 w 6512821"/>
                <a:gd name="connsiteY126" fmla="*/ 448538 h 1648590"/>
                <a:gd name="connsiteX127" fmla="*/ 5501380 w 6512821"/>
                <a:gd name="connsiteY127" fmla="*/ 562708 h 1648590"/>
                <a:gd name="connsiteX128" fmla="*/ 5581944 w 6512821"/>
                <a:gd name="connsiteY128" fmla="*/ 452576 h 1648590"/>
                <a:gd name="connsiteX129" fmla="*/ 5581944 w 6512821"/>
                <a:gd name="connsiteY129" fmla="*/ 186462 h 1648590"/>
                <a:gd name="connsiteX130" fmla="*/ 5702235 w 6512821"/>
                <a:gd name="connsiteY130" fmla="*/ 186462 h 1648590"/>
                <a:gd name="connsiteX131" fmla="*/ 5702235 w 6512821"/>
                <a:gd name="connsiteY131" fmla="*/ 667695 h 1648590"/>
                <a:gd name="connsiteX132" fmla="*/ 3895579 w 6512821"/>
                <a:gd name="connsiteY132" fmla="*/ 426134 h 1648590"/>
                <a:gd name="connsiteX133" fmla="*/ 3893560 w 6512821"/>
                <a:gd name="connsiteY133" fmla="*/ 467946 h 1648590"/>
                <a:gd name="connsiteX134" fmla="*/ 3601981 w 6512821"/>
                <a:gd name="connsiteY134" fmla="*/ 467946 h 1648590"/>
                <a:gd name="connsiteX135" fmla="*/ 3704949 w 6512821"/>
                <a:gd name="connsiteY135" fmla="*/ 562773 h 1648590"/>
                <a:gd name="connsiteX136" fmla="*/ 3788573 w 6512821"/>
                <a:gd name="connsiteY136" fmla="*/ 529102 h 1648590"/>
                <a:gd name="connsiteX137" fmla="*/ 3874217 w 6512821"/>
                <a:gd name="connsiteY137" fmla="*/ 601459 h 1648590"/>
                <a:gd name="connsiteX138" fmla="*/ 3699868 w 6512821"/>
                <a:gd name="connsiteY138" fmla="*/ 677919 h 1648590"/>
                <a:gd name="connsiteX139" fmla="*/ 3478628 w 6512821"/>
                <a:gd name="connsiteY139" fmla="*/ 428153 h 1648590"/>
                <a:gd name="connsiteX140" fmla="*/ 3691727 w 6512821"/>
                <a:gd name="connsiteY140" fmla="*/ 176302 h 1648590"/>
                <a:gd name="connsiteX141" fmla="*/ 3895644 w 6512821"/>
                <a:gd name="connsiteY141" fmla="*/ 426069 h 1648590"/>
                <a:gd name="connsiteX142" fmla="*/ 3604000 w 6512821"/>
                <a:gd name="connsiteY142" fmla="*/ 374162 h 1648590"/>
                <a:gd name="connsiteX143" fmla="*/ 3775287 w 6512821"/>
                <a:gd name="connsiteY143" fmla="*/ 374162 h 1648590"/>
                <a:gd name="connsiteX144" fmla="*/ 3687624 w 6512821"/>
                <a:gd name="connsiteY144" fmla="*/ 283438 h 1648590"/>
                <a:gd name="connsiteX145" fmla="*/ 3604000 w 6512821"/>
                <a:gd name="connsiteY145" fmla="*/ 374162 h 1648590"/>
                <a:gd name="connsiteX146" fmla="*/ 4579686 w 6512821"/>
                <a:gd name="connsiteY146" fmla="*/ 1638365 h 1648590"/>
                <a:gd name="connsiteX147" fmla="*/ 4455291 w 6512821"/>
                <a:gd name="connsiteY147" fmla="*/ 1638365 h 1648590"/>
                <a:gd name="connsiteX148" fmla="*/ 4455291 w 6512821"/>
                <a:gd name="connsiteY148" fmla="*/ 1606778 h 1648590"/>
                <a:gd name="connsiteX149" fmla="*/ 4346201 w 6512821"/>
                <a:gd name="connsiteY149" fmla="*/ 1648590 h 1648590"/>
                <a:gd name="connsiteX150" fmla="*/ 4148406 w 6512821"/>
                <a:gd name="connsiteY150" fmla="*/ 1393678 h 1648590"/>
                <a:gd name="connsiteX151" fmla="*/ 4343140 w 6512821"/>
                <a:gd name="connsiteY151" fmla="*/ 1146973 h 1648590"/>
                <a:gd name="connsiteX152" fmla="*/ 4455291 w 6512821"/>
                <a:gd name="connsiteY152" fmla="*/ 1185724 h 1648590"/>
                <a:gd name="connsiteX153" fmla="*/ 4455291 w 6512821"/>
                <a:gd name="connsiteY153" fmla="*/ 1031761 h 1648590"/>
                <a:gd name="connsiteX154" fmla="*/ 4579686 w 6512821"/>
                <a:gd name="connsiteY154" fmla="*/ 969564 h 1648590"/>
                <a:gd name="connsiteX155" fmla="*/ 4579686 w 6512821"/>
                <a:gd name="connsiteY155" fmla="*/ 1638365 h 1648590"/>
                <a:gd name="connsiteX156" fmla="*/ 4455356 w 6512821"/>
                <a:gd name="connsiteY156" fmla="*/ 1489547 h 1648590"/>
                <a:gd name="connsiteX157" fmla="*/ 4455356 w 6512821"/>
                <a:gd name="connsiteY157" fmla="*/ 1306016 h 1648590"/>
                <a:gd name="connsiteX158" fmla="*/ 4368670 w 6512821"/>
                <a:gd name="connsiteY158" fmla="*/ 1264204 h 1648590"/>
                <a:gd name="connsiteX159" fmla="*/ 4278924 w 6512821"/>
                <a:gd name="connsiteY159" fmla="*/ 1389575 h 1648590"/>
                <a:gd name="connsiteX160" fmla="*/ 4371731 w 6512821"/>
                <a:gd name="connsiteY160" fmla="*/ 1531294 h 1648590"/>
                <a:gd name="connsiteX161" fmla="*/ 4455356 w 6512821"/>
                <a:gd name="connsiteY161" fmla="*/ 1489482 h 1648590"/>
                <a:gd name="connsiteX162" fmla="*/ 3945532 w 6512821"/>
                <a:gd name="connsiteY162" fmla="*/ 1157198 h 1648590"/>
                <a:gd name="connsiteX163" fmla="*/ 3945532 w 6512821"/>
                <a:gd name="connsiteY163" fmla="*/ 1638430 h 1648590"/>
                <a:gd name="connsiteX164" fmla="*/ 4069927 w 6512821"/>
                <a:gd name="connsiteY164" fmla="*/ 1638430 h 1648590"/>
                <a:gd name="connsiteX165" fmla="*/ 4069927 w 6512821"/>
                <a:gd name="connsiteY165" fmla="*/ 1157198 h 1648590"/>
                <a:gd name="connsiteX166" fmla="*/ 3945532 w 6512821"/>
                <a:gd name="connsiteY166" fmla="*/ 1157198 h 1648590"/>
                <a:gd name="connsiteX167" fmla="*/ 3873175 w 6512821"/>
                <a:gd name="connsiteY167" fmla="*/ 985911 h 1648590"/>
                <a:gd name="connsiteX168" fmla="*/ 3873175 w 6512821"/>
                <a:gd name="connsiteY168" fmla="*/ 1085817 h 1648590"/>
                <a:gd name="connsiteX169" fmla="*/ 3812019 w 6512821"/>
                <a:gd name="connsiteY169" fmla="*/ 1076634 h 1648590"/>
                <a:gd name="connsiteX170" fmla="*/ 3760047 w 6512821"/>
                <a:gd name="connsiteY170" fmla="*/ 1118447 h 1648590"/>
                <a:gd name="connsiteX171" fmla="*/ 3760047 w 6512821"/>
                <a:gd name="connsiteY171" fmla="*/ 1157198 h 1648590"/>
                <a:gd name="connsiteX172" fmla="*/ 3863015 w 6512821"/>
                <a:gd name="connsiteY172" fmla="*/ 1157198 h 1648590"/>
                <a:gd name="connsiteX173" fmla="*/ 3863015 w 6512821"/>
                <a:gd name="connsiteY173" fmla="*/ 1273452 h 1648590"/>
                <a:gd name="connsiteX174" fmla="*/ 3760047 w 6512821"/>
                <a:gd name="connsiteY174" fmla="*/ 1273452 h 1648590"/>
                <a:gd name="connsiteX175" fmla="*/ 3760047 w 6512821"/>
                <a:gd name="connsiteY175" fmla="*/ 1638430 h 1648590"/>
                <a:gd name="connsiteX176" fmla="*/ 3635652 w 6512821"/>
                <a:gd name="connsiteY176" fmla="*/ 1638430 h 1648590"/>
                <a:gd name="connsiteX177" fmla="*/ 3635652 w 6512821"/>
                <a:gd name="connsiteY177" fmla="*/ 1273452 h 1648590"/>
                <a:gd name="connsiteX178" fmla="*/ 3568375 w 6512821"/>
                <a:gd name="connsiteY178" fmla="*/ 1273452 h 1648590"/>
                <a:gd name="connsiteX179" fmla="*/ 3568375 w 6512821"/>
                <a:gd name="connsiteY179" fmla="*/ 1157198 h 1648590"/>
                <a:gd name="connsiteX180" fmla="*/ 3635652 w 6512821"/>
                <a:gd name="connsiteY180" fmla="*/ 1157198 h 1648590"/>
                <a:gd name="connsiteX181" fmla="*/ 3635652 w 6512821"/>
                <a:gd name="connsiteY181" fmla="*/ 1099104 h 1648590"/>
                <a:gd name="connsiteX182" fmla="*/ 3782451 w 6512821"/>
                <a:gd name="connsiteY182" fmla="*/ 972690 h 1648590"/>
                <a:gd name="connsiteX183" fmla="*/ 3873175 w 6512821"/>
                <a:gd name="connsiteY183" fmla="*/ 985976 h 1648590"/>
                <a:gd name="connsiteX184" fmla="*/ 3507154 w 6512821"/>
                <a:gd name="connsiteY184" fmla="*/ 1638365 h 1648590"/>
                <a:gd name="connsiteX185" fmla="*/ 3382759 w 6512821"/>
                <a:gd name="connsiteY185" fmla="*/ 1638365 h 1648590"/>
                <a:gd name="connsiteX186" fmla="*/ 3382759 w 6512821"/>
                <a:gd name="connsiteY186" fmla="*/ 1376355 h 1648590"/>
                <a:gd name="connsiteX187" fmla="*/ 3300177 w 6512821"/>
                <a:gd name="connsiteY187" fmla="*/ 1264204 h 1648590"/>
                <a:gd name="connsiteX188" fmla="*/ 3216552 w 6512821"/>
                <a:gd name="connsiteY188" fmla="*/ 1373293 h 1648590"/>
                <a:gd name="connsiteX189" fmla="*/ 3216552 w 6512821"/>
                <a:gd name="connsiteY189" fmla="*/ 1638365 h 1648590"/>
                <a:gd name="connsiteX190" fmla="*/ 3092157 w 6512821"/>
                <a:gd name="connsiteY190" fmla="*/ 1638365 h 1648590"/>
                <a:gd name="connsiteX191" fmla="*/ 3092157 w 6512821"/>
                <a:gd name="connsiteY191" fmla="*/ 1157133 h 1648590"/>
                <a:gd name="connsiteX192" fmla="*/ 3216552 w 6512821"/>
                <a:gd name="connsiteY192" fmla="*/ 1157133 h 1648590"/>
                <a:gd name="connsiteX193" fmla="*/ 3216552 w 6512821"/>
                <a:gd name="connsiteY193" fmla="*/ 1189762 h 1648590"/>
                <a:gd name="connsiteX194" fmla="*/ 3333783 w 6512821"/>
                <a:gd name="connsiteY194" fmla="*/ 1146973 h 1648590"/>
                <a:gd name="connsiteX195" fmla="*/ 3507089 w 6512821"/>
                <a:gd name="connsiteY195" fmla="*/ 1366195 h 1648590"/>
                <a:gd name="connsiteX196" fmla="*/ 3507089 w 6512821"/>
                <a:gd name="connsiteY196" fmla="*/ 1638430 h 1648590"/>
                <a:gd name="connsiteX197" fmla="*/ 2792437 w 6512821"/>
                <a:gd name="connsiteY197" fmla="*/ 1146973 h 1648590"/>
                <a:gd name="connsiteX198" fmla="*/ 2567094 w 6512821"/>
                <a:gd name="connsiteY198" fmla="*/ 1397782 h 1648590"/>
                <a:gd name="connsiteX199" fmla="*/ 2792437 w 6512821"/>
                <a:gd name="connsiteY199" fmla="*/ 1648590 h 1648590"/>
                <a:gd name="connsiteX200" fmla="*/ 3017781 w 6512821"/>
                <a:gd name="connsiteY200" fmla="*/ 1397782 h 1648590"/>
                <a:gd name="connsiteX201" fmla="*/ 2792437 w 6512821"/>
                <a:gd name="connsiteY201" fmla="*/ 1146973 h 1648590"/>
                <a:gd name="connsiteX202" fmla="*/ 2792437 w 6512821"/>
                <a:gd name="connsiteY202" fmla="*/ 1528299 h 1648590"/>
                <a:gd name="connsiteX203" fmla="*/ 2695592 w 6512821"/>
                <a:gd name="connsiteY203" fmla="*/ 1397782 h 1648590"/>
                <a:gd name="connsiteX204" fmla="*/ 2792437 w 6512821"/>
                <a:gd name="connsiteY204" fmla="*/ 1266288 h 1648590"/>
                <a:gd name="connsiteX205" fmla="*/ 2889283 w 6512821"/>
                <a:gd name="connsiteY205" fmla="*/ 1397782 h 1648590"/>
                <a:gd name="connsiteX206" fmla="*/ 2792437 w 6512821"/>
                <a:gd name="connsiteY206" fmla="*/ 1528299 h 1648590"/>
                <a:gd name="connsiteX207" fmla="*/ 2446802 w 6512821"/>
                <a:gd name="connsiteY207" fmla="*/ 1467143 h 1648590"/>
                <a:gd name="connsiteX208" fmla="*/ 2526323 w 6512821"/>
                <a:gd name="connsiteY208" fmla="*/ 1542561 h 1648590"/>
                <a:gd name="connsiteX209" fmla="*/ 2334651 w 6512821"/>
                <a:gd name="connsiteY209" fmla="*/ 1648590 h 1648590"/>
                <a:gd name="connsiteX210" fmla="*/ 2106246 w 6512821"/>
                <a:gd name="connsiteY210" fmla="*/ 1398823 h 1648590"/>
                <a:gd name="connsiteX211" fmla="*/ 2336670 w 6512821"/>
                <a:gd name="connsiteY211" fmla="*/ 1146973 h 1648590"/>
                <a:gd name="connsiteX212" fmla="*/ 2525281 w 6512821"/>
                <a:gd name="connsiteY212" fmla="*/ 1250983 h 1648590"/>
                <a:gd name="connsiteX213" fmla="*/ 2443741 w 6512821"/>
                <a:gd name="connsiteY213" fmla="*/ 1333565 h 1648590"/>
                <a:gd name="connsiteX214" fmla="*/ 2335693 w 6512821"/>
                <a:gd name="connsiteY214" fmla="*/ 1266288 h 1648590"/>
                <a:gd name="connsiteX215" fmla="*/ 2234744 w 6512821"/>
                <a:gd name="connsiteY215" fmla="*/ 1396804 h 1648590"/>
                <a:gd name="connsiteX216" fmla="*/ 2336670 w 6512821"/>
                <a:gd name="connsiteY216" fmla="*/ 1528299 h 1648590"/>
                <a:gd name="connsiteX217" fmla="*/ 2446802 w 6512821"/>
                <a:gd name="connsiteY217" fmla="*/ 1467143 h 1648590"/>
                <a:gd name="connsiteX218" fmla="*/ 1803530 w 6512821"/>
                <a:gd name="connsiteY218" fmla="*/ 1638365 h 1648590"/>
                <a:gd name="connsiteX219" fmla="*/ 1679135 w 6512821"/>
                <a:gd name="connsiteY219" fmla="*/ 1638365 h 1648590"/>
                <a:gd name="connsiteX220" fmla="*/ 1679135 w 6512821"/>
                <a:gd name="connsiteY220" fmla="*/ 1376355 h 1648590"/>
                <a:gd name="connsiteX221" fmla="*/ 1596553 w 6512821"/>
                <a:gd name="connsiteY221" fmla="*/ 1264204 h 1648590"/>
                <a:gd name="connsiteX222" fmla="*/ 1511951 w 6512821"/>
                <a:gd name="connsiteY222" fmla="*/ 1373293 h 1648590"/>
                <a:gd name="connsiteX223" fmla="*/ 1511951 w 6512821"/>
                <a:gd name="connsiteY223" fmla="*/ 1638365 h 1648590"/>
                <a:gd name="connsiteX224" fmla="*/ 1387557 w 6512821"/>
                <a:gd name="connsiteY224" fmla="*/ 1638365 h 1648590"/>
                <a:gd name="connsiteX225" fmla="*/ 1387557 w 6512821"/>
                <a:gd name="connsiteY225" fmla="*/ 1031761 h 1648590"/>
                <a:gd name="connsiteX226" fmla="*/ 1511951 w 6512821"/>
                <a:gd name="connsiteY226" fmla="*/ 969564 h 1648590"/>
                <a:gd name="connsiteX227" fmla="*/ 1511951 w 6512821"/>
                <a:gd name="connsiteY227" fmla="*/ 1189762 h 1648590"/>
                <a:gd name="connsiteX228" fmla="*/ 1632243 w 6512821"/>
                <a:gd name="connsiteY228" fmla="*/ 1146973 h 1648590"/>
                <a:gd name="connsiteX229" fmla="*/ 1803530 w 6512821"/>
                <a:gd name="connsiteY229" fmla="*/ 1366195 h 1648590"/>
                <a:gd name="connsiteX230" fmla="*/ 1803530 w 6512821"/>
                <a:gd name="connsiteY230" fmla="*/ 1638430 h 1648590"/>
                <a:gd name="connsiteX231" fmla="*/ 1311031 w 6512821"/>
                <a:gd name="connsiteY231" fmla="*/ 1493650 h 1648590"/>
                <a:gd name="connsiteX232" fmla="*/ 1292665 w 6512821"/>
                <a:gd name="connsiteY232" fmla="*/ 1619022 h 1648590"/>
                <a:gd name="connsiteX233" fmla="*/ 1173350 w 6512821"/>
                <a:gd name="connsiteY233" fmla="*/ 1648590 h 1648590"/>
                <a:gd name="connsiteX234" fmla="*/ 1043875 w 6512821"/>
                <a:gd name="connsiteY234" fmla="*/ 1504852 h 1648590"/>
                <a:gd name="connsiteX235" fmla="*/ 1043875 w 6512821"/>
                <a:gd name="connsiteY235" fmla="*/ 1273387 h 1648590"/>
                <a:gd name="connsiteX236" fmla="*/ 960250 w 6512821"/>
                <a:gd name="connsiteY236" fmla="*/ 1273387 h 1648590"/>
                <a:gd name="connsiteX237" fmla="*/ 960250 w 6512821"/>
                <a:gd name="connsiteY237" fmla="*/ 1157133 h 1648590"/>
                <a:gd name="connsiteX238" fmla="*/ 1043875 w 6512821"/>
                <a:gd name="connsiteY238" fmla="*/ 1157133 h 1648590"/>
                <a:gd name="connsiteX239" fmla="*/ 1043875 w 6512821"/>
                <a:gd name="connsiteY239" fmla="*/ 1031761 h 1648590"/>
                <a:gd name="connsiteX240" fmla="*/ 1168270 w 6512821"/>
                <a:gd name="connsiteY240" fmla="*/ 969564 h 1648590"/>
                <a:gd name="connsiteX241" fmla="*/ 1168270 w 6512821"/>
                <a:gd name="connsiteY241" fmla="*/ 1157133 h 1648590"/>
                <a:gd name="connsiteX242" fmla="*/ 1308947 w 6512821"/>
                <a:gd name="connsiteY242" fmla="*/ 1157133 h 1648590"/>
                <a:gd name="connsiteX243" fmla="*/ 1308947 w 6512821"/>
                <a:gd name="connsiteY243" fmla="*/ 1273387 h 1648590"/>
                <a:gd name="connsiteX244" fmla="*/ 1168270 w 6512821"/>
                <a:gd name="connsiteY244" fmla="*/ 1273387 h 1648590"/>
                <a:gd name="connsiteX245" fmla="*/ 1168270 w 6512821"/>
                <a:gd name="connsiteY245" fmla="*/ 1471181 h 1648590"/>
                <a:gd name="connsiteX246" fmla="*/ 1214120 w 6512821"/>
                <a:gd name="connsiteY246" fmla="*/ 1529275 h 1648590"/>
                <a:gd name="connsiteX247" fmla="*/ 1310966 w 6512821"/>
                <a:gd name="connsiteY247" fmla="*/ 1493585 h 1648590"/>
                <a:gd name="connsiteX248" fmla="*/ 767666 w 6512821"/>
                <a:gd name="connsiteY248" fmla="*/ 1157198 h 1648590"/>
                <a:gd name="connsiteX249" fmla="*/ 767666 w 6512821"/>
                <a:gd name="connsiteY249" fmla="*/ 1638430 h 1648590"/>
                <a:gd name="connsiteX250" fmla="*/ 892061 w 6512821"/>
                <a:gd name="connsiteY250" fmla="*/ 1638430 h 1648590"/>
                <a:gd name="connsiteX251" fmla="*/ 892061 w 6512821"/>
                <a:gd name="connsiteY251" fmla="*/ 1157198 h 1648590"/>
                <a:gd name="connsiteX252" fmla="*/ 767666 w 6512821"/>
                <a:gd name="connsiteY252" fmla="*/ 1157198 h 1648590"/>
                <a:gd name="connsiteX253" fmla="*/ 702408 w 6512821"/>
                <a:gd name="connsiteY253" fmla="*/ 1157198 h 1648590"/>
                <a:gd name="connsiteX254" fmla="*/ 550529 w 6512821"/>
                <a:gd name="connsiteY254" fmla="*/ 1638430 h 1648590"/>
                <a:gd name="connsiteX255" fmla="*/ 436359 w 6512821"/>
                <a:gd name="connsiteY255" fmla="*/ 1638430 h 1648590"/>
                <a:gd name="connsiteX256" fmla="*/ 354819 w 6512821"/>
                <a:gd name="connsiteY256" fmla="*/ 1345809 h 1648590"/>
                <a:gd name="connsiteX257" fmla="*/ 272236 w 6512821"/>
                <a:gd name="connsiteY257" fmla="*/ 1638430 h 1648590"/>
                <a:gd name="connsiteX258" fmla="*/ 158066 w 6512821"/>
                <a:gd name="connsiteY258" fmla="*/ 1638430 h 1648590"/>
                <a:gd name="connsiteX259" fmla="*/ 7099 w 6512821"/>
                <a:gd name="connsiteY259" fmla="*/ 1157198 h 1648590"/>
                <a:gd name="connsiteX260" fmla="*/ 145757 w 6512821"/>
                <a:gd name="connsiteY260" fmla="*/ 1157198 h 1648590"/>
                <a:gd name="connsiteX261" fmla="*/ 218114 w 6512821"/>
                <a:gd name="connsiteY261" fmla="*/ 1436533 h 1648590"/>
                <a:gd name="connsiteX262" fmla="*/ 299655 w 6512821"/>
                <a:gd name="connsiteY262" fmla="*/ 1157198 h 1648590"/>
                <a:gd name="connsiteX263" fmla="*/ 412848 w 6512821"/>
                <a:gd name="connsiteY263" fmla="*/ 1157198 h 1648590"/>
                <a:gd name="connsiteX264" fmla="*/ 494388 w 6512821"/>
                <a:gd name="connsiteY264" fmla="*/ 1436533 h 1648590"/>
                <a:gd name="connsiteX265" fmla="*/ 567788 w 6512821"/>
                <a:gd name="connsiteY265" fmla="*/ 1157198 h 1648590"/>
                <a:gd name="connsiteX266" fmla="*/ 702343 w 6512821"/>
                <a:gd name="connsiteY266" fmla="*/ 1157198 h 1648590"/>
                <a:gd name="connsiteX267" fmla="*/ 4436990 w 6512821"/>
                <a:gd name="connsiteY267" fmla="*/ 16282 h 1648590"/>
                <a:gd name="connsiteX268" fmla="*/ 4436990 w 6512821"/>
                <a:gd name="connsiteY268" fmla="*/ 115147 h 1648590"/>
                <a:gd name="connsiteX269" fmla="*/ 4374792 w 6512821"/>
                <a:gd name="connsiteY269" fmla="*/ 104921 h 1648590"/>
                <a:gd name="connsiteX270" fmla="*/ 4322820 w 6512821"/>
                <a:gd name="connsiteY270" fmla="*/ 144715 h 1648590"/>
                <a:gd name="connsiteX271" fmla="*/ 4322820 w 6512821"/>
                <a:gd name="connsiteY271" fmla="*/ 186527 h 1648590"/>
                <a:gd name="connsiteX272" fmla="*/ 4404361 w 6512821"/>
                <a:gd name="connsiteY272" fmla="*/ 186527 h 1648590"/>
                <a:gd name="connsiteX273" fmla="*/ 4404361 w 6512821"/>
                <a:gd name="connsiteY273" fmla="*/ 302781 h 1648590"/>
                <a:gd name="connsiteX274" fmla="*/ 4322820 w 6512821"/>
                <a:gd name="connsiteY274" fmla="*/ 302781 h 1648590"/>
                <a:gd name="connsiteX275" fmla="*/ 4322820 w 6512821"/>
                <a:gd name="connsiteY275" fmla="*/ 667759 h 1648590"/>
                <a:gd name="connsiteX276" fmla="*/ 4202528 w 6512821"/>
                <a:gd name="connsiteY276" fmla="*/ 667759 h 1648590"/>
                <a:gd name="connsiteX277" fmla="*/ 4202528 w 6512821"/>
                <a:gd name="connsiteY277" fmla="*/ 302781 h 1648590"/>
                <a:gd name="connsiteX278" fmla="*/ 4143392 w 6512821"/>
                <a:gd name="connsiteY278" fmla="*/ 302781 h 1648590"/>
                <a:gd name="connsiteX279" fmla="*/ 4143392 w 6512821"/>
                <a:gd name="connsiteY279" fmla="*/ 186527 h 1648590"/>
                <a:gd name="connsiteX280" fmla="*/ 4202528 w 6512821"/>
                <a:gd name="connsiteY280" fmla="*/ 186527 h 1648590"/>
                <a:gd name="connsiteX281" fmla="*/ 4202528 w 6512821"/>
                <a:gd name="connsiteY281" fmla="*/ 128433 h 1648590"/>
                <a:gd name="connsiteX282" fmla="*/ 4348350 w 6512821"/>
                <a:gd name="connsiteY282" fmla="*/ 2019 h 1648590"/>
                <a:gd name="connsiteX283" fmla="*/ 4437055 w 6512821"/>
                <a:gd name="connsiteY283" fmla="*/ 16282 h 1648590"/>
                <a:gd name="connsiteX284" fmla="*/ 2957602 w 6512821"/>
                <a:gd name="connsiteY284" fmla="*/ 527083 h 1648590"/>
                <a:gd name="connsiteX285" fmla="*/ 2940278 w 6512821"/>
                <a:gd name="connsiteY285" fmla="*/ 649458 h 1648590"/>
                <a:gd name="connsiteX286" fmla="*/ 2843433 w 6512821"/>
                <a:gd name="connsiteY286" fmla="*/ 677984 h 1648590"/>
                <a:gd name="connsiteX287" fmla="*/ 2712916 w 6512821"/>
                <a:gd name="connsiteY287" fmla="*/ 535224 h 1648590"/>
                <a:gd name="connsiteX288" fmla="*/ 2712916 w 6512821"/>
                <a:gd name="connsiteY288" fmla="*/ 301739 h 1648590"/>
                <a:gd name="connsiteX289" fmla="*/ 2629291 w 6512821"/>
                <a:gd name="connsiteY289" fmla="*/ 301739 h 1648590"/>
                <a:gd name="connsiteX290" fmla="*/ 2629291 w 6512821"/>
                <a:gd name="connsiteY290" fmla="*/ 186527 h 1648590"/>
                <a:gd name="connsiteX291" fmla="*/ 2712916 w 6512821"/>
                <a:gd name="connsiteY291" fmla="*/ 186527 h 1648590"/>
                <a:gd name="connsiteX292" fmla="*/ 2712916 w 6512821"/>
                <a:gd name="connsiteY292" fmla="*/ 61155 h 1648590"/>
                <a:gd name="connsiteX293" fmla="*/ 2833208 w 6512821"/>
                <a:gd name="connsiteY293" fmla="*/ 0 h 1648590"/>
                <a:gd name="connsiteX294" fmla="*/ 2833208 w 6512821"/>
                <a:gd name="connsiteY294" fmla="*/ 186592 h 1648590"/>
                <a:gd name="connsiteX295" fmla="*/ 2945358 w 6512821"/>
                <a:gd name="connsiteY295" fmla="*/ 186592 h 1648590"/>
                <a:gd name="connsiteX296" fmla="*/ 2945358 w 6512821"/>
                <a:gd name="connsiteY296" fmla="*/ 301804 h 1648590"/>
                <a:gd name="connsiteX297" fmla="*/ 2833208 w 6512821"/>
                <a:gd name="connsiteY297" fmla="*/ 301804 h 1648590"/>
                <a:gd name="connsiteX298" fmla="*/ 2833208 w 6512821"/>
                <a:gd name="connsiteY298" fmla="*/ 503701 h 1648590"/>
                <a:gd name="connsiteX299" fmla="*/ 2880100 w 6512821"/>
                <a:gd name="connsiteY299" fmla="*/ 560819 h 1648590"/>
                <a:gd name="connsiteX300" fmla="*/ 2957602 w 6512821"/>
                <a:gd name="connsiteY300" fmla="*/ 527148 h 1648590"/>
                <a:gd name="connsiteX301" fmla="*/ 2397891 w 6512821"/>
                <a:gd name="connsiteY301" fmla="*/ 426134 h 1648590"/>
                <a:gd name="connsiteX302" fmla="*/ 2395872 w 6512821"/>
                <a:gd name="connsiteY302" fmla="*/ 467946 h 1648590"/>
                <a:gd name="connsiteX303" fmla="*/ 2114453 w 6512821"/>
                <a:gd name="connsiteY303" fmla="*/ 467946 h 1648590"/>
                <a:gd name="connsiteX304" fmla="*/ 2218462 w 6512821"/>
                <a:gd name="connsiteY304" fmla="*/ 562773 h 1648590"/>
                <a:gd name="connsiteX305" fmla="*/ 2301045 w 6512821"/>
                <a:gd name="connsiteY305" fmla="*/ 529102 h 1648590"/>
                <a:gd name="connsiteX306" fmla="*/ 2386689 w 6512821"/>
                <a:gd name="connsiteY306" fmla="*/ 601459 h 1648590"/>
                <a:gd name="connsiteX307" fmla="*/ 2210321 w 6512821"/>
                <a:gd name="connsiteY307" fmla="*/ 677919 h 1648590"/>
                <a:gd name="connsiteX308" fmla="*/ 1991100 w 6512821"/>
                <a:gd name="connsiteY308" fmla="*/ 429130 h 1648590"/>
                <a:gd name="connsiteX309" fmla="*/ 2205176 w 6512821"/>
                <a:gd name="connsiteY309" fmla="*/ 176302 h 1648590"/>
                <a:gd name="connsiteX310" fmla="*/ 2397891 w 6512821"/>
                <a:gd name="connsiteY310" fmla="*/ 426069 h 1648590"/>
                <a:gd name="connsiteX311" fmla="*/ 2116472 w 6512821"/>
                <a:gd name="connsiteY311" fmla="*/ 374162 h 1648590"/>
                <a:gd name="connsiteX312" fmla="*/ 2287759 w 6512821"/>
                <a:gd name="connsiteY312" fmla="*/ 374162 h 1648590"/>
                <a:gd name="connsiteX313" fmla="*/ 2199054 w 6512821"/>
                <a:gd name="connsiteY313" fmla="*/ 283438 h 1648590"/>
                <a:gd name="connsiteX314" fmla="*/ 2116472 w 6512821"/>
                <a:gd name="connsiteY314" fmla="*/ 374162 h 1648590"/>
                <a:gd name="connsiteX315" fmla="*/ 1933982 w 6512821"/>
                <a:gd name="connsiteY315" fmla="*/ 428218 h 1648590"/>
                <a:gd name="connsiteX316" fmla="*/ 1746413 w 6512821"/>
                <a:gd name="connsiteY316" fmla="*/ 677984 h 1648590"/>
                <a:gd name="connsiteX317" fmla="*/ 1639342 w 6512821"/>
                <a:gd name="connsiteY317" fmla="*/ 638191 h 1648590"/>
                <a:gd name="connsiteX318" fmla="*/ 1639342 w 6512821"/>
                <a:gd name="connsiteY318" fmla="*/ 784990 h 1648590"/>
                <a:gd name="connsiteX319" fmla="*/ 1519050 w 6512821"/>
                <a:gd name="connsiteY319" fmla="*/ 845169 h 1648590"/>
                <a:gd name="connsiteX320" fmla="*/ 1519050 w 6512821"/>
                <a:gd name="connsiteY320" fmla="*/ 186527 h 1648590"/>
                <a:gd name="connsiteX321" fmla="*/ 1639342 w 6512821"/>
                <a:gd name="connsiteY321" fmla="*/ 186527 h 1648590"/>
                <a:gd name="connsiteX322" fmla="*/ 1639342 w 6512821"/>
                <a:gd name="connsiteY322" fmla="*/ 219157 h 1648590"/>
                <a:gd name="connsiteX323" fmla="*/ 1748432 w 6512821"/>
                <a:gd name="connsiteY323" fmla="*/ 176367 h 1648590"/>
                <a:gd name="connsiteX324" fmla="*/ 1933982 w 6512821"/>
                <a:gd name="connsiteY324" fmla="*/ 428218 h 1648590"/>
                <a:gd name="connsiteX325" fmla="*/ 1809587 w 6512821"/>
                <a:gd name="connsiteY325" fmla="*/ 434340 h 1648590"/>
                <a:gd name="connsiteX326" fmla="*/ 1718864 w 6512821"/>
                <a:gd name="connsiteY326" fmla="*/ 292621 h 1648590"/>
                <a:gd name="connsiteX327" fmla="*/ 1639342 w 6512821"/>
                <a:gd name="connsiteY327" fmla="*/ 335410 h 1648590"/>
                <a:gd name="connsiteX328" fmla="*/ 1639342 w 6512821"/>
                <a:gd name="connsiteY328" fmla="*/ 518942 h 1648590"/>
                <a:gd name="connsiteX329" fmla="*/ 1726028 w 6512821"/>
                <a:gd name="connsiteY329" fmla="*/ 562773 h 1648590"/>
                <a:gd name="connsiteX330" fmla="*/ 1809652 w 6512821"/>
                <a:gd name="connsiteY330" fmla="*/ 434340 h 1648590"/>
                <a:gd name="connsiteX331" fmla="*/ 1435426 w 6512821"/>
                <a:gd name="connsiteY331" fmla="*/ 667825 h 1648590"/>
                <a:gd name="connsiteX332" fmla="*/ 1315134 w 6512821"/>
                <a:gd name="connsiteY332" fmla="*/ 667825 h 1648590"/>
                <a:gd name="connsiteX333" fmla="*/ 1315134 w 6512821"/>
                <a:gd name="connsiteY333" fmla="*/ 634153 h 1648590"/>
                <a:gd name="connsiteX334" fmla="*/ 1202983 w 6512821"/>
                <a:gd name="connsiteY334" fmla="*/ 677984 h 1648590"/>
                <a:gd name="connsiteX335" fmla="*/ 1033715 w 6512821"/>
                <a:gd name="connsiteY335" fmla="*/ 510800 h 1648590"/>
                <a:gd name="connsiteX336" fmla="*/ 1221284 w 6512821"/>
                <a:gd name="connsiteY336" fmla="*/ 348696 h 1648590"/>
                <a:gd name="connsiteX337" fmla="*/ 1315069 w 6512821"/>
                <a:gd name="connsiteY337" fmla="*/ 368040 h 1648590"/>
                <a:gd name="connsiteX338" fmla="*/ 1315069 w 6512821"/>
                <a:gd name="connsiteY338" fmla="*/ 342574 h 1648590"/>
                <a:gd name="connsiteX339" fmla="*/ 1232486 w 6512821"/>
                <a:gd name="connsiteY339" fmla="*/ 279335 h 1648590"/>
                <a:gd name="connsiteX340" fmla="*/ 1121378 w 6512821"/>
                <a:gd name="connsiteY340" fmla="*/ 310922 h 1648590"/>
                <a:gd name="connsiteX341" fmla="*/ 1073443 w 6512821"/>
                <a:gd name="connsiteY341" fmla="*/ 225278 h 1648590"/>
                <a:gd name="connsiteX342" fmla="*/ 1239650 w 6512821"/>
                <a:gd name="connsiteY342" fmla="*/ 176367 h 1648590"/>
                <a:gd name="connsiteX343" fmla="*/ 1435426 w 6512821"/>
                <a:gd name="connsiteY343" fmla="*/ 344593 h 1648590"/>
                <a:gd name="connsiteX344" fmla="*/ 1435426 w 6512821"/>
                <a:gd name="connsiteY344" fmla="*/ 667759 h 1648590"/>
                <a:gd name="connsiteX345" fmla="*/ 1315134 w 6512821"/>
                <a:gd name="connsiteY345" fmla="*/ 527083 h 1648590"/>
                <a:gd name="connsiteX346" fmla="*/ 1315134 w 6512821"/>
                <a:gd name="connsiteY346" fmla="*/ 465927 h 1648590"/>
                <a:gd name="connsiteX347" fmla="*/ 1234570 w 6512821"/>
                <a:gd name="connsiteY347" fmla="*/ 445542 h 1648590"/>
                <a:gd name="connsiteX348" fmla="*/ 1156091 w 6512821"/>
                <a:gd name="connsiteY348" fmla="*/ 507740 h 1648590"/>
                <a:gd name="connsiteX349" fmla="*/ 1224410 w 6512821"/>
                <a:gd name="connsiteY349" fmla="*/ 574040 h 1648590"/>
                <a:gd name="connsiteX350" fmla="*/ 1315134 w 6512821"/>
                <a:gd name="connsiteY350" fmla="*/ 527148 h 1648590"/>
                <a:gd name="connsiteX351" fmla="*/ 967480 w 6512821"/>
                <a:gd name="connsiteY351" fmla="*/ 667825 h 1648590"/>
                <a:gd name="connsiteX352" fmla="*/ 847188 w 6512821"/>
                <a:gd name="connsiteY352" fmla="*/ 667825 h 1648590"/>
                <a:gd name="connsiteX353" fmla="*/ 847188 w 6512821"/>
                <a:gd name="connsiteY353" fmla="*/ 405814 h 1648590"/>
                <a:gd name="connsiteX354" fmla="*/ 765647 w 6512821"/>
                <a:gd name="connsiteY354" fmla="*/ 292621 h 1648590"/>
                <a:gd name="connsiteX355" fmla="*/ 683065 w 6512821"/>
                <a:gd name="connsiteY355" fmla="*/ 402753 h 1648590"/>
                <a:gd name="connsiteX356" fmla="*/ 683065 w 6512821"/>
                <a:gd name="connsiteY356" fmla="*/ 667825 h 1648590"/>
                <a:gd name="connsiteX357" fmla="*/ 562773 w 6512821"/>
                <a:gd name="connsiteY357" fmla="*/ 667825 h 1648590"/>
                <a:gd name="connsiteX358" fmla="*/ 562773 w 6512821"/>
                <a:gd name="connsiteY358" fmla="*/ 61221 h 1648590"/>
                <a:gd name="connsiteX359" fmla="*/ 683065 w 6512821"/>
                <a:gd name="connsiteY359" fmla="*/ 65 h 1648590"/>
                <a:gd name="connsiteX360" fmla="*/ 683065 w 6512821"/>
                <a:gd name="connsiteY360" fmla="*/ 220264 h 1648590"/>
                <a:gd name="connsiteX361" fmla="*/ 796258 w 6512821"/>
                <a:gd name="connsiteY361" fmla="*/ 176432 h 1648590"/>
                <a:gd name="connsiteX362" fmla="*/ 967545 w 6512821"/>
                <a:gd name="connsiteY362" fmla="*/ 396631 h 1648590"/>
                <a:gd name="connsiteX363" fmla="*/ 967545 w 6512821"/>
                <a:gd name="connsiteY363" fmla="*/ 667825 h 1648590"/>
                <a:gd name="connsiteX364" fmla="*/ 496472 w 6512821"/>
                <a:gd name="connsiteY364" fmla="*/ 475110 h 1648590"/>
                <a:gd name="connsiteX365" fmla="*/ 255889 w 6512821"/>
                <a:gd name="connsiteY365" fmla="*/ 677984 h 1648590"/>
                <a:gd name="connsiteX366" fmla="*/ 0 w 6512821"/>
                <a:gd name="connsiteY366" fmla="*/ 562773 h 1648590"/>
                <a:gd name="connsiteX367" fmla="*/ 89747 w 6512821"/>
                <a:gd name="connsiteY367" fmla="*/ 483251 h 1648590"/>
                <a:gd name="connsiteX368" fmla="*/ 252893 w 6512821"/>
                <a:gd name="connsiteY368" fmla="*/ 556651 h 1648590"/>
                <a:gd name="connsiteX369" fmla="*/ 367063 w 6512821"/>
                <a:gd name="connsiteY369" fmla="*/ 478171 h 1648590"/>
                <a:gd name="connsiteX370" fmla="*/ 329353 w 6512821"/>
                <a:gd name="connsiteY370" fmla="*/ 426199 h 1648590"/>
                <a:gd name="connsiteX371" fmla="*/ 225344 w 6512821"/>
                <a:gd name="connsiteY371" fmla="*/ 394612 h 1648590"/>
                <a:gd name="connsiteX372" fmla="*/ 79522 w 6512821"/>
                <a:gd name="connsiteY372" fmla="*/ 335475 h 1648590"/>
                <a:gd name="connsiteX373" fmla="*/ 24488 w 6512821"/>
                <a:gd name="connsiteY373" fmla="*/ 207042 h 1648590"/>
                <a:gd name="connsiteX374" fmla="*/ 254912 w 6512821"/>
                <a:gd name="connsiteY374" fmla="*/ 16412 h 1648590"/>
                <a:gd name="connsiteX375" fmla="*/ 482274 w 6512821"/>
                <a:gd name="connsiteY375" fmla="*/ 115277 h 1648590"/>
                <a:gd name="connsiteX376" fmla="*/ 392528 w 6512821"/>
                <a:gd name="connsiteY376" fmla="*/ 202939 h 1648590"/>
                <a:gd name="connsiteX377" fmla="*/ 246706 w 6512821"/>
                <a:gd name="connsiteY377" fmla="*/ 137681 h 1648590"/>
                <a:gd name="connsiteX378" fmla="*/ 152921 w 6512821"/>
                <a:gd name="connsiteY378" fmla="*/ 199878 h 1648590"/>
                <a:gd name="connsiteX379" fmla="*/ 179428 w 6512821"/>
                <a:gd name="connsiteY379" fmla="*/ 243710 h 1648590"/>
                <a:gd name="connsiteX380" fmla="*/ 282396 w 6512821"/>
                <a:gd name="connsiteY380" fmla="*/ 277381 h 1648590"/>
                <a:gd name="connsiteX381" fmla="*/ 438378 w 6512821"/>
                <a:gd name="connsiteY381" fmla="*/ 341598 h 1648590"/>
                <a:gd name="connsiteX382" fmla="*/ 496472 w 6512821"/>
                <a:gd name="connsiteY382" fmla="*/ 475176 h 1648590"/>
                <a:gd name="connsiteX383" fmla="*/ 6100885 w 6512821"/>
                <a:gd name="connsiteY383" fmla="*/ 208996 h 1648590"/>
                <a:gd name="connsiteX384" fmla="*/ 6051778 w 6512821"/>
                <a:gd name="connsiteY384" fmla="*/ 329288 h 1648590"/>
                <a:gd name="connsiteX385" fmla="*/ 5982482 w 6512821"/>
                <a:gd name="connsiteY385" fmla="*/ 299720 h 1648590"/>
                <a:gd name="connsiteX386" fmla="*/ 5911232 w 6512821"/>
                <a:gd name="connsiteY386" fmla="*/ 405749 h 1648590"/>
                <a:gd name="connsiteX387" fmla="*/ 5911232 w 6512821"/>
                <a:gd name="connsiteY387" fmla="*/ 667759 h 1648590"/>
                <a:gd name="connsiteX388" fmla="*/ 5790940 w 6512821"/>
                <a:gd name="connsiteY388" fmla="*/ 667759 h 1648590"/>
                <a:gd name="connsiteX389" fmla="*/ 5790940 w 6512821"/>
                <a:gd name="connsiteY389" fmla="*/ 186527 h 1648590"/>
                <a:gd name="connsiteX390" fmla="*/ 5911232 w 6512821"/>
                <a:gd name="connsiteY390" fmla="*/ 186527 h 1648590"/>
                <a:gd name="connsiteX391" fmla="*/ 5911232 w 6512821"/>
                <a:gd name="connsiteY391" fmla="*/ 220198 h 1648590"/>
                <a:gd name="connsiteX392" fmla="*/ 6012181 w 6512821"/>
                <a:gd name="connsiteY392" fmla="*/ 176367 h 1648590"/>
                <a:gd name="connsiteX393" fmla="*/ 6100885 w 6512821"/>
                <a:gd name="connsiteY393" fmla="*/ 208996 h 1648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</a:cxnLst>
              <a:rect l="l" t="t" r="r" b="b"/>
              <a:pathLst>
                <a:path w="6512821" h="1648590">
                  <a:moveTo>
                    <a:pt x="5071143" y="1396740"/>
                  </a:moveTo>
                  <a:cubicBezTo>
                    <a:pt x="5071143" y="1412045"/>
                    <a:pt x="5070101" y="1431388"/>
                    <a:pt x="5069124" y="1438552"/>
                  </a:cubicBezTo>
                  <a:lnTo>
                    <a:pt x="4777545" y="1438552"/>
                  </a:lnTo>
                  <a:cubicBezTo>
                    <a:pt x="4782625" y="1505829"/>
                    <a:pt x="4828541" y="1533378"/>
                    <a:pt x="4880513" y="1533378"/>
                  </a:cubicBezTo>
                  <a:cubicBezTo>
                    <a:pt x="4911123" y="1533378"/>
                    <a:pt x="4939649" y="1524196"/>
                    <a:pt x="4964137" y="1499707"/>
                  </a:cubicBezTo>
                  <a:lnTo>
                    <a:pt x="5049781" y="1572065"/>
                  </a:lnTo>
                  <a:cubicBezTo>
                    <a:pt x="5004908" y="1628140"/>
                    <a:pt x="4936588" y="1648525"/>
                    <a:pt x="4875433" y="1648525"/>
                  </a:cubicBezTo>
                  <a:cubicBezTo>
                    <a:pt x="4734756" y="1648525"/>
                    <a:pt x="4654192" y="1540478"/>
                    <a:pt x="4654192" y="1398759"/>
                  </a:cubicBezTo>
                  <a:cubicBezTo>
                    <a:pt x="4654192" y="1244795"/>
                    <a:pt x="4749019" y="1146908"/>
                    <a:pt x="4867292" y="1146908"/>
                  </a:cubicBezTo>
                  <a:cubicBezTo>
                    <a:pt x="4993706" y="1146908"/>
                    <a:pt x="5071208" y="1258016"/>
                    <a:pt x="5071208" y="1396675"/>
                  </a:cubicBezTo>
                  <a:close/>
                  <a:moveTo>
                    <a:pt x="4779564" y="1344767"/>
                  </a:moveTo>
                  <a:lnTo>
                    <a:pt x="4950851" y="1344767"/>
                  </a:lnTo>
                  <a:cubicBezTo>
                    <a:pt x="4946748" y="1290711"/>
                    <a:pt x="4912100" y="1254044"/>
                    <a:pt x="4863189" y="1254044"/>
                  </a:cubicBezTo>
                  <a:cubicBezTo>
                    <a:pt x="4805094" y="1254044"/>
                    <a:pt x="4782625" y="1305039"/>
                    <a:pt x="4779564" y="1344767"/>
                  </a:cubicBezTo>
                  <a:close/>
                  <a:moveTo>
                    <a:pt x="6512756" y="1396740"/>
                  </a:moveTo>
                  <a:cubicBezTo>
                    <a:pt x="6512756" y="1412045"/>
                    <a:pt x="6511714" y="1431388"/>
                    <a:pt x="6510737" y="1438552"/>
                  </a:cubicBezTo>
                  <a:lnTo>
                    <a:pt x="6219158" y="1438552"/>
                  </a:lnTo>
                  <a:cubicBezTo>
                    <a:pt x="6224238" y="1505829"/>
                    <a:pt x="6270154" y="1533378"/>
                    <a:pt x="6322126" y="1533378"/>
                  </a:cubicBezTo>
                  <a:cubicBezTo>
                    <a:pt x="6352736" y="1533378"/>
                    <a:pt x="6381262" y="1524196"/>
                    <a:pt x="6405751" y="1499707"/>
                  </a:cubicBezTo>
                  <a:lnTo>
                    <a:pt x="6491394" y="1572065"/>
                  </a:lnTo>
                  <a:cubicBezTo>
                    <a:pt x="6446521" y="1628140"/>
                    <a:pt x="6378201" y="1648525"/>
                    <a:pt x="6317046" y="1648525"/>
                  </a:cubicBezTo>
                  <a:cubicBezTo>
                    <a:pt x="6176369" y="1648525"/>
                    <a:pt x="6095805" y="1540478"/>
                    <a:pt x="6095805" y="1398759"/>
                  </a:cubicBezTo>
                  <a:cubicBezTo>
                    <a:pt x="6095805" y="1244795"/>
                    <a:pt x="6190632" y="1146908"/>
                    <a:pt x="6308905" y="1146908"/>
                  </a:cubicBezTo>
                  <a:cubicBezTo>
                    <a:pt x="6435319" y="1146908"/>
                    <a:pt x="6512821" y="1258016"/>
                    <a:pt x="6512821" y="1396675"/>
                  </a:cubicBezTo>
                  <a:close/>
                  <a:moveTo>
                    <a:pt x="6221177" y="1344767"/>
                  </a:moveTo>
                  <a:lnTo>
                    <a:pt x="6392465" y="1344767"/>
                  </a:lnTo>
                  <a:cubicBezTo>
                    <a:pt x="6388361" y="1290711"/>
                    <a:pt x="6353713" y="1254044"/>
                    <a:pt x="6304802" y="1254044"/>
                  </a:cubicBezTo>
                  <a:cubicBezTo>
                    <a:pt x="6246708" y="1254044"/>
                    <a:pt x="6224238" y="1305039"/>
                    <a:pt x="6221177" y="1344767"/>
                  </a:cubicBezTo>
                  <a:close/>
                  <a:moveTo>
                    <a:pt x="5978509" y="1467143"/>
                  </a:moveTo>
                  <a:lnTo>
                    <a:pt x="6058031" y="1542561"/>
                  </a:lnTo>
                  <a:cubicBezTo>
                    <a:pt x="6017261" y="1594534"/>
                    <a:pt x="5961185" y="1648590"/>
                    <a:pt x="5866359" y="1648590"/>
                  </a:cubicBezTo>
                  <a:cubicBezTo>
                    <a:pt x="5734865" y="1648590"/>
                    <a:pt x="5637954" y="1543604"/>
                    <a:pt x="5637954" y="1398823"/>
                  </a:cubicBezTo>
                  <a:cubicBezTo>
                    <a:pt x="5637954" y="1266288"/>
                    <a:pt x="5718518" y="1146973"/>
                    <a:pt x="5868378" y="1146973"/>
                  </a:cubicBezTo>
                  <a:cubicBezTo>
                    <a:pt x="5954021" y="1146973"/>
                    <a:pt x="6013157" y="1185724"/>
                    <a:pt x="6056989" y="1250983"/>
                  </a:cubicBezTo>
                  <a:lnTo>
                    <a:pt x="5975448" y="1333565"/>
                  </a:lnTo>
                  <a:cubicBezTo>
                    <a:pt x="5946922" y="1295856"/>
                    <a:pt x="5916312" y="1266288"/>
                    <a:pt x="5867401" y="1266288"/>
                  </a:cubicBezTo>
                  <a:cubicBezTo>
                    <a:pt x="5801100" y="1266288"/>
                    <a:pt x="5766452" y="1322363"/>
                    <a:pt x="5766452" y="1396804"/>
                  </a:cubicBezTo>
                  <a:cubicBezTo>
                    <a:pt x="5766452" y="1466101"/>
                    <a:pt x="5797062" y="1528299"/>
                    <a:pt x="5868378" y="1528299"/>
                  </a:cubicBezTo>
                  <a:cubicBezTo>
                    <a:pt x="5912209" y="1528299"/>
                    <a:pt x="5948941" y="1504852"/>
                    <a:pt x="5978509" y="1467143"/>
                  </a:cubicBezTo>
                  <a:close/>
                  <a:moveTo>
                    <a:pt x="4869246" y="667825"/>
                  </a:moveTo>
                  <a:lnTo>
                    <a:pt x="4750973" y="667825"/>
                  </a:lnTo>
                  <a:lnTo>
                    <a:pt x="4750973" y="634153"/>
                  </a:lnTo>
                  <a:cubicBezTo>
                    <a:pt x="4724466" y="663721"/>
                    <a:pt x="4681676" y="677984"/>
                    <a:pt x="4638822" y="677984"/>
                  </a:cubicBezTo>
                  <a:cubicBezTo>
                    <a:pt x="4514427" y="677984"/>
                    <a:pt x="4467535" y="588238"/>
                    <a:pt x="4467535" y="458763"/>
                  </a:cubicBezTo>
                  <a:lnTo>
                    <a:pt x="4467535" y="186527"/>
                  </a:lnTo>
                  <a:lnTo>
                    <a:pt x="4587827" y="186527"/>
                  </a:lnTo>
                  <a:lnTo>
                    <a:pt x="4587827" y="448538"/>
                  </a:lnTo>
                  <a:cubicBezTo>
                    <a:pt x="4587827" y="513797"/>
                    <a:pt x="4601113" y="562708"/>
                    <a:pt x="4668390" y="562708"/>
                  </a:cubicBezTo>
                  <a:cubicBezTo>
                    <a:pt x="4735668" y="562708"/>
                    <a:pt x="4748954" y="511712"/>
                    <a:pt x="4748954" y="452576"/>
                  </a:cubicBezTo>
                  <a:lnTo>
                    <a:pt x="4748954" y="186462"/>
                  </a:lnTo>
                  <a:lnTo>
                    <a:pt x="4869246" y="186462"/>
                  </a:lnTo>
                  <a:lnTo>
                    <a:pt x="4869246" y="667695"/>
                  </a:lnTo>
                  <a:close/>
                  <a:moveTo>
                    <a:pt x="5244449" y="527083"/>
                  </a:moveTo>
                  <a:lnTo>
                    <a:pt x="5227125" y="649458"/>
                  </a:lnTo>
                  <a:cubicBezTo>
                    <a:pt x="5202637" y="668802"/>
                    <a:pt x="5157829" y="677984"/>
                    <a:pt x="5128261" y="677984"/>
                  </a:cubicBezTo>
                  <a:cubicBezTo>
                    <a:pt x="5054861" y="677984"/>
                    <a:pt x="4997744" y="622951"/>
                    <a:pt x="4997744" y="535224"/>
                  </a:cubicBezTo>
                  <a:lnTo>
                    <a:pt x="4997744" y="301739"/>
                  </a:lnTo>
                  <a:lnTo>
                    <a:pt x="4928447" y="301739"/>
                  </a:lnTo>
                  <a:lnTo>
                    <a:pt x="4928447" y="186527"/>
                  </a:lnTo>
                  <a:lnTo>
                    <a:pt x="4997744" y="186527"/>
                  </a:lnTo>
                  <a:lnTo>
                    <a:pt x="4997744" y="61155"/>
                  </a:lnTo>
                  <a:lnTo>
                    <a:pt x="5118035" y="0"/>
                  </a:lnTo>
                  <a:lnTo>
                    <a:pt x="5118035" y="186592"/>
                  </a:lnTo>
                  <a:lnTo>
                    <a:pt x="5232205" y="186592"/>
                  </a:lnTo>
                  <a:lnTo>
                    <a:pt x="5232205" y="301804"/>
                  </a:lnTo>
                  <a:lnTo>
                    <a:pt x="5118035" y="301804"/>
                  </a:lnTo>
                  <a:lnTo>
                    <a:pt x="5118035" y="503701"/>
                  </a:lnTo>
                  <a:cubicBezTo>
                    <a:pt x="5118035" y="545514"/>
                    <a:pt x="5135360" y="560819"/>
                    <a:pt x="5164928" y="560819"/>
                  </a:cubicBezTo>
                  <a:cubicBezTo>
                    <a:pt x="5194496" y="560819"/>
                    <a:pt x="5225106" y="545514"/>
                    <a:pt x="5244449" y="527148"/>
                  </a:cubicBezTo>
                  <a:close/>
                  <a:moveTo>
                    <a:pt x="3417407" y="667825"/>
                  </a:moveTo>
                  <a:lnTo>
                    <a:pt x="3297116" y="667825"/>
                  </a:lnTo>
                  <a:lnTo>
                    <a:pt x="3297116" y="405814"/>
                  </a:lnTo>
                  <a:cubicBezTo>
                    <a:pt x="3297116" y="340555"/>
                    <a:pt x="3282853" y="292621"/>
                    <a:pt x="3215575" y="292621"/>
                  </a:cubicBezTo>
                  <a:cubicBezTo>
                    <a:pt x="3148298" y="292621"/>
                    <a:pt x="3132993" y="336452"/>
                    <a:pt x="3132993" y="402753"/>
                  </a:cubicBezTo>
                  <a:lnTo>
                    <a:pt x="3132993" y="667825"/>
                  </a:lnTo>
                  <a:lnTo>
                    <a:pt x="3012701" y="667825"/>
                  </a:lnTo>
                  <a:lnTo>
                    <a:pt x="3012701" y="61221"/>
                  </a:lnTo>
                  <a:lnTo>
                    <a:pt x="3132993" y="65"/>
                  </a:lnTo>
                  <a:lnTo>
                    <a:pt x="3132993" y="220264"/>
                  </a:lnTo>
                  <a:cubicBezTo>
                    <a:pt x="3159500" y="193756"/>
                    <a:pt x="3192129" y="176432"/>
                    <a:pt x="3246186" y="176432"/>
                  </a:cubicBezTo>
                  <a:cubicBezTo>
                    <a:pt x="3373641" y="176432"/>
                    <a:pt x="3417473" y="274320"/>
                    <a:pt x="3417473" y="396631"/>
                  </a:cubicBezTo>
                  <a:lnTo>
                    <a:pt x="3417473" y="667825"/>
                  </a:lnTo>
                  <a:close/>
                  <a:moveTo>
                    <a:pt x="5564554" y="1638365"/>
                  </a:moveTo>
                  <a:lnTo>
                    <a:pt x="5440160" y="1638365"/>
                  </a:lnTo>
                  <a:lnTo>
                    <a:pt x="5440160" y="1376355"/>
                  </a:lnTo>
                  <a:cubicBezTo>
                    <a:pt x="5440160" y="1309077"/>
                    <a:pt x="5424855" y="1264204"/>
                    <a:pt x="5357577" y="1264204"/>
                  </a:cubicBezTo>
                  <a:cubicBezTo>
                    <a:pt x="5294337" y="1264204"/>
                    <a:pt x="5273952" y="1301913"/>
                    <a:pt x="5273952" y="1373293"/>
                  </a:cubicBezTo>
                  <a:lnTo>
                    <a:pt x="5273952" y="1638365"/>
                  </a:lnTo>
                  <a:lnTo>
                    <a:pt x="5149558" y="1638365"/>
                  </a:lnTo>
                  <a:lnTo>
                    <a:pt x="5149558" y="1157133"/>
                  </a:lnTo>
                  <a:lnTo>
                    <a:pt x="5273952" y="1157133"/>
                  </a:lnTo>
                  <a:lnTo>
                    <a:pt x="5273952" y="1189762"/>
                  </a:lnTo>
                  <a:cubicBezTo>
                    <a:pt x="5299418" y="1164297"/>
                    <a:pt x="5337192" y="1146973"/>
                    <a:pt x="5391183" y="1146973"/>
                  </a:cubicBezTo>
                  <a:cubicBezTo>
                    <a:pt x="5521700" y="1146973"/>
                    <a:pt x="5564490" y="1247922"/>
                    <a:pt x="5564490" y="1366195"/>
                  </a:cubicBezTo>
                  <a:lnTo>
                    <a:pt x="5564490" y="1638430"/>
                  </a:lnTo>
                  <a:close/>
                  <a:moveTo>
                    <a:pt x="4008772" y="1115386"/>
                  </a:moveTo>
                  <a:cubicBezTo>
                    <a:pt x="4048565" y="1115386"/>
                    <a:pt x="4080152" y="1083798"/>
                    <a:pt x="4080152" y="1044005"/>
                  </a:cubicBezTo>
                  <a:cubicBezTo>
                    <a:pt x="4080152" y="1004212"/>
                    <a:pt x="4048565" y="972624"/>
                    <a:pt x="4008772" y="972624"/>
                  </a:cubicBezTo>
                  <a:cubicBezTo>
                    <a:pt x="3968978" y="972624"/>
                    <a:pt x="3937391" y="1004212"/>
                    <a:pt x="3937391" y="1044005"/>
                  </a:cubicBezTo>
                  <a:cubicBezTo>
                    <a:pt x="3937391" y="1083798"/>
                    <a:pt x="3968978" y="1115386"/>
                    <a:pt x="4008772" y="1115386"/>
                  </a:cubicBezTo>
                  <a:close/>
                  <a:moveTo>
                    <a:pt x="829864" y="1115386"/>
                  </a:moveTo>
                  <a:cubicBezTo>
                    <a:pt x="869657" y="1115386"/>
                    <a:pt x="901244" y="1083798"/>
                    <a:pt x="901244" y="1044005"/>
                  </a:cubicBezTo>
                  <a:cubicBezTo>
                    <a:pt x="901244" y="1004212"/>
                    <a:pt x="869657" y="972624"/>
                    <a:pt x="829864" y="972624"/>
                  </a:cubicBezTo>
                  <a:cubicBezTo>
                    <a:pt x="790070" y="972624"/>
                    <a:pt x="758483" y="1004212"/>
                    <a:pt x="758483" y="1044005"/>
                  </a:cubicBezTo>
                  <a:cubicBezTo>
                    <a:pt x="758483" y="1083798"/>
                    <a:pt x="790070" y="1115386"/>
                    <a:pt x="829864" y="1115386"/>
                  </a:cubicBezTo>
                  <a:close/>
                  <a:moveTo>
                    <a:pt x="6512756" y="426134"/>
                  </a:moveTo>
                  <a:cubicBezTo>
                    <a:pt x="6512756" y="441439"/>
                    <a:pt x="6511714" y="460782"/>
                    <a:pt x="6510737" y="467946"/>
                  </a:cubicBezTo>
                  <a:lnTo>
                    <a:pt x="6219158" y="467946"/>
                  </a:lnTo>
                  <a:cubicBezTo>
                    <a:pt x="6224238" y="535224"/>
                    <a:pt x="6270154" y="562773"/>
                    <a:pt x="6322126" y="562773"/>
                  </a:cubicBezTo>
                  <a:cubicBezTo>
                    <a:pt x="6352736" y="562773"/>
                    <a:pt x="6381262" y="553590"/>
                    <a:pt x="6405751" y="529102"/>
                  </a:cubicBezTo>
                  <a:lnTo>
                    <a:pt x="6491394" y="601459"/>
                  </a:lnTo>
                  <a:cubicBezTo>
                    <a:pt x="6446521" y="657535"/>
                    <a:pt x="6378201" y="677919"/>
                    <a:pt x="6317046" y="677919"/>
                  </a:cubicBezTo>
                  <a:cubicBezTo>
                    <a:pt x="6176369" y="677919"/>
                    <a:pt x="6095805" y="569872"/>
                    <a:pt x="6095805" y="428153"/>
                  </a:cubicBezTo>
                  <a:cubicBezTo>
                    <a:pt x="6095805" y="274190"/>
                    <a:pt x="6190632" y="176302"/>
                    <a:pt x="6308905" y="176302"/>
                  </a:cubicBezTo>
                  <a:cubicBezTo>
                    <a:pt x="6435319" y="176302"/>
                    <a:pt x="6512821" y="287411"/>
                    <a:pt x="6512821" y="426069"/>
                  </a:cubicBezTo>
                  <a:close/>
                  <a:moveTo>
                    <a:pt x="6221177" y="374162"/>
                  </a:moveTo>
                  <a:lnTo>
                    <a:pt x="6392465" y="374162"/>
                  </a:lnTo>
                  <a:cubicBezTo>
                    <a:pt x="6388361" y="320105"/>
                    <a:pt x="6353713" y="283438"/>
                    <a:pt x="6304802" y="283438"/>
                  </a:cubicBezTo>
                  <a:cubicBezTo>
                    <a:pt x="6246708" y="283438"/>
                    <a:pt x="6224238" y="334433"/>
                    <a:pt x="6221177" y="374162"/>
                  </a:cubicBezTo>
                  <a:close/>
                  <a:moveTo>
                    <a:pt x="5702235" y="667825"/>
                  </a:moveTo>
                  <a:lnTo>
                    <a:pt x="5583963" y="667825"/>
                  </a:lnTo>
                  <a:lnTo>
                    <a:pt x="5583963" y="634153"/>
                  </a:lnTo>
                  <a:cubicBezTo>
                    <a:pt x="5557456" y="663721"/>
                    <a:pt x="5514666" y="677984"/>
                    <a:pt x="5471812" y="677984"/>
                  </a:cubicBezTo>
                  <a:cubicBezTo>
                    <a:pt x="5347417" y="677984"/>
                    <a:pt x="5300525" y="588238"/>
                    <a:pt x="5300525" y="458763"/>
                  </a:cubicBezTo>
                  <a:lnTo>
                    <a:pt x="5300525" y="186527"/>
                  </a:lnTo>
                  <a:lnTo>
                    <a:pt x="5420817" y="186527"/>
                  </a:lnTo>
                  <a:lnTo>
                    <a:pt x="5420817" y="448538"/>
                  </a:lnTo>
                  <a:cubicBezTo>
                    <a:pt x="5420817" y="513797"/>
                    <a:pt x="5434103" y="562708"/>
                    <a:pt x="5501380" y="562708"/>
                  </a:cubicBezTo>
                  <a:cubicBezTo>
                    <a:pt x="5568657" y="562708"/>
                    <a:pt x="5581944" y="511712"/>
                    <a:pt x="5581944" y="452576"/>
                  </a:cubicBezTo>
                  <a:lnTo>
                    <a:pt x="5581944" y="186462"/>
                  </a:lnTo>
                  <a:lnTo>
                    <a:pt x="5702235" y="186462"/>
                  </a:lnTo>
                  <a:lnTo>
                    <a:pt x="5702235" y="667695"/>
                  </a:lnTo>
                  <a:close/>
                  <a:moveTo>
                    <a:pt x="3895579" y="426134"/>
                  </a:moveTo>
                  <a:cubicBezTo>
                    <a:pt x="3895579" y="441439"/>
                    <a:pt x="3894537" y="460782"/>
                    <a:pt x="3893560" y="467946"/>
                  </a:cubicBezTo>
                  <a:lnTo>
                    <a:pt x="3601981" y="467946"/>
                  </a:lnTo>
                  <a:cubicBezTo>
                    <a:pt x="3607061" y="535224"/>
                    <a:pt x="3652976" y="562773"/>
                    <a:pt x="3704949" y="562773"/>
                  </a:cubicBezTo>
                  <a:cubicBezTo>
                    <a:pt x="3735559" y="562773"/>
                    <a:pt x="3764085" y="553590"/>
                    <a:pt x="3788573" y="529102"/>
                  </a:cubicBezTo>
                  <a:lnTo>
                    <a:pt x="3874217" y="601459"/>
                  </a:lnTo>
                  <a:cubicBezTo>
                    <a:pt x="3829343" y="657535"/>
                    <a:pt x="3761024" y="677919"/>
                    <a:pt x="3699868" y="677919"/>
                  </a:cubicBezTo>
                  <a:cubicBezTo>
                    <a:pt x="3559192" y="677919"/>
                    <a:pt x="3478628" y="569872"/>
                    <a:pt x="3478628" y="428153"/>
                  </a:cubicBezTo>
                  <a:cubicBezTo>
                    <a:pt x="3478628" y="274190"/>
                    <a:pt x="3573455" y="176302"/>
                    <a:pt x="3691727" y="176302"/>
                  </a:cubicBezTo>
                  <a:cubicBezTo>
                    <a:pt x="3818141" y="176302"/>
                    <a:pt x="3895644" y="287411"/>
                    <a:pt x="3895644" y="426069"/>
                  </a:cubicBezTo>
                  <a:close/>
                  <a:moveTo>
                    <a:pt x="3604000" y="374162"/>
                  </a:moveTo>
                  <a:lnTo>
                    <a:pt x="3775287" y="374162"/>
                  </a:lnTo>
                  <a:cubicBezTo>
                    <a:pt x="3771184" y="320105"/>
                    <a:pt x="3736536" y="283438"/>
                    <a:pt x="3687624" y="283438"/>
                  </a:cubicBezTo>
                  <a:cubicBezTo>
                    <a:pt x="3629530" y="283438"/>
                    <a:pt x="3607061" y="334433"/>
                    <a:pt x="3604000" y="374162"/>
                  </a:cubicBezTo>
                  <a:close/>
                  <a:moveTo>
                    <a:pt x="4579686" y="1638365"/>
                  </a:moveTo>
                  <a:lnTo>
                    <a:pt x="4455291" y="1638365"/>
                  </a:lnTo>
                  <a:lnTo>
                    <a:pt x="4455291" y="1606778"/>
                  </a:lnTo>
                  <a:cubicBezTo>
                    <a:pt x="4414521" y="1636346"/>
                    <a:pt x="4390032" y="1648590"/>
                    <a:pt x="4346201" y="1648590"/>
                  </a:cubicBezTo>
                  <a:cubicBezTo>
                    <a:pt x="4207543" y="1648590"/>
                    <a:pt x="4148406" y="1528299"/>
                    <a:pt x="4148406" y="1393678"/>
                  </a:cubicBezTo>
                  <a:cubicBezTo>
                    <a:pt x="4148406" y="1247856"/>
                    <a:pt x="4217703" y="1146973"/>
                    <a:pt x="4343140" y="1146973"/>
                  </a:cubicBezTo>
                  <a:cubicBezTo>
                    <a:pt x="4384952" y="1146973"/>
                    <a:pt x="4424681" y="1158175"/>
                    <a:pt x="4455291" y="1185724"/>
                  </a:cubicBezTo>
                  <a:lnTo>
                    <a:pt x="4455291" y="1031761"/>
                  </a:lnTo>
                  <a:lnTo>
                    <a:pt x="4579686" y="969564"/>
                  </a:lnTo>
                  <a:lnTo>
                    <a:pt x="4579686" y="1638365"/>
                  </a:lnTo>
                  <a:close/>
                  <a:moveTo>
                    <a:pt x="4455356" y="1489547"/>
                  </a:moveTo>
                  <a:lnTo>
                    <a:pt x="4455356" y="1306016"/>
                  </a:lnTo>
                  <a:cubicBezTo>
                    <a:pt x="4428849" y="1277490"/>
                    <a:pt x="4403384" y="1264204"/>
                    <a:pt x="4368670" y="1264204"/>
                  </a:cubicBezTo>
                  <a:cubicBezTo>
                    <a:pt x="4296313" y="1264204"/>
                    <a:pt x="4278924" y="1321321"/>
                    <a:pt x="4278924" y="1389575"/>
                  </a:cubicBezTo>
                  <a:cubicBezTo>
                    <a:pt x="4278924" y="1467078"/>
                    <a:pt x="4301328" y="1531294"/>
                    <a:pt x="4371731" y="1531294"/>
                  </a:cubicBezTo>
                  <a:cubicBezTo>
                    <a:pt x="4406380" y="1531294"/>
                    <a:pt x="4430868" y="1515989"/>
                    <a:pt x="4455356" y="1489482"/>
                  </a:cubicBezTo>
                  <a:close/>
                  <a:moveTo>
                    <a:pt x="3945532" y="1157198"/>
                  </a:moveTo>
                  <a:lnTo>
                    <a:pt x="3945532" y="1638430"/>
                  </a:lnTo>
                  <a:lnTo>
                    <a:pt x="4069927" y="1638430"/>
                  </a:lnTo>
                  <a:lnTo>
                    <a:pt x="4069927" y="1157198"/>
                  </a:lnTo>
                  <a:lnTo>
                    <a:pt x="3945532" y="1157198"/>
                  </a:lnTo>
                  <a:close/>
                  <a:moveTo>
                    <a:pt x="3873175" y="985911"/>
                  </a:moveTo>
                  <a:lnTo>
                    <a:pt x="3873175" y="1085817"/>
                  </a:lnTo>
                  <a:cubicBezTo>
                    <a:pt x="3854809" y="1079695"/>
                    <a:pt x="3830386" y="1076634"/>
                    <a:pt x="3812019" y="1076634"/>
                  </a:cubicBezTo>
                  <a:cubicBezTo>
                    <a:pt x="3776329" y="1076634"/>
                    <a:pt x="3760047" y="1087836"/>
                    <a:pt x="3760047" y="1118447"/>
                  </a:cubicBezTo>
                  <a:lnTo>
                    <a:pt x="3760047" y="1157198"/>
                  </a:lnTo>
                  <a:lnTo>
                    <a:pt x="3863015" y="1157198"/>
                  </a:lnTo>
                  <a:lnTo>
                    <a:pt x="3863015" y="1273452"/>
                  </a:lnTo>
                  <a:lnTo>
                    <a:pt x="3760047" y="1273452"/>
                  </a:lnTo>
                  <a:lnTo>
                    <a:pt x="3760047" y="1638430"/>
                  </a:lnTo>
                  <a:lnTo>
                    <a:pt x="3635652" y="1638430"/>
                  </a:lnTo>
                  <a:lnTo>
                    <a:pt x="3635652" y="1273452"/>
                  </a:lnTo>
                  <a:lnTo>
                    <a:pt x="3568375" y="1273452"/>
                  </a:lnTo>
                  <a:lnTo>
                    <a:pt x="3568375" y="1157198"/>
                  </a:lnTo>
                  <a:lnTo>
                    <a:pt x="3635652" y="1157198"/>
                  </a:lnTo>
                  <a:lnTo>
                    <a:pt x="3635652" y="1099104"/>
                  </a:lnTo>
                  <a:cubicBezTo>
                    <a:pt x="3635652" y="1009357"/>
                    <a:pt x="3691727" y="972690"/>
                    <a:pt x="3782451" y="972690"/>
                  </a:cubicBezTo>
                  <a:cubicBezTo>
                    <a:pt x="3808958" y="972690"/>
                    <a:pt x="3847710" y="975751"/>
                    <a:pt x="3873175" y="985976"/>
                  </a:cubicBezTo>
                  <a:close/>
                  <a:moveTo>
                    <a:pt x="3507154" y="1638365"/>
                  </a:moveTo>
                  <a:lnTo>
                    <a:pt x="3382759" y="1638365"/>
                  </a:lnTo>
                  <a:lnTo>
                    <a:pt x="3382759" y="1376355"/>
                  </a:lnTo>
                  <a:cubicBezTo>
                    <a:pt x="3382759" y="1309077"/>
                    <a:pt x="3367454" y="1264204"/>
                    <a:pt x="3300177" y="1264204"/>
                  </a:cubicBezTo>
                  <a:cubicBezTo>
                    <a:pt x="3236937" y="1264204"/>
                    <a:pt x="3216552" y="1301913"/>
                    <a:pt x="3216552" y="1373293"/>
                  </a:cubicBezTo>
                  <a:lnTo>
                    <a:pt x="3216552" y="1638365"/>
                  </a:lnTo>
                  <a:lnTo>
                    <a:pt x="3092157" y="1638365"/>
                  </a:lnTo>
                  <a:lnTo>
                    <a:pt x="3092157" y="1157133"/>
                  </a:lnTo>
                  <a:lnTo>
                    <a:pt x="3216552" y="1157133"/>
                  </a:lnTo>
                  <a:lnTo>
                    <a:pt x="3216552" y="1189762"/>
                  </a:lnTo>
                  <a:cubicBezTo>
                    <a:pt x="3242017" y="1164297"/>
                    <a:pt x="3279792" y="1146973"/>
                    <a:pt x="3333783" y="1146973"/>
                  </a:cubicBezTo>
                  <a:cubicBezTo>
                    <a:pt x="3464300" y="1146973"/>
                    <a:pt x="3507089" y="1247922"/>
                    <a:pt x="3507089" y="1366195"/>
                  </a:cubicBezTo>
                  <a:lnTo>
                    <a:pt x="3507089" y="1638430"/>
                  </a:lnTo>
                  <a:close/>
                  <a:moveTo>
                    <a:pt x="2792437" y="1146973"/>
                  </a:moveTo>
                  <a:cubicBezTo>
                    <a:pt x="2653779" y="1146973"/>
                    <a:pt x="2567094" y="1256063"/>
                    <a:pt x="2567094" y="1397782"/>
                  </a:cubicBezTo>
                  <a:cubicBezTo>
                    <a:pt x="2567094" y="1546665"/>
                    <a:pt x="2661920" y="1648590"/>
                    <a:pt x="2792437" y="1648590"/>
                  </a:cubicBezTo>
                  <a:cubicBezTo>
                    <a:pt x="2922954" y="1648590"/>
                    <a:pt x="3017781" y="1546665"/>
                    <a:pt x="3017781" y="1397782"/>
                  </a:cubicBezTo>
                  <a:cubicBezTo>
                    <a:pt x="3017781" y="1248899"/>
                    <a:pt x="2931095" y="1146973"/>
                    <a:pt x="2792437" y="1146973"/>
                  </a:cubicBezTo>
                  <a:close/>
                  <a:moveTo>
                    <a:pt x="2792437" y="1528299"/>
                  </a:moveTo>
                  <a:cubicBezTo>
                    <a:pt x="2712916" y="1528299"/>
                    <a:pt x="2695592" y="1451838"/>
                    <a:pt x="2695592" y="1397782"/>
                  </a:cubicBezTo>
                  <a:cubicBezTo>
                    <a:pt x="2695592" y="1323340"/>
                    <a:pt x="2726202" y="1266288"/>
                    <a:pt x="2792437" y="1266288"/>
                  </a:cubicBezTo>
                  <a:cubicBezTo>
                    <a:pt x="2858673" y="1266288"/>
                    <a:pt x="2889283" y="1323405"/>
                    <a:pt x="2889283" y="1397782"/>
                  </a:cubicBezTo>
                  <a:cubicBezTo>
                    <a:pt x="2889283" y="1451838"/>
                    <a:pt x="2871959" y="1528299"/>
                    <a:pt x="2792437" y="1528299"/>
                  </a:cubicBezTo>
                  <a:close/>
                  <a:moveTo>
                    <a:pt x="2446802" y="1467143"/>
                  </a:moveTo>
                  <a:lnTo>
                    <a:pt x="2526323" y="1542561"/>
                  </a:lnTo>
                  <a:cubicBezTo>
                    <a:pt x="2485553" y="1594534"/>
                    <a:pt x="2429478" y="1648590"/>
                    <a:pt x="2334651" y="1648590"/>
                  </a:cubicBezTo>
                  <a:cubicBezTo>
                    <a:pt x="2203157" y="1648590"/>
                    <a:pt x="2106246" y="1543604"/>
                    <a:pt x="2106246" y="1398823"/>
                  </a:cubicBezTo>
                  <a:cubicBezTo>
                    <a:pt x="2106246" y="1266288"/>
                    <a:pt x="2186810" y="1146973"/>
                    <a:pt x="2336670" y="1146973"/>
                  </a:cubicBezTo>
                  <a:cubicBezTo>
                    <a:pt x="2422314" y="1146973"/>
                    <a:pt x="2481450" y="1185724"/>
                    <a:pt x="2525281" y="1250983"/>
                  </a:cubicBezTo>
                  <a:lnTo>
                    <a:pt x="2443741" y="1333565"/>
                  </a:lnTo>
                  <a:cubicBezTo>
                    <a:pt x="2415215" y="1295856"/>
                    <a:pt x="2384604" y="1266288"/>
                    <a:pt x="2335693" y="1266288"/>
                  </a:cubicBezTo>
                  <a:cubicBezTo>
                    <a:pt x="2269393" y="1266288"/>
                    <a:pt x="2234744" y="1322363"/>
                    <a:pt x="2234744" y="1396804"/>
                  </a:cubicBezTo>
                  <a:cubicBezTo>
                    <a:pt x="2234744" y="1466101"/>
                    <a:pt x="2265355" y="1528299"/>
                    <a:pt x="2336670" y="1528299"/>
                  </a:cubicBezTo>
                  <a:cubicBezTo>
                    <a:pt x="2380501" y="1528299"/>
                    <a:pt x="2417234" y="1504852"/>
                    <a:pt x="2446802" y="1467143"/>
                  </a:cubicBezTo>
                  <a:close/>
                  <a:moveTo>
                    <a:pt x="1803530" y="1638365"/>
                  </a:moveTo>
                  <a:lnTo>
                    <a:pt x="1679135" y="1638365"/>
                  </a:lnTo>
                  <a:lnTo>
                    <a:pt x="1679135" y="1376355"/>
                  </a:lnTo>
                  <a:cubicBezTo>
                    <a:pt x="1679135" y="1309077"/>
                    <a:pt x="1663830" y="1264204"/>
                    <a:pt x="1596553" y="1264204"/>
                  </a:cubicBezTo>
                  <a:cubicBezTo>
                    <a:pt x="1533314" y="1264204"/>
                    <a:pt x="1511951" y="1301913"/>
                    <a:pt x="1511951" y="1373293"/>
                  </a:cubicBezTo>
                  <a:lnTo>
                    <a:pt x="1511951" y="1638365"/>
                  </a:lnTo>
                  <a:lnTo>
                    <a:pt x="1387557" y="1638365"/>
                  </a:lnTo>
                  <a:lnTo>
                    <a:pt x="1387557" y="1031761"/>
                  </a:lnTo>
                  <a:lnTo>
                    <a:pt x="1511951" y="969564"/>
                  </a:lnTo>
                  <a:lnTo>
                    <a:pt x="1511951" y="1189762"/>
                  </a:lnTo>
                  <a:cubicBezTo>
                    <a:pt x="1535398" y="1161236"/>
                    <a:pt x="1584309" y="1146973"/>
                    <a:pt x="1632243" y="1146973"/>
                  </a:cubicBezTo>
                  <a:cubicBezTo>
                    <a:pt x="1758657" y="1146973"/>
                    <a:pt x="1803530" y="1246880"/>
                    <a:pt x="1803530" y="1366195"/>
                  </a:cubicBezTo>
                  <a:lnTo>
                    <a:pt x="1803530" y="1638430"/>
                  </a:lnTo>
                  <a:close/>
                  <a:moveTo>
                    <a:pt x="1311031" y="1493650"/>
                  </a:moveTo>
                  <a:lnTo>
                    <a:pt x="1292665" y="1619022"/>
                  </a:lnTo>
                  <a:cubicBezTo>
                    <a:pt x="1267200" y="1639407"/>
                    <a:pt x="1205979" y="1648590"/>
                    <a:pt x="1173350" y="1648590"/>
                  </a:cubicBezTo>
                  <a:cubicBezTo>
                    <a:pt x="1097931" y="1648590"/>
                    <a:pt x="1043875" y="1588412"/>
                    <a:pt x="1043875" y="1504852"/>
                  </a:cubicBezTo>
                  <a:lnTo>
                    <a:pt x="1043875" y="1273387"/>
                  </a:lnTo>
                  <a:lnTo>
                    <a:pt x="960250" y="1273387"/>
                  </a:lnTo>
                  <a:lnTo>
                    <a:pt x="960250" y="1157133"/>
                  </a:lnTo>
                  <a:lnTo>
                    <a:pt x="1043875" y="1157133"/>
                  </a:lnTo>
                  <a:lnTo>
                    <a:pt x="1043875" y="1031761"/>
                  </a:lnTo>
                  <a:lnTo>
                    <a:pt x="1168270" y="969564"/>
                  </a:lnTo>
                  <a:lnTo>
                    <a:pt x="1168270" y="1157133"/>
                  </a:lnTo>
                  <a:lnTo>
                    <a:pt x="1308947" y="1157133"/>
                  </a:lnTo>
                  <a:lnTo>
                    <a:pt x="1308947" y="1273387"/>
                  </a:lnTo>
                  <a:lnTo>
                    <a:pt x="1168270" y="1273387"/>
                  </a:lnTo>
                  <a:lnTo>
                    <a:pt x="1168270" y="1471181"/>
                  </a:lnTo>
                  <a:cubicBezTo>
                    <a:pt x="1168270" y="1515012"/>
                    <a:pt x="1184552" y="1529275"/>
                    <a:pt x="1214120" y="1529275"/>
                  </a:cubicBezTo>
                  <a:cubicBezTo>
                    <a:pt x="1243688" y="1529275"/>
                    <a:pt x="1289539" y="1513970"/>
                    <a:pt x="1310966" y="1493585"/>
                  </a:cubicBezTo>
                  <a:close/>
                  <a:moveTo>
                    <a:pt x="767666" y="1157198"/>
                  </a:moveTo>
                  <a:lnTo>
                    <a:pt x="767666" y="1638430"/>
                  </a:lnTo>
                  <a:lnTo>
                    <a:pt x="892061" y="1638430"/>
                  </a:lnTo>
                  <a:lnTo>
                    <a:pt x="892061" y="1157198"/>
                  </a:lnTo>
                  <a:lnTo>
                    <a:pt x="767666" y="1157198"/>
                  </a:lnTo>
                  <a:close/>
                  <a:moveTo>
                    <a:pt x="702408" y="1157198"/>
                  </a:moveTo>
                  <a:lnTo>
                    <a:pt x="550529" y="1638430"/>
                  </a:lnTo>
                  <a:lnTo>
                    <a:pt x="436359" y="1638430"/>
                  </a:lnTo>
                  <a:lnTo>
                    <a:pt x="354819" y="1345809"/>
                  </a:lnTo>
                  <a:lnTo>
                    <a:pt x="272236" y="1638430"/>
                  </a:lnTo>
                  <a:lnTo>
                    <a:pt x="158066" y="1638430"/>
                  </a:lnTo>
                  <a:lnTo>
                    <a:pt x="7099" y="1157198"/>
                  </a:lnTo>
                  <a:lnTo>
                    <a:pt x="145757" y="1157198"/>
                  </a:lnTo>
                  <a:lnTo>
                    <a:pt x="218114" y="1436533"/>
                  </a:lnTo>
                  <a:lnTo>
                    <a:pt x="299655" y="1157198"/>
                  </a:lnTo>
                  <a:lnTo>
                    <a:pt x="412848" y="1157198"/>
                  </a:lnTo>
                  <a:lnTo>
                    <a:pt x="494388" y="1436533"/>
                  </a:lnTo>
                  <a:lnTo>
                    <a:pt x="567788" y="1157198"/>
                  </a:lnTo>
                  <a:lnTo>
                    <a:pt x="702343" y="1157198"/>
                  </a:lnTo>
                  <a:close/>
                  <a:moveTo>
                    <a:pt x="4436990" y="16282"/>
                  </a:moveTo>
                  <a:lnTo>
                    <a:pt x="4436990" y="115147"/>
                  </a:lnTo>
                  <a:cubicBezTo>
                    <a:pt x="4409441" y="107983"/>
                    <a:pt x="4391139" y="104921"/>
                    <a:pt x="4374792" y="104921"/>
                  </a:cubicBezTo>
                  <a:cubicBezTo>
                    <a:pt x="4332003" y="104921"/>
                    <a:pt x="4322820" y="120227"/>
                    <a:pt x="4322820" y="144715"/>
                  </a:cubicBezTo>
                  <a:lnTo>
                    <a:pt x="4322820" y="186527"/>
                  </a:lnTo>
                  <a:lnTo>
                    <a:pt x="4404361" y="186527"/>
                  </a:lnTo>
                  <a:lnTo>
                    <a:pt x="4404361" y="302781"/>
                  </a:lnTo>
                  <a:lnTo>
                    <a:pt x="4322820" y="302781"/>
                  </a:lnTo>
                  <a:lnTo>
                    <a:pt x="4322820" y="667759"/>
                  </a:lnTo>
                  <a:lnTo>
                    <a:pt x="4202528" y="667759"/>
                  </a:lnTo>
                  <a:lnTo>
                    <a:pt x="4202528" y="302781"/>
                  </a:lnTo>
                  <a:lnTo>
                    <a:pt x="4143392" y="302781"/>
                  </a:lnTo>
                  <a:lnTo>
                    <a:pt x="4143392" y="186527"/>
                  </a:lnTo>
                  <a:lnTo>
                    <a:pt x="4202528" y="186527"/>
                  </a:lnTo>
                  <a:lnTo>
                    <a:pt x="4202528" y="128433"/>
                  </a:lnTo>
                  <a:cubicBezTo>
                    <a:pt x="4202528" y="44808"/>
                    <a:pt x="4246360" y="2019"/>
                    <a:pt x="4348350" y="2019"/>
                  </a:cubicBezTo>
                  <a:cubicBezTo>
                    <a:pt x="4380980" y="2019"/>
                    <a:pt x="4407487" y="8141"/>
                    <a:pt x="4437055" y="16282"/>
                  </a:cubicBezTo>
                  <a:close/>
                  <a:moveTo>
                    <a:pt x="2957602" y="527083"/>
                  </a:moveTo>
                  <a:lnTo>
                    <a:pt x="2940278" y="649458"/>
                  </a:lnTo>
                  <a:cubicBezTo>
                    <a:pt x="2915790" y="668802"/>
                    <a:pt x="2873001" y="677984"/>
                    <a:pt x="2843433" y="677984"/>
                  </a:cubicBezTo>
                  <a:cubicBezTo>
                    <a:pt x="2770033" y="677984"/>
                    <a:pt x="2712916" y="622951"/>
                    <a:pt x="2712916" y="535224"/>
                  </a:cubicBezTo>
                  <a:lnTo>
                    <a:pt x="2712916" y="301739"/>
                  </a:lnTo>
                  <a:lnTo>
                    <a:pt x="2629291" y="301739"/>
                  </a:lnTo>
                  <a:lnTo>
                    <a:pt x="2629291" y="186527"/>
                  </a:lnTo>
                  <a:lnTo>
                    <a:pt x="2712916" y="186527"/>
                  </a:lnTo>
                  <a:lnTo>
                    <a:pt x="2712916" y="61155"/>
                  </a:lnTo>
                  <a:lnTo>
                    <a:pt x="2833208" y="0"/>
                  </a:lnTo>
                  <a:lnTo>
                    <a:pt x="2833208" y="186592"/>
                  </a:lnTo>
                  <a:lnTo>
                    <a:pt x="2945358" y="186592"/>
                  </a:lnTo>
                  <a:lnTo>
                    <a:pt x="2945358" y="301804"/>
                  </a:lnTo>
                  <a:lnTo>
                    <a:pt x="2833208" y="301804"/>
                  </a:lnTo>
                  <a:lnTo>
                    <a:pt x="2833208" y="503701"/>
                  </a:lnTo>
                  <a:cubicBezTo>
                    <a:pt x="2833208" y="545514"/>
                    <a:pt x="2850532" y="560819"/>
                    <a:pt x="2880100" y="560819"/>
                  </a:cubicBezTo>
                  <a:cubicBezTo>
                    <a:pt x="2909668" y="560819"/>
                    <a:pt x="2938194" y="545514"/>
                    <a:pt x="2957602" y="527148"/>
                  </a:cubicBezTo>
                  <a:close/>
                  <a:moveTo>
                    <a:pt x="2397891" y="426134"/>
                  </a:moveTo>
                  <a:cubicBezTo>
                    <a:pt x="2397891" y="441439"/>
                    <a:pt x="2396849" y="460782"/>
                    <a:pt x="2395872" y="467946"/>
                  </a:cubicBezTo>
                  <a:lnTo>
                    <a:pt x="2114453" y="467946"/>
                  </a:lnTo>
                  <a:cubicBezTo>
                    <a:pt x="2119533" y="535224"/>
                    <a:pt x="2166425" y="562773"/>
                    <a:pt x="2218462" y="562773"/>
                  </a:cubicBezTo>
                  <a:cubicBezTo>
                    <a:pt x="2249073" y="562773"/>
                    <a:pt x="2276557" y="553590"/>
                    <a:pt x="2301045" y="529102"/>
                  </a:cubicBezTo>
                  <a:lnTo>
                    <a:pt x="2386689" y="601459"/>
                  </a:lnTo>
                  <a:cubicBezTo>
                    <a:pt x="2346895" y="654473"/>
                    <a:pt x="2274538" y="677919"/>
                    <a:pt x="2210321" y="677919"/>
                  </a:cubicBezTo>
                  <a:cubicBezTo>
                    <a:pt x="2072705" y="677919"/>
                    <a:pt x="1991100" y="569872"/>
                    <a:pt x="1991100" y="429130"/>
                  </a:cubicBezTo>
                  <a:cubicBezTo>
                    <a:pt x="1991100" y="288388"/>
                    <a:pt x="2079804" y="176302"/>
                    <a:pt x="2205176" y="176302"/>
                  </a:cubicBezTo>
                  <a:cubicBezTo>
                    <a:pt x="2339731" y="176302"/>
                    <a:pt x="2397891" y="298678"/>
                    <a:pt x="2397891" y="426069"/>
                  </a:cubicBezTo>
                  <a:close/>
                  <a:moveTo>
                    <a:pt x="2116472" y="374162"/>
                  </a:moveTo>
                  <a:lnTo>
                    <a:pt x="2287759" y="374162"/>
                  </a:lnTo>
                  <a:cubicBezTo>
                    <a:pt x="2282679" y="320105"/>
                    <a:pt x="2251027" y="283438"/>
                    <a:pt x="2199054" y="283438"/>
                  </a:cubicBezTo>
                  <a:cubicBezTo>
                    <a:pt x="2144021" y="283438"/>
                    <a:pt x="2119533" y="334433"/>
                    <a:pt x="2116472" y="374162"/>
                  </a:cubicBezTo>
                  <a:close/>
                  <a:moveTo>
                    <a:pt x="1933982" y="428218"/>
                  </a:moveTo>
                  <a:cubicBezTo>
                    <a:pt x="1933982" y="551571"/>
                    <a:pt x="1882987" y="677984"/>
                    <a:pt x="1746413" y="677984"/>
                  </a:cubicBezTo>
                  <a:cubicBezTo>
                    <a:pt x="1693399" y="677984"/>
                    <a:pt x="1660769" y="658642"/>
                    <a:pt x="1639342" y="638191"/>
                  </a:cubicBezTo>
                  <a:lnTo>
                    <a:pt x="1639342" y="784990"/>
                  </a:lnTo>
                  <a:lnTo>
                    <a:pt x="1519050" y="845169"/>
                  </a:lnTo>
                  <a:lnTo>
                    <a:pt x="1519050" y="186527"/>
                  </a:lnTo>
                  <a:lnTo>
                    <a:pt x="1639342" y="186527"/>
                  </a:lnTo>
                  <a:lnTo>
                    <a:pt x="1639342" y="219157"/>
                  </a:lnTo>
                  <a:cubicBezTo>
                    <a:pt x="1670929" y="190630"/>
                    <a:pt x="1703559" y="176367"/>
                    <a:pt x="1748432" y="176367"/>
                  </a:cubicBezTo>
                  <a:cubicBezTo>
                    <a:pt x="1877907" y="176367"/>
                    <a:pt x="1933982" y="298743"/>
                    <a:pt x="1933982" y="428218"/>
                  </a:cubicBezTo>
                  <a:close/>
                  <a:moveTo>
                    <a:pt x="1809587" y="434340"/>
                  </a:moveTo>
                  <a:cubicBezTo>
                    <a:pt x="1809587" y="364002"/>
                    <a:pt x="1791221" y="292621"/>
                    <a:pt x="1718864" y="292621"/>
                  </a:cubicBezTo>
                  <a:cubicBezTo>
                    <a:pt x="1685193" y="292621"/>
                    <a:pt x="1658685" y="307926"/>
                    <a:pt x="1639342" y="335410"/>
                  </a:cubicBezTo>
                  <a:lnTo>
                    <a:pt x="1639342" y="518942"/>
                  </a:lnTo>
                  <a:cubicBezTo>
                    <a:pt x="1658685" y="546491"/>
                    <a:pt x="1691315" y="562773"/>
                    <a:pt x="1726028" y="562773"/>
                  </a:cubicBezTo>
                  <a:cubicBezTo>
                    <a:pt x="1793305" y="562773"/>
                    <a:pt x="1809652" y="501618"/>
                    <a:pt x="1809652" y="434340"/>
                  </a:cubicBezTo>
                  <a:close/>
                  <a:moveTo>
                    <a:pt x="1435426" y="667825"/>
                  </a:moveTo>
                  <a:lnTo>
                    <a:pt x="1315134" y="667825"/>
                  </a:lnTo>
                  <a:lnTo>
                    <a:pt x="1315134" y="634153"/>
                  </a:lnTo>
                  <a:cubicBezTo>
                    <a:pt x="1286608" y="662680"/>
                    <a:pt x="1249876" y="677984"/>
                    <a:pt x="1202983" y="677984"/>
                  </a:cubicBezTo>
                  <a:cubicBezTo>
                    <a:pt x="1108157" y="677984"/>
                    <a:pt x="1033715" y="616829"/>
                    <a:pt x="1033715" y="510800"/>
                  </a:cubicBezTo>
                  <a:cubicBezTo>
                    <a:pt x="1033715" y="404772"/>
                    <a:pt x="1106072" y="348696"/>
                    <a:pt x="1221284" y="348696"/>
                  </a:cubicBezTo>
                  <a:cubicBezTo>
                    <a:pt x="1251894" y="348696"/>
                    <a:pt x="1283482" y="352799"/>
                    <a:pt x="1315069" y="368040"/>
                  </a:cubicBezTo>
                  <a:lnTo>
                    <a:pt x="1315069" y="342574"/>
                  </a:lnTo>
                  <a:cubicBezTo>
                    <a:pt x="1315069" y="297701"/>
                    <a:pt x="1285501" y="279335"/>
                    <a:pt x="1232486" y="279335"/>
                  </a:cubicBezTo>
                  <a:cubicBezTo>
                    <a:pt x="1194777" y="279335"/>
                    <a:pt x="1159087" y="288518"/>
                    <a:pt x="1121378" y="310922"/>
                  </a:cubicBezTo>
                  <a:lnTo>
                    <a:pt x="1073443" y="225278"/>
                  </a:lnTo>
                  <a:cubicBezTo>
                    <a:pt x="1125416" y="192649"/>
                    <a:pt x="1175369" y="176367"/>
                    <a:pt x="1239650" y="176367"/>
                  </a:cubicBezTo>
                  <a:cubicBezTo>
                    <a:pt x="1360984" y="176367"/>
                    <a:pt x="1435426" y="235503"/>
                    <a:pt x="1435426" y="344593"/>
                  </a:cubicBezTo>
                  <a:lnTo>
                    <a:pt x="1435426" y="667759"/>
                  </a:lnTo>
                  <a:close/>
                  <a:moveTo>
                    <a:pt x="1315134" y="527083"/>
                  </a:moveTo>
                  <a:lnTo>
                    <a:pt x="1315134" y="465927"/>
                  </a:lnTo>
                  <a:cubicBezTo>
                    <a:pt x="1290646" y="450622"/>
                    <a:pt x="1259059" y="445542"/>
                    <a:pt x="1234570" y="445542"/>
                  </a:cubicBezTo>
                  <a:cubicBezTo>
                    <a:pt x="1181556" y="445542"/>
                    <a:pt x="1156091" y="468988"/>
                    <a:pt x="1156091" y="507740"/>
                  </a:cubicBezTo>
                  <a:cubicBezTo>
                    <a:pt x="1156091" y="544472"/>
                    <a:pt x="1179537" y="574040"/>
                    <a:pt x="1224410" y="574040"/>
                  </a:cubicBezTo>
                  <a:cubicBezTo>
                    <a:pt x="1247857" y="574040"/>
                    <a:pt x="1288627" y="565899"/>
                    <a:pt x="1315134" y="527148"/>
                  </a:cubicBezTo>
                  <a:close/>
                  <a:moveTo>
                    <a:pt x="967480" y="667825"/>
                  </a:moveTo>
                  <a:lnTo>
                    <a:pt x="847188" y="667825"/>
                  </a:lnTo>
                  <a:lnTo>
                    <a:pt x="847188" y="405814"/>
                  </a:lnTo>
                  <a:cubicBezTo>
                    <a:pt x="847188" y="340555"/>
                    <a:pt x="832925" y="292621"/>
                    <a:pt x="765647" y="292621"/>
                  </a:cubicBezTo>
                  <a:cubicBezTo>
                    <a:pt x="698370" y="292621"/>
                    <a:pt x="683065" y="336452"/>
                    <a:pt x="683065" y="402753"/>
                  </a:cubicBezTo>
                  <a:lnTo>
                    <a:pt x="683065" y="667825"/>
                  </a:lnTo>
                  <a:lnTo>
                    <a:pt x="562773" y="667825"/>
                  </a:lnTo>
                  <a:lnTo>
                    <a:pt x="562773" y="61221"/>
                  </a:lnTo>
                  <a:lnTo>
                    <a:pt x="683065" y="65"/>
                  </a:lnTo>
                  <a:lnTo>
                    <a:pt x="683065" y="220264"/>
                  </a:lnTo>
                  <a:cubicBezTo>
                    <a:pt x="709572" y="193756"/>
                    <a:pt x="742201" y="176432"/>
                    <a:pt x="796258" y="176432"/>
                  </a:cubicBezTo>
                  <a:cubicBezTo>
                    <a:pt x="923713" y="176432"/>
                    <a:pt x="967545" y="274320"/>
                    <a:pt x="967545" y="396631"/>
                  </a:cubicBezTo>
                  <a:lnTo>
                    <a:pt x="967545" y="667825"/>
                  </a:lnTo>
                  <a:close/>
                  <a:moveTo>
                    <a:pt x="496472" y="475110"/>
                  </a:moveTo>
                  <a:cubicBezTo>
                    <a:pt x="496472" y="619890"/>
                    <a:pt x="386341" y="677984"/>
                    <a:pt x="255889" y="677984"/>
                  </a:cubicBezTo>
                  <a:cubicBezTo>
                    <a:pt x="162104" y="677984"/>
                    <a:pt x="58094" y="648416"/>
                    <a:pt x="0" y="562773"/>
                  </a:cubicBezTo>
                  <a:lnTo>
                    <a:pt x="89747" y="483251"/>
                  </a:lnTo>
                  <a:cubicBezTo>
                    <a:pt x="131559" y="533205"/>
                    <a:pt x="191672" y="556651"/>
                    <a:pt x="252893" y="556651"/>
                  </a:cubicBezTo>
                  <a:cubicBezTo>
                    <a:pt x="325250" y="556651"/>
                    <a:pt x="367063" y="524022"/>
                    <a:pt x="367063" y="478171"/>
                  </a:cubicBezTo>
                  <a:cubicBezTo>
                    <a:pt x="367063" y="459805"/>
                    <a:pt x="359899" y="441439"/>
                    <a:pt x="329353" y="426199"/>
                  </a:cubicBezTo>
                  <a:cubicBezTo>
                    <a:pt x="306949" y="414997"/>
                    <a:pt x="279400" y="407833"/>
                    <a:pt x="225344" y="394612"/>
                  </a:cubicBezTo>
                  <a:cubicBezTo>
                    <a:pt x="191672" y="386471"/>
                    <a:pt x="122376" y="370124"/>
                    <a:pt x="79522" y="335475"/>
                  </a:cubicBezTo>
                  <a:cubicBezTo>
                    <a:pt x="36732" y="300827"/>
                    <a:pt x="24488" y="250874"/>
                    <a:pt x="24488" y="207042"/>
                  </a:cubicBezTo>
                  <a:cubicBezTo>
                    <a:pt x="24488" y="71445"/>
                    <a:pt x="140742" y="16412"/>
                    <a:pt x="254912" y="16412"/>
                  </a:cubicBezTo>
                  <a:cubicBezTo>
                    <a:pt x="353776" y="16412"/>
                    <a:pt x="425157" y="57182"/>
                    <a:pt x="482274" y="115277"/>
                  </a:cubicBezTo>
                  <a:lnTo>
                    <a:pt x="392528" y="202939"/>
                  </a:lnTo>
                  <a:cubicBezTo>
                    <a:pt x="350715" y="161127"/>
                    <a:pt x="309945" y="137681"/>
                    <a:pt x="246706" y="137681"/>
                  </a:cubicBezTo>
                  <a:cubicBezTo>
                    <a:pt x="192649" y="137681"/>
                    <a:pt x="152921" y="155005"/>
                    <a:pt x="152921" y="199878"/>
                  </a:cubicBezTo>
                  <a:cubicBezTo>
                    <a:pt x="152921" y="219221"/>
                    <a:pt x="160085" y="232508"/>
                    <a:pt x="179428" y="243710"/>
                  </a:cubicBezTo>
                  <a:cubicBezTo>
                    <a:pt x="201832" y="255954"/>
                    <a:pt x="233485" y="265137"/>
                    <a:pt x="282396" y="277381"/>
                  </a:cubicBezTo>
                  <a:cubicBezTo>
                    <a:pt x="340490" y="292686"/>
                    <a:pt x="394547" y="305907"/>
                    <a:pt x="438378" y="341598"/>
                  </a:cubicBezTo>
                  <a:cubicBezTo>
                    <a:pt x="477129" y="373185"/>
                    <a:pt x="496472" y="414997"/>
                    <a:pt x="496472" y="475176"/>
                  </a:cubicBezTo>
                  <a:close/>
                  <a:moveTo>
                    <a:pt x="6100885" y="208996"/>
                  </a:moveTo>
                  <a:lnTo>
                    <a:pt x="6051778" y="329288"/>
                  </a:lnTo>
                  <a:cubicBezTo>
                    <a:pt x="6033413" y="311964"/>
                    <a:pt x="6011985" y="299720"/>
                    <a:pt x="5982482" y="299720"/>
                  </a:cubicBezTo>
                  <a:cubicBezTo>
                    <a:pt x="5925365" y="299720"/>
                    <a:pt x="5911232" y="347654"/>
                    <a:pt x="5911232" y="405749"/>
                  </a:cubicBezTo>
                  <a:lnTo>
                    <a:pt x="5911232" y="667759"/>
                  </a:lnTo>
                  <a:lnTo>
                    <a:pt x="5790940" y="667759"/>
                  </a:lnTo>
                  <a:lnTo>
                    <a:pt x="5790940" y="186527"/>
                  </a:lnTo>
                  <a:lnTo>
                    <a:pt x="5911232" y="186527"/>
                  </a:lnTo>
                  <a:lnTo>
                    <a:pt x="5911232" y="220198"/>
                  </a:lnTo>
                  <a:cubicBezTo>
                    <a:pt x="5938781" y="192649"/>
                    <a:pt x="5973429" y="176367"/>
                    <a:pt x="6012181" y="176367"/>
                  </a:cubicBezTo>
                  <a:cubicBezTo>
                    <a:pt x="6045852" y="176367"/>
                    <a:pt x="6075420" y="186592"/>
                    <a:pt x="6100885" y="208996"/>
                  </a:cubicBezTo>
                  <a:close/>
                </a:path>
              </a:pathLst>
            </a:custGeom>
            <a:solidFill>
              <a:schemeClr val="bg2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6163476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ram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DD8D4830-1AF6-9C3D-EC53-70FC3C7CBE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8386354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0"/>
                  <a:alpha val="0"/>
                </a:schemeClr>
              </a:gs>
              <a:gs pos="95000">
                <a:srgbClr val="000000">
                  <a:alpha val="70000"/>
                </a:srgb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n-US" sz="1200" b="1">
              <a:solidFill>
                <a:schemeClr val="tx1"/>
              </a:solidFill>
            </a:endParaRP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632E76BF-46D5-8E94-88AA-4783DD302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89762" y="4436485"/>
            <a:ext cx="4907628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edit master subtitle style</a:t>
            </a:r>
            <a:endParaRPr lang="en-US" dirty="0"/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1F7B1FDC-B90E-6693-A750-B9BA4B535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9762" y="2698751"/>
            <a:ext cx="4906009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" panose="02000503020000020004" pitchFamily="2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0" name="Text Placeholder 288">
            <a:extLst>
              <a:ext uri="{FF2B5EF4-FFF2-40B4-BE49-F238E27FC236}">
                <a16:creationId xmlns:a16="http://schemas.microsoft.com/office/drawing/2014/main" id="{1673B89D-F206-B9D2-CDB7-BDE045C744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89762" y="5047485"/>
            <a:ext cx="4906010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7E4019ED-5B2C-404F-02EC-797AD0FF10FD}"/>
              </a:ext>
            </a:extLst>
          </p:cNvPr>
          <p:cNvGrpSpPr/>
          <p:nvPr userDrawn="1"/>
        </p:nvGrpSpPr>
        <p:grpSpPr>
          <a:xfrm>
            <a:off x="485774" y="1291008"/>
            <a:ext cx="5706110" cy="4360545"/>
            <a:chOff x="485774" y="1291008"/>
            <a:chExt cx="5706110" cy="4360545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F7E50E80-DFF0-E065-898F-1AFD970459B6}"/>
                </a:ext>
              </a:extLst>
            </p:cNvPr>
            <p:cNvSpPr/>
            <p:nvPr userDrawn="1"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" name="Freeform 1">
              <a:extLst>
                <a:ext uri="{FF2B5EF4-FFF2-40B4-BE49-F238E27FC236}">
                  <a16:creationId xmlns:a16="http://schemas.microsoft.com/office/drawing/2014/main" id="{63327741-8A1F-B922-5F7C-0313A67883A4}"/>
                </a:ext>
              </a:extLst>
            </p:cNvPr>
            <p:cNvSpPr/>
            <p:nvPr userDrawn="1"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gradFill flip="none" rotWithShape="1">
              <a:gsLst>
                <a:gs pos="39000">
                  <a:srgbClr val="FFE600"/>
                </a:gs>
                <a:gs pos="68000">
                  <a:srgbClr val="FF7D1E"/>
                </a:gs>
                <a:gs pos="100000">
                  <a:srgbClr val="FF32FF"/>
                </a:gs>
              </a:gsLst>
              <a:lin ang="18720000" scaled="0"/>
              <a:tileRect/>
            </a:gradFill>
            <a:ln w="81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dirty="0"/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A6D27708-5BDE-7609-B2E7-5BB669F020F7}"/>
              </a:ext>
            </a:extLst>
          </p:cNvPr>
          <p:cNvGrpSpPr/>
          <p:nvPr userDrawn="1"/>
        </p:nvGrpSpPr>
        <p:grpSpPr>
          <a:xfrm>
            <a:off x="485775" y="6164633"/>
            <a:ext cx="4940935" cy="318770"/>
            <a:chOff x="485775" y="6164633"/>
            <a:chExt cx="4940935" cy="318770"/>
          </a:xfrm>
        </p:grpSpPr>
        <p:sp>
          <p:nvSpPr>
            <p:cNvPr id="5" name="Freeform 23">
              <a:extLst>
                <a:ext uri="{FF2B5EF4-FFF2-40B4-BE49-F238E27FC236}">
                  <a16:creationId xmlns:a16="http://schemas.microsoft.com/office/drawing/2014/main" id="{ED53A776-F7E6-4162-5C9C-EBEC582A810E}"/>
                </a:ext>
              </a:extLst>
            </p:cNvPr>
            <p:cNvSpPr/>
            <p:nvPr userDrawn="1"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6" name="Freeform 24">
              <a:extLst>
                <a:ext uri="{FF2B5EF4-FFF2-40B4-BE49-F238E27FC236}">
                  <a16:creationId xmlns:a16="http://schemas.microsoft.com/office/drawing/2014/main" id="{AD73404A-FC7B-D657-2C28-CB0C86D6B749}"/>
                </a:ext>
              </a:extLst>
            </p:cNvPr>
            <p:cNvSpPr/>
            <p:nvPr userDrawn="1"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chemeClr val="bg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940E09F0-6F36-3CCB-B830-9F7B497C4FA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562024" y="5167683"/>
            <a:ext cx="1220400" cy="1285398"/>
            <a:chOff x="3913438" y="-99392"/>
            <a:chExt cx="6512821" cy="6859693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78A4C3CD-8DDC-D023-1851-A260526E6035}"/>
                </a:ext>
              </a:extLst>
            </p:cNvPr>
            <p:cNvSpPr/>
            <p:nvPr/>
          </p:nvSpPr>
          <p:spPr>
            <a:xfrm>
              <a:off x="5319751" y="-99392"/>
              <a:ext cx="4303606" cy="1570696"/>
            </a:xfrm>
            <a:custGeom>
              <a:avLst/>
              <a:gdLst>
                <a:gd name="connsiteX0" fmla="*/ 4303607 w 4303606"/>
                <a:gd name="connsiteY0" fmla="*/ 0 h 1570696"/>
                <a:gd name="connsiteX1" fmla="*/ 0 w 4303606"/>
                <a:gd name="connsiteY1" fmla="*/ 1570697 h 1570696"/>
                <a:gd name="connsiteX2" fmla="*/ 4303607 w 4303606"/>
                <a:gd name="connsiteY2" fmla="*/ 810521 h 1570696"/>
                <a:gd name="connsiteX3" fmla="*/ 4303607 w 4303606"/>
                <a:gd name="connsiteY3" fmla="*/ 0 h 1570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03606" h="1570696">
                  <a:moveTo>
                    <a:pt x="4303607" y="0"/>
                  </a:moveTo>
                  <a:lnTo>
                    <a:pt x="0" y="1570697"/>
                  </a:lnTo>
                  <a:lnTo>
                    <a:pt x="4303607" y="810521"/>
                  </a:lnTo>
                  <a:lnTo>
                    <a:pt x="4303607" y="0"/>
                  </a:lnTo>
                  <a:close/>
                </a:path>
              </a:pathLst>
            </a:custGeom>
            <a:solidFill>
              <a:srgbClr val="FFE600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1B23B9A3-ECB2-23D6-6117-B089B1FA3213}"/>
                </a:ext>
              </a:extLst>
            </p:cNvPr>
            <p:cNvSpPr/>
            <p:nvPr/>
          </p:nvSpPr>
          <p:spPr>
            <a:xfrm>
              <a:off x="5357395" y="2124345"/>
              <a:ext cx="3613052" cy="2176910"/>
            </a:xfrm>
            <a:custGeom>
              <a:avLst/>
              <a:gdLst>
                <a:gd name="connsiteX0" fmla="*/ 652845 w 3613052"/>
                <a:gd name="connsiteY0" fmla="*/ 1676205 h 2176910"/>
                <a:gd name="connsiteX1" fmla="*/ 1741463 w 3613052"/>
                <a:gd name="connsiteY1" fmla="*/ 1676205 h 2176910"/>
                <a:gd name="connsiteX2" fmla="*/ 1741463 w 3613052"/>
                <a:gd name="connsiteY2" fmla="*/ 2176910 h 2176910"/>
                <a:gd name="connsiteX3" fmla="*/ 0 w 3613052"/>
                <a:gd name="connsiteY3" fmla="*/ 2176910 h 2176910"/>
                <a:gd name="connsiteX4" fmla="*/ 0 w 3613052"/>
                <a:gd name="connsiteY4" fmla="*/ 0 h 2176910"/>
                <a:gd name="connsiteX5" fmla="*/ 1234766 w 3613052"/>
                <a:gd name="connsiteY5" fmla="*/ 0 h 2176910"/>
                <a:gd name="connsiteX6" fmla="*/ 1523675 w 3613052"/>
                <a:gd name="connsiteY6" fmla="*/ 500706 h 2176910"/>
                <a:gd name="connsiteX7" fmla="*/ 652910 w 3613052"/>
                <a:gd name="connsiteY7" fmla="*/ 500706 h 2176910"/>
                <a:gd name="connsiteX8" fmla="*/ 652910 w 3613052"/>
                <a:gd name="connsiteY8" fmla="*/ 859953 h 2176910"/>
                <a:gd name="connsiteX9" fmla="*/ 1440050 w 3613052"/>
                <a:gd name="connsiteY9" fmla="*/ 859953 h 2176910"/>
                <a:gd name="connsiteX10" fmla="*/ 1440050 w 3613052"/>
                <a:gd name="connsiteY10" fmla="*/ 1317022 h 2176910"/>
                <a:gd name="connsiteX11" fmla="*/ 652910 w 3613052"/>
                <a:gd name="connsiteY11" fmla="*/ 1317022 h 2176910"/>
                <a:gd name="connsiteX12" fmla="*/ 652910 w 3613052"/>
                <a:gd name="connsiteY12" fmla="*/ 1676205 h 2176910"/>
                <a:gd name="connsiteX13" fmla="*/ 2900485 w 3613052"/>
                <a:gd name="connsiteY13" fmla="*/ 0 h 2176910"/>
                <a:gd name="connsiteX14" fmla="*/ 2530687 w 3613052"/>
                <a:gd name="connsiteY14" fmla="*/ 710418 h 2176910"/>
                <a:gd name="connsiteX15" fmla="*/ 2161801 w 3613052"/>
                <a:gd name="connsiteY15" fmla="*/ 0 h 2176910"/>
                <a:gd name="connsiteX16" fmla="*/ 1439985 w 3613052"/>
                <a:gd name="connsiteY16" fmla="*/ 0 h 2176910"/>
                <a:gd name="connsiteX17" fmla="*/ 2200552 w 3613052"/>
                <a:gd name="connsiteY17" fmla="*/ 1317022 h 2176910"/>
                <a:gd name="connsiteX18" fmla="*/ 2200552 w 3613052"/>
                <a:gd name="connsiteY18" fmla="*/ 2176910 h 2176910"/>
                <a:gd name="connsiteX19" fmla="*/ 2851443 w 3613052"/>
                <a:gd name="connsiteY19" fmla="*/ 2176910 h 2176910"/>
                <a:gd name="connsiteX20" fmla="*/ 2851443 w 3613052"/>
                <a:gd name="connsiteY20" fmla="*/ 1317022 h 2176910"/>
                <a:gd name="connsiteX21" fmla="*/ 3613053 w 3613052"/>
                <a:gd name="connsiteY21" fmla="*/ 0 h 2176910"/>
                <a:gd name="connsiteX22" fmla="*/ 2900485 w 3613052"/>
                <a:gd name="connsiteY22" fmla="*/ 0 h 2176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613052" h="2176910">
                  <a:moveTo>
                    <a:pt x="652845" y="1676205"/>
                  </a:moveTo>
                  <a:lnTo>
                    <a:pt x="1741463" y="1676205"/>
                  </a:lnTo>
                  <a:lnTo>
                    <a:pt x="1741463" y="2176910"/>
                  </a:lnTo>
                  <a:lnTo>
                    <a:pt x="0" y="2176910"/>
                  </a:lnTo>
                  <a:lnTo>
                    <a:pt x="0" y="0"/>
                  </a:lnTo>
                  <a:lnTo>
                    <a:pt x="1234766" y="0"/>
                  </a:lnTo>
                  <a:lnTo>
                    <a:pt x="1523675" y="500706"/>
                  </a:lnTo>
                  <a:lnTo>
                    <a:pt x="652910" y="500706"/>
                  </a:lnTo>
                  <a:lnTo>
                    <a:pt x="652910" y="859953"/>
                  </a:lnTo>
                  <a:lnTo>
                    <a:pt x="1440050" y="859953"/>
                  </a:lnTo>
                  <a:lnTo>
                    <a:pt x="1440050" y="1317022"/>
                  </a:lnTo>
                  <a:lnTo>
                    <a:pt x="652910" y="1317022"/>
                  </a:lnTo>
                  <a:lnTo>
                    <a:pt x="652910" y="1676205"/>
                  </a:lnTo>
                  <a:close/>
                  <a:moveTo>
                    <a:pt x="2900485" y="0"/>
                  </a:moveTo>
                  <a:lnTo>
                    <a:pt x="2530687" y="710418"/>
                  </a:lnTo>
                  <a:lnTo>
                    <a:pt x="2161801" y="0"/>
                  </a:lnTo>
                  <a:lnTo>
                    <a:pt x="1439985" y="0"/>
                  </a:lnTo>
                  <a:lnTo>
                    <a:pt x="2200552" y="1317022"/>
                  </a:lnTo>
                  <a:lnTo>
                    <a:pt x="2200552" y="2176910"/>
                  </a:lnTo>
                  <a:lnTo>
                    <a:pt x="2851443" y="2176910"/>
                  </a:lnTo>
                  <a:lnTo>
                    <a:pt x="2851443" y="1317022"/>
                  </a:lnTo>
                  <a:lnTo>
                    <a:pt x="3613053" y="0"/>
                  </a:lnTo>
                  <a:lnTo>
                    <a:pt x="2900485" y="0"/>
                  </a:lnTo>
                  <a:close/>
                </a:path>
              </a:pathLst>
            </a:custGeom>
            <a:solidFill>
              <a:schemeClr val="bg2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2DEE98FE-B6F7-394F-EA0F-013620E08950}"/>
                </a:ext>
              </a:extLst>
            </p:cNvPr>
            <p:cNvSpPr/>
            <p:nvPr/>
          </p:nvSpPr>
          <p:spPr>
            <a:xfrm>
              <a:off x="3913438" y="5111711"/>
              <a:ext cx="6512821" cy="1648590"/>
            </a:xfrm>
            <a:custGeom>
              <a:avLst/>
              <a:gdLst>
                <a:gd name="connsiteX0" fmla="*/ 5071143 w 6512821"/>
                <a:gd name="connsiteY0" fmla="*/ 1396740 h 1648590"/>
                <a:gd name="connsiteX1" fmla="*/ 5069124 w 6512821"/>
                <a:gd name="connsiteY1" fmla="*/ 1438552 h 1648590"/>
                <a:gd name="connsiteX2" fmla="*/ 4777545 w 6512821"/>
                <a:gd name="connsiteY2" fmla="*/ 1438552 h 1648590"/>
                <a:gd name="connsiteX3" fmla="*/ 4880513 w 6512821"/>
                <a:gd name="connsiteY3" fmla="*/ 1533378 h 1648590"/>
                <a:gd name="connsiteX4" fmla="*/ 4964137 w 6512821"/>
                <a:gd name="connsiteY4" fmla="*/ 1499707 h 1648590"/>
                <a:gd name="connsiteX5" fmla="*/ 5049781 w 6512821"/>
                <a:gd name="connsiteY5" fmla="*/ 1572065 h 1648590"/>
                <a:gd name="connsiteX6" fmla="*/ 4875433 w 6512821"/>
                <a:gd name="connsiteY6" fmla="*/ 1648525 h 1648590"/>
                <a:gd name="connsiteX7" fmla="*/ 4654192 w 6512821"/>
                <a:gd name="connsiteY7" fmla="*/ 1398759 h 1648590"/>
                <a:gd name="connsiteX8" fmla="*/ 4867292 w 6512821"/>
                <a:gd name="connsiteY8" fmla="*/ 1146908 h 1648590"/>
                <a:gd name="connsiteX9" fmla="*/ 5071208 w 6512821"/>
                <a:gd name="connsiteY9" fmla="*/ 1396675 h 1648590"/>
                <a:gd name="connsiteX10" fmla="*/ 4779564 w 6512821"/>
                <a:gd name="connsiteY10" fmla="*/ 1344767 h 1648590"/>
                <a:gd name="connsiteX11" fmla="*/ 4950851 w 6512821"/>
                <a:gd name="connsiteY11" fmla="*/ 1344767 h 1648590"/>
                <a:gd name="connsiteX12" fmla="*/ 4863189 w 6512821"/>
                <a:gd name="connsiteY12" fmla="*/ 1254044 h 1648590"/>
                <a:gd name="connsiteX13" fmla="*/ 4779564 w 6512821"/>
                <a:gd name="connsiteY13" fmla="*/ 1344767 h 1648590"/>
                <a:gd name="connsiteX14" fmla="*/ 6512756 w 6512821"/>
                <a:gd name="connsiteY14" fmla="*/ 1396740 h 1648590"/>
                <a:gd name="connsiteX15" fmla="*/ 6510737 w 6512821"/>
                <a:gd name="connsiteY15" fmla="*/ 1438552 h 1648590"/>
                <a:gd name="connsiteX16" fmla="*/ 6219158 w 6512821"/>
                <a:gd name="connsiteY16" fmla="*/ 1438552 h 1648590"/>
                <a:gd name="connsiteX17" fmla="*/ 6322126 w 6512821"/>
                <a:gd name="connsiteY17" fmla="*/ 1533378 h 1648590"/>
                <a:gd name="connsiteX18" fmla="*/ 6405751 w 6512821"/>
                <a:gd name="connsiteY18" fmla="*/ 1499707 h 1648590"/>
                <a:gd name="connsiteX19" fmla="*/ 6491394 w 6512821"/>
                <a:gd name="connsiteY19" fmla="*/ 1572065 h 1648590"/>
                <a:gd name="connsiteX20" fmla="*/ 6317046 w 6512821"/>
                <a:gd name="connsiteY20" fmla="*/ 1648525 h 1648590"/>
                <a:gd name="connsiteX21" fmla="*/ 6095805 w 6512821"/>
                <a:gd name="connsiteY21" fmla="*/ 1398759 h 1648590"/>
                <a:gd name="connsiteX22" fmla="*/ 6308905 w 6512821"/>
                <a:gd name="connsiteY22" fmla="*/ 1146908 h 1648590"/>
                <a:gd name="connsiteX23" fmla="*/ 6512821 w 6512821"/>
                <a:gd name="connsiteY23" fmla="*/ 1396675 h 1648590"/>
                <a:gd name="connsiteX24" fmla="*/ 6221177 w 6512821"/>
                <a:gd name="connsiteY24" fmla="*/ 1344767 h 1648590"/>
                <a:gd name="connsiteX25" fmla="*/ 6392465 w 6512821"/>
                <a:gd name="connsiteY25" fmla="*/ 1344767 h 1648590"/>
                <a:gd name="connsiteX26" fmla="*/ 6304802 w 6512821"/>
                <a:gd name="connsiteY26" fmla="*/ 1254044 h 1648590"/>
                <a:gd name="connsiteX27" fmla="*/ 6221177 w 6512821"/>
                <a:gd name="connsiteY27" fmla="*/ 1344767 h 1648590"/>
                <a:gd name="connsiteX28" fmla="*/ 5978509 w 6512821"/>
                <a:gd name="connsiteY28" fmla="*/ 1467143 h 1648590"/>
                <a:gd name="connsiteX29" fmla="*/ 6058031 w 6512821"/>
                <a:gd name="connsiteY29" fmla="*/ 1542561 h 1648590"/>
                <a:gd name="connsiteX30" fmla="*/ 5866359 w 6512821"/>
                <a:gd name="connsiteY30" fmla="*/ 1648590 h 1648590"/>
                <a:gd name="connsiteX31" fmla="*/ 5637954 w 6512821"/>
                <a:gd name="connsiteY31" fmla="*/ 1398823 h 1648590"/>
                <a:gd name="connsiteX32" fmla="*/ 5868378 w 6512821"/>
                <a:gd name="connsiteY32" fmla="*/ 1146973 h 1648590"/>
                <a:gd name="connsiteX33" fmla="*/ 6056989 w 6512821"/>
                <a:gd name="connsiteY33" fmla="*/ 1250983 h 1648590"/>
                <a:gd name="connsiteX34" fmla="*/ 5975448 w 6512821"/>
                <a:gd name="connsiteY34" fmla="*/ 1333565 h 1648590"/>
                <a:gd name="connsiteX35" fmla="*/ 5867401 w 6512821"/>
                <a:gd name="connsiteY35" fmla="*/ 1266288 h 1648590"/>
                <a:gd name="connsiteX36" fmla="*/ 5766452 w 6512821"/>
                <a:gd name="connsiteY36" fmla="*/ 1396804 h 1648590"/>
                <a:gd name="connsiteX37" fmla="*/ 5868378 w 6512821"/>
                <a:gd name="connsiteY37" fmla="*/ 1528299 h 1648590"/>
                <a:gd name="connsiteX38" fmla="*/ 5978509 w 6512821"/>
                <a:gd name="connsiteY38" fmla="*/ 1467143 h 1648590"/>
                <a:gd name="connsiteX39" fmla="*/ 4869246 w 6512821"/>
                <a:gd name="connsiteY39" fmla="*/ 667825 h 1648590"/>
                <a:gd name="connsiteX40" fmla="*/ 4750973 w 6512821"/>
                <a:gd name="connsiteY40" fmla="*/ 667825 h 1648590"/>
                <a:gd name="connsiteX41" fmla="*/ 4750973 w 6512821"/>
                <a:gd name="connsiteY41" fmla="*/ 634153 h 1648590"/>
                <a:gd name="connsiteX42" fmla="*/ 4638822 w 6512821"/>
                <a:gd name="connsiteY42" fmla="*/ 677984 h 1648590"/>
                <a:gd name="connsiteX43" fmla="*/ 4467535 w 6512821"/>
                <a:gd name="connsiteY43" fmla="*/ 458763 h 1648590"/>
                <a:gd name="connsiteX44" fmla="*/ 4467535 w 6512821"/>
                <a:gd name="connsiteY44" fmla="*/ 186527 h 1648590"/>
                <a:gd name="connsiteX45" fmla="*/ 4587827 w 6512821"/>
                <a:gd name="connsiteY45" fmla="*/ 186527 h 1648590"/>
                <a:gd name="connsiteX46" fmla="*/ 4587827 w 6512821"/>
                <a:gd name="connsiteY46" fmla="*/ 448538 h 1648590"/>
                <a:gd name="connsiteX47" fmla="*/ 4668390 w 6512821"/>
                <a:gd name="connsiteY47" fmla="*/ 562708 h 1648590"/>
                <a:gd name="connsiteX48" fmla="*/ 4748954 w 6512821"/>
                <a:gd name="connsiteY48" fmla="*/ 452576 h 1648590"/>
                <a:gd name="connsiteX49" fmla="*/ 4748954 w 6512821"/>
                <a:gd name="connsiteY49" fmla="*/ 186462 h 1648590"/>
                <a:gd name="connsiteX50" fmla="*/ 4869246 w 6512821"/>
                <a:gd name="connsiteY50" fmla="*/ 186462 h 1648590"/>
                <a:gd name="connsiteX51" fmla="*/ 4869246 w 6512821"/>
                <a:gd name="connsiteY51" fmla="*/ 667695 h 1648590"/>
                <a:gd name="connsiteX52" fmla="*/ 5244449 w 6512821"/>
                <a:gd name="connsiteY52" fmla="*/ 527083 h 1648590"/>
                <a:gd name="connsiteX53" fmla="*/ 5227125 w 6512821"/>
                <a:gd name="connsiteY53" fmla="*/ 649458 h 1648590"/>
                <a:gd name="connsiteX54" fmla="*/ 5128261 w 6512821"/>
                <a:gd name="connsiteY54" fmla="*/ 677984 h 1648590"/>
                <a:gd name="connsiteX55" fmla="*/ 4997744 w 6512821"/>
                <a:gd name="connsiteY55" fmla="*/ 535224 h 1648590"/>
                <a:gd name="connsiteX56" fmla="*/ 4997744 w 6512821"/>
                <a:gd name="connsiteY56" fmla="*/ 301739 h 1648590"/>
                <a:gd name="connsiteX57" fmla="*/ 4928447 w 6512821"/>
                <a:gd name="connsiteY57" fmla="*/ 301739 h 1648590"/>
                <a:gd name="connsiteX58" fmla="*/ 4928447 w 6512821"/>
                <a:gd name="connsiteY58" fmla="*/ 186527 h 1648590"/>
                <a:gd name="connsiteX59" fmla="*/ 4997744 w 6512821"/>
                <a:gd name="connsiteY59" fmla="*/ 186527 h 1648590"/>
                <a:gd name="connsiteX60" fmla="*/ 4997744 w 6512821"/>
                <a:gd name="connsiteY60" fmla="*/ 61155 h 1648590"/>
                <a:gd name="connsiteX61" fmla="*/ 5118035 w 6512821"/>
                <a:gd name="connsiteY61" fmla="*/ 0 h 1648590"/>
                <a:gd name="connsiteX62" fmla="*/ 5118035 w 6512821"/>
                <a:gd name="connsiteY62" fmla="*/ 186592 h 1648590"/>
                <a:gd name="connsiteX63" fmla="*/ 5232205 w 6512821"/>
                <a:gd name="connsiteY63" fmla="*/ 186592 h 1648590"/>
                <a:gd name="connsiteX64" fmla="*/ 5232205 w 6512821"/>
                <a:gd name="connsiteY64" fmla="*/ 301804 h 1648590"/>
                <a:gd name="connsiteX65" fmla="*/ 5118035 w 6512821"/>
                <a:gd name="connsiteY65" fmla="*/ 301804 h 1648590"/>
                <a:gd name="connsiteX66" fmla="*/ 5118035 w 6512821"/>
                <a:gd name="connsiteY66" fmla="*/ 503701 h 1648590"/>
                <a:gd name="connsiteX67" fmla="*/ 5164928 w 6512821"/>
                <a:gd name="connsiteY67" fmla="*/ 560819 h 1648590"/>
                <a:gd name="connsiteX68" fmla="*/ 5244449 w 6512821"/>
                <a:gd name="connsiteY68" fmla="*/ 527148 h 1648590"/>
                <a:gd name="connsiteX69" fmla="*/ 3417407 w 6512821"/>
                <a:gd name="connsiteY69" fmla="*/ 667825 h 1648590"/>
                <a:gd name="connsiteX70" fmla="*/ 3297116 w 6512821"/>
                <a:gd name="connsiteY70" fmla="*/ 667825 h 1648590"/>
                <a:gd name="connsiteX71" fmla="*/ 3297116 w 6512821"/>
                <a:gd name="connsiteY71" fmla="*/ 405814 h 1648590"/>
                <a:gd name="connsiteX72" fmla="*/ 3215575 w 6512821"/>
                <a:gd name="connsiteY72" fmla="*/ 292621 h 1648590"/>
                <a:gd name="connsiteX73" fmla="*/ 3132993 w 6512821"/>
                <a:gd name="connsiteY73" fmla="*/ 402753 h 1648590"/>
                <a:gd name="connsiteX74" fmla="*/ 3132993 w 6512821"/>
                <a:gd name="connsiteY74" fmla="*/ 667825 h 1648590"/>
                <a:gd name="connsiteX75" fmla="*/ 3012701 w 6512821"/>
                <a:gd name="connsiteY75" fmla="*/ 667825 h 1648590"/>
                <a:gd name="connsiteX76" fmla="*/ 3012701 w 6512821"/>
                <a:gd name="connsiteY76" fmla="*/ 61221 h 1648590"/>
                <a:gd name="connsiteX77" fmla="*/ 3132993 w 6512821"/>
                <a:gd name="connsiteY77" fmla="*/ 65 h 1648590"/>
                <a:gd name="connsiteX78" fmla="*/ 3132993 w 6512821"/>
                <a:gd name="connsiteY78" fmla="*/ 220264 h 1648590"/>
                <a:gd name="connsiteX79" fmla="*/ 3246186 w 6512821"/>
                <a:gd name="connsiteY79" fmla="*/ 176432 h 1648590"/>
                <a:gd name="connsiteX80" fmla="*/ 3417473 w 6512821"/>
                <a:gd name="connsiteY80" fmla="*/ 396631 h 1648590"/>
                <a:gd name="connsiteX81" fmla="*/ 3417473 w 6512821"/>
                <a:gd name="connsiteY81" fmla="*/ 667825 h 1648590"/>
                <a:gd name="connsiteX82" fmla="*/ 5564554 w 6512821"/>
                <a:gd name="connsiteY82" fmla="*/ 1638365 h 1648590"/>
                <a:gd name="connsiteX83" fmla="*/ 5440160 w 6512821"/>
                <a:gd name="connsiteY83" fmla="*/ 1638365 h 1648590"/>
                <a:gd name="connsiteX84" fmla="*/ 5440160 w 6512821"/>
                <a:gd name="connsiteY84" fmla="*/ 1376355 h 1648590"/>
                <a:gd name="connsiteX85" fmla="*/ 5357577 w 6512821"/>
                <a:gd name="connsiteY85" fmla="*/ 1264204 h 1648590"/>
                <a:gd name="connsiteX86" fmla="*/ 5273952 w 6512821"/>
                <a:gd name="connsiteY86" fmla="*/ 1373293 h 1648590"/>
                <a:gd name="connsiteX87" fmla="*/ 5273952 w 6512821"/>
                <a:gd name="connsiteY87" fmla="*/ 1638365 h 1648590"/>
                <a:gd name="connsiteX88" fmla="*/ 5149558 w 6512821"/>
                <a:gd name="connsiteY88" fmla="*/ 1638365 h 1648590"/>
                <a:gd name="connsiteX89" fmla="*/ 5149558 w 6512821"/>
                <a:gd name="connsiteY89" fmla="*/ 1157133 h 1648590"/>
                <a:gd name="connsiteX90" fmla="*/ 5273952 w 6512821"/>
                <a:gd name="connsiteY90" fmla="*/ 1157133 h 1648590"/>
                <a:gd name="connsiteX91" fmla="*/ 5273952 w 6512821"/>
                <a:gd name="connsiteY91" fmla="*/ 1189762 h 1648590"/>
                <a:gd name="connsiteX92" fmla="*/ 5391183 w 6512821"/>
                <a:gd name="connsiteY92" fmla="*/ 1146973 h 1648590"/>
                <a:gd name="connsiteX93" fmla="*/ 5564490 w 6512821"/>
                <a:gd name="connsiteY93" fmla="*/ 1366195 h 1648590"/>
                <a:gd name="connsiteX94" fmla="*/ 5564490 w 6512821"/>
                <a:gd name="connsiteY94" fmla="*/ 1638430 h 1648590"/>
                <a:gd name="connsiteX95" fmla="*/ 4008772 w 6512821"/>
                <a:gd name="connsiteY95" fmla="*/ 1115386 h 1648590"/>
                <a:gd name="connsiteX96" fmla="*/ 4080152 w 6512821"/>
                <a:gd name="connsiteY96" fmla="*/ 1044005 h 1648590"/>
                <a:gd name="connsiteX97" fmla="*/ 4008772 w 6512821"/>
                <a:gd name="connsiteY97" fmla="*/ 972624 h 1648590"/>
                <a:gd name="connsiteX98" fmla="*/ 3937391 w 6512821"/>
                <a:gd name="connsiteY98" fmla="*/ 1044005 h 1648590"/>
                <a:gd name="connsiteX99" fmla="*/ 4008772 w 6512821"/>
                <a:gd name="connsiteY99" fmla="*/ 1115386 h 1648590"/>
                <a:gd name="connsiteX100" fmla="*/ 829864 w 6512821"/>
                <a:gd name="connsiteY100" fmla="*/ 1115386 h 1648590"/>
                <a:gd name="connsiteX101" fmla="*/ 901244 w 6512821"/>
                <a:gd name="connsiteY101" fmla="*/ 1044005 h 1648590"/>
                <a:gd name="connsiteX102" fmla="*/ 829864 w 6512821"/>
                <a:gd name="connsiteY102" fmla="*/ 972624 h 1648590"/>
                <a:gd name="connsiteX103" fmla="*/ 758483 w 6512821"/>
                <a:gd name="connsiteY103" fmla="*/ 1044005 h 1648590"/>
                <a:gd name="connsiteX104" fmla="*/ 829864 w 6512821"/>
                <a:gd name="connsiteY104" fmla="*/ 1115386 h 1648590"/>
                <a:gd name="connsiteX105" fmla="*/ 6512756 w 6512821"/>
                <a:gd name="connsiteY105" fmla="*/ 426134 h 1648590"/>
                <a:gd name="connsiteX106" fmla="*/ 6510737 w 6512821"/>
                <a:gd name="connsiteY106" fmla="*/ 467946 h 1648590"/>
                <a:gd name="connsiteX107" fmla="*/ 6219158 w 6512821"/>
                <a:gd name="connsiteY107" fmla="*/ 467946 h 1648590"/>
                <a:gd name="connsiteX108" fmla="*/ 6322126 w 6512821"/>
                <a:gd name="connsiteY108" fmla="*/ 562773 h 1648590"/>
                <a:gd name="connsiteX109" fmla="*/ 6405751 w 6512821"/>
                <a:gd name="connsiteY109" fmla="*/ 529102 h 1648590"/>
                <a:gd name="connsiteX110" fmla="*/ 6491394 w 6512821"/>
                <a:gd name="connsiteY110" fmla="*/ 601459 h 1648590"/>
                <a:gd name="connsiteX111" fmla="*/ 6317046 w 6512821"/>
                <a:gd name="connsiteY111" fmla="*/ 677919 h 1648590"/>
                <a:gd name="connsiteX112" fmla="*/ 6095805 w 6512821"/>
                <a:gd name="connsiteY112" fmla="*/ 428153 h 1648590"/>
                <a:gd name="connsiteX113" fmla="*/ 6308905 w 6512821"/>
                <a:gd name="connsiteY113" fmla="*/ 176302 h 1648590"/>
                <a:gd name="connsiteX114" fmla="*/ 6512821 w 6512821"/>
                <a:gd name="connsiteY114" fmla="*/ 426069 h 1648590"/>
                <a:gd name="connsiteX115" fmla="*/ 6221177 w 6512821"/>
                <a:gd name="connsiteY115" fmla="*/ 374162 h 1648590"/>
                <a:gd name="connsiteX116" fmla="*/ 6392465 w 6512821"/>
                <a:gd name="connsiteY116" fmla="*/ 374162 h 1648590"/>
                <a:gd name="connsiteX117" fmla="*/ 6304802 w 6512821"/>
                <a:gd name="connsiteY117" fmla="*/ 283438 h 1648590"/>
                <a:gd name="connsiteX118" fmla="*/ 6221177 w 6512821"/>
                <a:gd name="connsiteY118" fmla="*/ 374162 h 1648590"/>
                <a:gd name="connsiteX119" fmla="*/ 5702235 w 6512821"/>
                <a:gd name="connsiteY119" fmla="*/ 667825 h 1648590"/>
                <a:gd name="connsiteX120" fmla="*/ 5583963 w 6512821"/>
                <a:gd name="connsiteY120" fmla="*/ 667825 h 1648590"/>
                <a:gd name="connsiteX121" fmla="*/ 5583963 w 6512821"/>
                <a:gd name="connsiteY121" fmla="*/ 634153 h 1648590"/>
                <a:gd name="connsiteX122" fmla="*/ 5471812 w 6512821"/>
                <a:gd name="connsiteY122" fmla="*/ 677984 h 1648590"/>
                <a:gd name="connsiteX123" fmla="*/ 5300525 w 6512821"/>
                <a:gd name="connsiteY123" fmla="*/ 458763 h 1648590"/>
                <a:gd name="connsiteX124" fmla="*/ 5300525 w 6512821"/>
                <a:gd name="connsiteY124" fmla="*/ 186527 h 1648590"/>
                <a:gd name="connsiteX125" fmla="*/ 5420817 w 6512821"/>
                <a:gd name="connsiteY125" fmla="*/ 186527 h 1648590"/>
                <a:gd name="connsiteX126" fmla="*/ 5420817 w 6512821"/>
                <a:gd name="connsiteY126" fmla="*/ 448538 h 1648590"/>
                <a:gd name="connsiteX127" fmla="*/ 5501380 w 6512821"/>
                <a:gd name="connsiteY127" fmla="*/ 562708 h 1648590"/>
                <a:gd name="connsiteX128" fmla="*/ 5581944 w 6512821"/>
                <a:gd name="connsiteY128" fmla="*/ 452576 h 1648590"/>
                <a:gd name="connsiteX129" fmla="*/ 5581944 w 6512821"/>
                <a:gd name="connsiteY129" fmla="*/ 186462 h 1648590"/>
                <a:gd name="connsiteX130" fmla="*/ 5702235 w 6512821"/>
                <a:gd name="connsiteY130" fmla="*/ 186462 h 1648590"/>
                <a:gd name="connsiteX131" fmla="*/ 5702235 w 6512821"/>
                <a:gd name="connsiteY131" fmla="*/ 667695 h 1648590"/>
                <a:gd name="connsiteX132" fmla="*/ 3895579 w 6512821"/>
                <a:gd name="connsiteY132" fmla="*/ 426134 h 1648590"/>
                <a:gd name="connsiteX133" fmla="*/ 3893560 w 6512821"/>
                <a:gd name="connsiteY133" fmla="*/ 467946 h 1648590"/>
                <a:gd name="connsiteX134" fmla="*/ 3601981 w 6512821"/>
                <a:gd name="connsiteY134" fmla="*/ 467946 h 1648590"/>
                <a:gd name="connsiteX135" fmla="*/ 3704949 w 6512821"/>
                <a:gd name="connsiteY135" fmla="*/ 562773 h 1648590"/>
                <a:gd name="connsiteX136" fmla="*/ 3788573 w 6512821"/>
                <a:gd name="connsiteY136" fmla="*/ 529102 h 1648590"/>
                <a:gd name="connsiteX137" fmla="*/ 3874217 w 6512821"/>
                <a:gd name="connsiteY137" fmla="*/ 601459 h 1648590"/>
                <a:gd name="connsiteX138" fmla="*/ 3699868 w 6512821"/>
                <a:gd name="connsiteY138" fmla="*/ 677919 h 1648590"/>
                <a:gd name="connsiteX139" fmla="*/ 3478628 w 6512821"/>
                <a:gd name="connsiteY139" fmla="*/ 428153 h 1648590"/>
                <a:gd name="connsiteX140" fmla="*/ 3691727 w 6512821"/>
                <a:gd name="connsiteY140" fmla="*/ 176302 h 1648590"/>
                <a:gd name="connsiteX141" fmla="*/ 3895644 w 6512821"/>
                <a:gd name="connsiteY141" fmla="*/ 426069 h 1648590"/>
                <a:gd name="connsiteX142" fmla="*/ 3604000 w 6512821"/>
                <a:gd name="connsiteY142" fmla="*/ 374162 h 1648590"/>
                <a:gd name="connsiteX143" fmla="*/ 3775287 w 6512821"/>
                <a:gd name="connsiteY143" fmla="*/ 374162 h 1648590"/>
                <a:gd name="connsiteX144" fmla="*/ 3687624 w 6512821"/>
                <a:gd name="connsiteY144" fmla="*/ 283438 h 1648590"/>
                <a:gd name="connsiteX145" fmla="*/ 3604000 w 6512821"/>
                <a:gd name="connsiteY145" fmla="*/ 374162 h 1648590"/>
                <a:gd name="connsiteX146" fmla="*/ 4579686 w 6512821"/>
                <a:gd name="connsiteY146" fmla="*/ 1638365 h 1648590"/>
                <a:gd name="connsiteX147" fmla="*/ 4455291 w 6512821"/>
                <a:gd name="connsiteY147" fmla="*/ 1638365 h 1648590"/>
                <a:gd name="connsiteX148" fmla="*/ 4455291 w 6512821"/>
                <a:gd name="connsiteY148" fmla="*/ 1606778 h 1648590"/>
                <a:gd name="connsiteX149" fmla="*/ 4346201 w 6512821"/>
                <a:gd name="connsiteY149" fmla="*/ 1648590 h 1648590"/>
                <a:gd name="connsiteX150" fmla="*/ 4148406 w 6512821"/>
                <a:gd name="connsiteY150" fmla="*/ 1393678 h 1648590"/>
                <a:gd name="connsiteX151" fmla="*/ 4343140 w 6512821"/>
                <a:gd name="connsiteY151" fmla="*/ 1146973 h 1648590"/>
                <a:gd name="connsiteX152" fmla="*/ 4455291 w 6512821"/>
                <a:gd name="connsiteY152" fmla="*/ 1185724 h 1648590"/>
                <a:gd name="connsiteX153" fmla="*/ 4455291 w 6512821"/>
                <a:gd name="connsiteY153" fmla="*/ 1031761 h 1648590"/>
                <a:gd name="connsiteX154" fmla="*/ 4579686 w 6512821"/>
                <a:gd name="connsiteY154" fmla="*/ 969564 h 1648590"/>
                <a:gd name="connsiteX155" fmla="*/ 4579686 w 6512821"/>
                <a:gd name="connsiteY155" fmla="*/ 1638365 h 1648590"/>
                <a:gd name="connsiteX156" fmla="*/ 4455356 w 6512821"/>
                <a:gd name="connsiteY156" fmla="*/ 1489547 h 1648590"/>
                <a:gd name="connsiteX157" fmla="*/ 4455356 w 6512821"/>
                <a:gd name="connsiteY157" fmla="*/ 1306016 h 1648590"/>
                <a:gd name="connsiteX158" fmla="*/ 4368670 w 6512821"/>
                <a:gd name="connsiteY158" fmla="*/ 1264204 h 1648590"/>
                <a:gd name="connsiteX159" fmla="*/ 4278924 w 6512821"/>
                <a:gd name="connsiteY159" fmla="*/ 1389575 h 1648590"/>
                <a:gd name="connsiteX160" fmla="*/ 4371731 w 6512821"/>
                <a:gd name="connsiteY160" fmla="*/ 1531294 h 1648590"/>
                <a:gd name="connsiteX161" fmla="*/ 4455356 w 6512821"/>
                <a:gd name="connsiteY161" fmla="*/ 1489482 h 1648590"/>
                <a:gd name="connsiteX162" fmla="*/ 3945532 w 6512821"/>
                <a:gd name="connsiteY162" fmla="*/ 1157198 h 1648590"/>
                <a:gd name="connsiteX163" fmla="*/ 3945532 w 6512821"/>
                <a:gd name="connsiteY163" fmla="*/ 1638430 h 1648590"/>
                <a:gd name="connsiteX164" fmla="*/ 4069927 w 6512821"/>
                <a:gd name="connsiteY164" fmla="*/ 1638430 h 1648590"/>
                <a:gd name="connsiteX165" fmla="*/ 4069927 w 6512821"/>
                <a:gd name="connsiteY165" fmla="*/ 1157198 h 1648590"/>
                <a:gd name="connsiteX166" fmla="*/ 3945532 w 6512821"/>
                <a:gd name="connsiteY166" fmla="*/ 1157198 h 1648590"/>
                <a:gd name="connsiteX167" fmla="*/ 3873175 w 6512821"/>
                <a:gd name="connsiteY167" fmla="*/ 985911 h 1648590"/>
                <a:gd name="connsiteX168" fmla="*/ 3873175 w 6512821"/>
                <a:gd name="connsiteY168" fmla="*/ 1085817 h 1648590"/>
                <a:gd name="connsiteX169" fmla="*/ 3812019 w 6512821"/>
                <a:gd name="connsiteY169" fmla="*/ 1076634 h 1648590"/>
                <a:gd name="connsiteX170" fmla="*/ 3760047 w 6512821"/>
                <a:gd name="connsiteY170" fmla="*/ 1118447 h 1648590"/>
                <a:gd name="connsiteX171" fmla="*/ 3760047 w 6512821"/>
                <a:gd name="connsiteY171" fmla="*/ 1157198 h 1648590"/>
                <a:gd name="connsiteX172" fmla="*/ 3863015 w 6512821"/>
                <a:gd name="connsiteY172" fmla="*/ 1157198 h 1648590"/>
                <a:gd name="connsiteX173" fmla="*/ 3863015 w 6512821"/>
                <a:gd name="connsiteY173" fmla="*/ 1273452 h 1648590"/>
                <a:gd name="connsiteX174" fmla="*/ 3760047 w 6512821"/>
                <a:gd name="connsiteY174" fmla="*/ 1273452 h 1648590"/>
                <a:gd name="connsiteX175" fmla="*/ 3760047 w 6512821"/>
                <a:gd name="connsiteY175" fmla="*/ 1638430 h 1648590"/>
                <a:gd name="connsiteX176" fmla="*/ 3635652 w 6512821"/>
                <a:gd name="connsiteY176" fmla="*/ 1638430 h 1648590"/>
                <a:gd name="connsiteX177" fmla="*/ 3635652 w 6512821"/>
                <a:gd name="connsiteY177" fmla="*/ 1273452 h 1648590"/>
                <a:gd name="connsiteX178" fmla="*/ 3568375 w 6512821"/>
                <a:gd name="connsiteY178" fmla="*/ 1273452 h 1648590"/>
                <a:gd name="connsiteX179" fmla="*/ 3568375 w 6512821"/>
                <a:gd name="connsiteY179" fmla="*/ 1157198 h 1648590"/>
                <a:gd name="connsiteX180" fmla="*/ 3635652 w 6512821"/>
                <a:gd name="connsiteY180" fmla="*/ 1157198 h 1648590"/>
                <a:gd name="connsiteX181" fmla="*/ 3635652 w 6512821"/>
                <a:gd name="connsiteY181" fmla="*/ 1099104 h 1648590"/>
                <a:gd name="connsiteX182" fmla="*/ 3782451 w 6512821"/>
                <a:gd name="connsiteY182" fmla="*/ 972690 h 1648590"/>
                <a:gd name="connsiteX183" fmla="*/ 3873175 w 6512821"/>
                <a:gd name="connsiteY183" fmla="*/ 985976 h 1648590"/>
                <a:gd name="connsiteX184" fmla="*/ 3507154 w 6512821"/>
                <a:gd name="connsiteY184" fmla="*/ 1638365 h 1648590"/>
                <a:gd name="connsiteX185" fmla="*/ 3382759 w 6512821"/>
                <a:gd name="connsiteY185" fmla="*/ 1638365 h 1648590"/>
                <a:gd name="connsiteX186" fmla="*/ 3382759 w 6512821"/>
                <a:gd name="connsiteY186" fmla="*/ 1376355 h 1648590"/>
                <a:gd name="connsiteX187" fmla="*/ 3300177 w 6512821"/>
                <a:gd name="connsiteY187" fmla="*/ 1264204 h 1648590"/>
                <a:gd name="connsiteX188" fmla="*/ 3216552 w 6512821"/>
                <a:gd name="connsiteY188" fmla="*/ 1373293 h 1648590"/>
                <a:gd name="connsiteX189" fmla="*/ 3216552 w 6512821"/>
                <a:gd name="connsiteY189" fmla="*/ 1638365 h 1648590"/>
                <a:gd name="connsiteX190" fmla="*/ 3092157 w 6512821"/>
                <a:gd name="connsiteY190" fmla="*/ 1638365 h 1648590"/>
                <a:gd name="connsiteX191" fmla="*/ 3092157 w 6512821"/>
                <a:gd name="connsiteY191" fmla="*/ 1157133 h 1648590"/>
                <a:gd name="connsiteX192" fmla="*/ 3216552 w 6512821"/>
                <a:gd name="connsiteY192" fmla="*/ 1157133 h 1648590"/>
                <a:gd name="connsiteX193" fmla="*/ 3216552 w 6512821"/>
                <a:gd name="connsiteY193" fmla="*/ 1189762 h 1648590"/>
                <a:gd name="connsiteX194" fmla="*/ 3333783 w 6512821"/>
                <a:gd name="connsiteY194" fmla="*/ 1146973 h 1648590"/>
                <a:gd name="connsiteX195" fmla="*/ 3507089 w 6512821"/>
                <a:gd name="connsiteY195" fmla="*/ 1366195 h 1648590"/>
                <a:gd name="connsiteX196" fmla="*/ 3507089 w 6512821"/>
                <a:gd name="connsiteY196" fmla="*/ 1638430 h 1648590"/>
                <a:gd name="connsiteX197" fmla="*/ 2792437 w 6512821"/>
                <a:gd name="connsiteY197" fmla="*/ 1146973 h 1648590"/>
                <a:gd name="connsiteX198" fmla="*/ 2567094 w 6512821"/>
                <a:gd name="connsiteY198" fmla="*/ 1397782 h 1648590"/>
                <a:gd name="connsiteX199" fmla="*/ 2792437 w 6512821"/>
                <a:gd name="connsiteY199" fmla="*/ 1648590 h 1648590"/>
                <a:gd name="connsiteX200" fmla="*/ 3017781 w 6512821"/>
                <a:gd name="connsiteY200" fmla="*/ 1397782 h 1648590"/>
                <a:gd name="connsiteX201" fmla="*/ 2792437 w 6512821"/>
                <a:gd name="connsiteY201" fmla="*/ 1146973 h 1648590"/>
                <a:gd name="connsiteX202" fmla="*/ 2792437 w 6512821"/>
                <a:gd name="connsiteY202" fmla="*/ 1528299 h 1648590"/>
                <a:gd name="connsiteX203" fmla="*/ 2695592 w 6512821"/>
                <a:gd name="connsiteY203" fmla="*/ 1397782 h 1648590"/>
                <a:gd name="connsiteX204" fmla="*/ 2792437 w 6512821"/>
                <a:gd name="connsiteY204" fmla="*/ 1266288 h 1648590"/>
                <a:gd name="connsiteX205" fmla="*/ 2889283 w 6512821"/>
                <a:gd name="connsiteY205" fmla="*/ 1397782 h 1648590"/>
                <a:gd name="connsiteX206" fmla="*/ 2792437 w 6512821"/>
                <a:gd name="connsiteY206" fmla="*/ 1528299 h 1648590"/>
                <a:gd name="connsiteX207" fmla="*/ 2446802 w 6512821"/>
                <a:gd name="connsiteY207" fmla="*/ 1467143 h 1648590"/>
                <a:gd name="connsiteX208" fmla="*/ 2526323 w 6512821"/>
                <a:gd name="connsiteY208" fmla="*/ 1542561 h 1648590"/>
                <a:gd name="connsiteX209" fmla="*/ 2334651 w 6512821"/>
                <a:gd name="connsiteY209" fmla="*/ 1648590 h 1648590"/>
                <a:gd name="connsiteX210" fmla="*/ 2106246 w 6512821"/>
                <a:gd name="connsiteY210" fmla="*/ 1398823 h 1648590"/>
                <a:gd name="connsiteX211" fmla="*/ 2336670 w 6512821"/>
                <a:gd name="connsiteY211" fmla="*/ 1146973 h 1648590"/>
                <a:gd name="connsiteX212" fmla="*/ 2525281 w 6512821"/>
                <a:gd name="connsiteY212" fmla="*/ 1250983 h 1648590"/>
                <a:gd name="connsiteX213" fmla="*/ 2443741 w 6512821"/>
                <a:gd name="connsiteY213" fmla="*/ 1333565 h 1648590"/>
                <a:gd name="connsiteX214" fmla="*/ 2335693 w 6512821"/>
                <a:gd name="connsiteY214" fmla="*/ 1266288 h 1648590"/>
                <a:gd name="connsiteX215" fmla="*/ 2234744 w 6512821"/>
                <a:gd name="connsiteY215" fmla="*/ 1396804 h 1648590"/>
                <a:gd name="connsiteX216" fmla="*/ 2336670 w 6512821"/>
                <a:gd name="connsiteY216" fmla="*/ 1528299 h 1648590"/>
                <a:gd name="connsiteX217" fmla="*/ 2446802 w 6512821"/>
                <a:gd name="connsiteY217" fmla="*/ 1467143 h 1648590"/>
                <a:gd name="connsiteX218" fmla="*/ 1803530 w 6512821"/>
                <a:gd name="connsiteY218" fmla="*/ 1638365 h 1648590"/>
                <a:gd name="connsiteX219" fmla="*/ 1679135 w 6512821"/>
                <a:gd name="connsiteY219" fmla="*/ 1638365 h 1648590"/>
                <a:gd name="connsiteX220" fmla="*/ 1679135 w 6512821"/>
                <a:gd name="connsiteY220" fmla="*/ 1376355 h 1648590"/>
                <a:gd name="connsiteX221" fmla="*/ 1596553 w 6512821"/>
                <a:gd name="connsiteY221" fmla="*/ 1264204 h 1648590"/>
                <a:gd name="connsiteX222" fmla="*/ 1511951 w 6512821"/>
                <a:gd name="connsiteY222" fmla="*/ 1373293 h 1648590"/>
                <a:gd name="connsiteX223" fmla="*/ 1511951 w 6512821"/>
                <a:gd name="connsiteY223" fmla="*/ 1638365 h 1648590"/>
                <a:gd name="connsiteX224" fmla="*/ 1387557 w 6512821"/>
                <a:gd name="connsiteY224" fmla="*/ 1638365 h 1648590"/>
                <a:gd name="connsiteX225" fmla="*/ 1387557 w 6512821"/>
                <a:gd name="connsiteY225" fmla="*/ 1031761 h 1648590"/>
                <a:gd name="connsiteX226" fmla="*/ 1511951 w 6512821"/>
                <a:gd name="connsiteY226" fmla="*/ 969564 h 1648590"/>
                <a:gd name="connsiteX227" fmla="*/ 1511951 w 6512821"/>
                <a:gd name="connsiteY227" fmla="*/ 1189762 h 1648590"/>
                <a:gd name="connsiteX228" fmla="*/ 1632243 w 6512821"/>
                <a:gd name="connsiteY228" fmla="*/ 1146973 h 1648590"/>
                <a:gd name="connsiteX229" fmla="*/ 1803530 w 6512821"/>
                <a:gd name="connsiteY229" fmla="*/ 1366195 h 1648590"/>
                <a:gd name="connsiteX230" fmla="*/ 1803530 w 6512821"/>
                <a:gd name="connsiteY230" fmla="*/ 1638430 h 1648590"/>
                <a:gd name="connsiteX231" fmla="*/ 1311031 w 6512821"/>
                <a:gd name="connsiteY231" fmla="*/ 1493650 h 1648590"/>
                <a:gd name="connsiteX232" fmla="*/ 1292665 w 6512821"/>
                <a:gd name="connsiteY232" fmla="*/ 1619022 h 1648590"/>
                <a:gd name="connsiteX233" fmla="*/ 1173350 w 6512821"/>
                <a:gd name="connsiteY233" fmla="*/ 1648590 h 1648590"/>
                <a:gd name="connsiteX234" fmla="*/ 1043875 w 6512821"/>
                <a:gd name="connsiteY234" fmla="*/ 1504852 h 1648590"/>
                <a:gd name="connsiteX235" fmla="*/ 1043875 w 6512821"/>
                <a:gd name="connsiteY235" fmla="*/ 1273387 h 1648590"/>
                <a:gd name="connsiteX236" fmla="*/ 960250 w 6512821"/>
                <a:gd name="connsiteY236" fmla="*/ 1273387 h 1648590"/>
                <a:gd name="connsiteX237" fmla="*/ 960250 w 6512821"/>
                <a:gd name="connsiteY237" fmla="*/ 1157133 h 1648590"/>
                <a:gd name="connsiteX238" fmla="*/ 1043875 w 6512821"/>
                <a:gd name="connsiteY238" fmla="*/ 1157133 h 1648590"/>
                <a:gd name="connsiteX239" fmla="*/ 1043875 w 6512821"/>
                <a:gd name="connsiteY239" fmla="*/ 1031761 h 1648590"/>
                <a:gd name="connsiteX240" fmla="*/ 1168270 w 6512821"/>
                <a:gd name="connsiteY240" fmla="*/ 969564 h 1648590"/>
                <a:gd name="connsiteX241" fmla="*/ 1168270 w 6512821"/>
                <a:gd name="connsiteY241" fmla="*/ 1157133 h 1648590"/>
                <a:gd name="connsiteX242" fmla="*/ 1308947 w 6512821"/>
                <a:gd name="connsiteY242" fmla="*/ 1157133 h 1648590"/>
                <a:gd name="connsiteX243" fmla="*/ 1308947 w 6512821"/>
                <a:gd name="connsiteY243" fmla="*/ 1273387 h 1648590"/>
                <a:gd name="connsiteX244" fmla="*/ 1168270 w 6512821"/>
                <a:gd name="connsiteY244" fmla="*/ 1273387 h 1648590"/>
                <a:gd name="connsiteX245" fmla="*/ 1168270 w 6512821"/>
                <a:gd name="connsiteY245" fmla="*/ 1471181 h 1648590"/>
                <a:gd name="connsiteX246" fmla="*/ 1214120 w 6512821"/>
                <a:gd name="connsiteY246" fmla="*/ 1529275 h 1648590"/>
                <a:gd name="connsiteX247" fmla="*/ 1310966 w 6512821"/>
                <a:gd name="connsiteY247" fmla="*/ 1493585 h 1648590"/>
                <a:gd name="connsiteX248" fmla="*/ 767666 w 6512821"/>
                <a:gd name="connsiteY248" fmla="*/ 1157198 h 1648590"/>
                <a:gd name="connsiteX249" fmla="*/ 767666 w 6512821"/>
                <a:gd name="connsiteY249" fmla="*/ 1638430 h 1648590"/>
                <a:gd name="connsiteX250" fmla="*/ 892061 w 6512821"/>
                <a:gd name="connsiteY250" fmla="*/ 1638430 h 1648590"/>
                <a:gd name="connsiteX251" fmla="*/ 892061 w 6512821"/>
                <a:gd name="connsiteY251" fmla="*/ 1157198 h 1648590"/>
                <a:gd name="connsiteX252" fmla="*/ 767666 w 6512821"/>
                <a:gd name="connsiteY252" fmla="*/ 1157198 h 1648590"/>
                <a:gd name="connsiteX253" fmla="*/ 702408 w 6512821"/>
                <a:gd name="connsiteY253" fmla="*/ 1157198 h 1648590"/>
                <a:gd name="connsiteX254" fmla="*/ 550529 w 6512821"/>
                <a:gd name="connsiteY254" fmla="*/ 1638430 h 1648590"/>
                <a:gd name="connsiteX255" fmla="*/ 436359 w 6512821"/>
                <a:gd name="connsiteY255" fmla="*/ 1638430 h 1648590"/>
                <a:gd name="connsiteX256" fmla="*/ 354819 w 6512821"/>
                <a:gd name="connsiteY256" fmla="*/ 1345809 h 1648590"/>
                <a:gd name="connsiteX257" fmla="*/ 272236 w 6512821"/>
                <a:gd name="connsiteY257" fmla="*/ 1638430 h 1648590"/>
                <a:gd name="connsiteX258" fmla="*/ 158066 w 6512821"/>
                <a:gd name="connsiteY258" fmla="*/ 1638430 h 1648590"/>
                <a:gd name="connsiteX259" fmla="*/ 7099 w 6512821"/>
                <a:gd name="connsiteY259" fmla="*/ 1157198 h 1648590"/>
                <a:gd name="connsiteX260" fmla="*/ 145757 w 6512821"/>
                <a:gd name="connsiteY260" fmla="*/ 1157198 h 1648590"/>
                <a:gd name="connsiteX261" fmla="*/ 218114 w 6512821"/>
                <a:gd name="connsiteY261" fmla="*/ 1436533 h 1648590"/>
                <a:gd name="connsiteX262" fmla="*/ 299655 w 6512821"/>
                <a:gd name="connsiteY262" fmla="*/ 1157198 h 1648590"/>
                <a:gd name="connsiteX263" fmla="*/ 412848 w 6512821"/>
                <a:gd name="connsiteY263" fmla="*/ 1157198 h 1648590"/>
                <a:gd name="connsiteX264" fmla="*/ 494388 w 6512821"/>
                <a:gd name="connsiteY264" fmla="*/ 1436533 h 1648590"/>
                <a:gd name="connsiteX265" fmla="*/ 567788 w 6512821"/>
                <a:gd name="connsiteY265" fmla="*/ 1157198 h 1648590"/>
                <a:gd name="connsiteX266" fmla="*/ 702343 w 6512821"/>
                <a:gd name="connsiteY266" fmla="*/ 1157198 h 1648590"/>
                <a:gd name="connsiteX267" fmla="*/ 4436990 w 6512821"/>
                <a:gd name="connsiteY267" fmla="*/ 16282 h 1648590"/>
                <a:gd name="connsiteX268" fmla="*/ 4436990 w 6512821"/>
                <a:gd name="connsiteY268" fmla="*/ 115147 h 1648590"/>
                <a:gd name="connsiteX269" fmla="*/ 4374792 w 6512821"/>
                <a:gd name="connsiteY269" fmla="*/ 104921 h 1648590"/>
                <a:gd name="connsiteX270" fmla="*/ 4322820 w 6512821"/>
                <a:gd name="connsiteY270" fmla="*/ 144715 h 1648590"/>
                <a:gd name="connsiteX271" fmla="*/ 4322820 w 6512821"/>
                <a:gd name="connsiteY271" fmla="*/ 186527 h 1648590"/>
                <a:gd name="connsiteX272" fmla="*/ 4404361 w 6512821"/>
                <a:gd name="connsiteY272" fmla="*/ 186527 h 1648590"/>
                <a:gd name="connsiteX273" fmla="*/ 4404361 w 6512821"/>
                <a:gd name="connsiteY273" fmla="*/ 302781 h 1648590"/>
                <a:gd name="connsiteX274" fmla="*/ 4322820 w 6512821"/>
                <a:gd name="connsiteY274" fmla="*/ 302781 h 1648590"/>
                <a:gd name="connsiteX275" fmla="*/ 4322820 w 6512821"/>
                <a:gd name="connsiteY275" fmla="*/ 667759 h 1648590"/>
                <a:gd name="connsiteX276" fmla="*/ 4202528 w 6512821"/>
                <a:gd name="connsiteY276" fmla="*/ 667759 h 1648590"/>
                <a:gd name="connsiteX277" fmla="*/ 4202528 w 6512821"/>
                <a:gd name="connsiteY277" fmla="*/ 302781 h 1648590"/>
                <a:gd name="connsiteX278" fmla="*/ 4143392 w 6512821"/>
                <a:gd name="connsiteY278" fmla="*/ 302781 h 1648590"/>
                <a:gd name="connsiteX279" fmla="*/ 4143392 w 6512821"/>
                <a:gd name="connsiteY279" fmla="*/ 186527 h 1648590"/>
                <a:gd name="connsiteX280" fmla="*/ 4202528 w 6512821"/>
                <a:gd name="connsiteY280" fmla="*/ 186527 h 1648590"/>
                <a:gd name="connsiteX281" fmla="*/ 4202528 w 6512821"/>
                <a:gd name="connsiteY281" fmla="*/ 128433 h 1648590"/>
                <a:gd name="connsiteX282" fmla="*/ 4348350 w 6512821"/>
                <a:gd name="connsiteY282" fmla="*/ 2019 h 1648590"/>
                <a:gd name="connsiteX283" fmla="*/ 4437055 w 6512821"/>
                <a:gd name="connsiteY283" fmla="*/ 16282 h 1648590"/>
                <a:gd name="connsiteX284" fmla="*/ 2957602 w 6512821"/>
                <a:gd name="connsiteY284" fmla="*/ 527083 h 1648590"/>
                <a:gd name="connsiteX285" fmla="*/ 2940278 w 6512821"/>
                <a:gd name="connsiteY285" fmla="*/ 649458 h 1648590"/>
                <a:gd name="connsiteX286" fmla="*/ 2843433 w 6512821"/>
                <a:gd name="connsiteY286" fmla="*/ 677984 h 1648590"/>
                <a:gd name="connsiteX287" fmla="*/ 2712916 w 6512821"/>
                <a:gd name="connsiteY287" fmla="*/ 535224 h 1648590"/>
                <a:gd name="connsiteX288" fmla="*/ 2712916 w 6512821"/>
                <a:gd name="connsiteY288" fmla="*/ 301739 h 1648590"/>
                <a:gd name="connsiteX289" fmla="*/ 2629291 w 6512821"/>
                <a:gd name="connsiteY289" fmla="*/ 301739 h 1648590"/>
                <a:gd name="connsiteX290" fmla="*/ 2629291 w 6512821"/>
                <a:gd name="connsiteY290" fmla="*/ 186527 h 1648590"/>
                <a:gd name="connsiteX291" fmla="*/ 2712916 w 6512821"/>
                <a:gd name="connsiteY291" fmla="*/ 186527 h 1648590"/>
                <a:gd name="connsiteX292" fmla="*/ 2712916 w 6512821"/>
                <a:gd name="connsiteY292" fmla="*/ 61155 h 1648590"/>
                <a:gd name="connsiteX293" fmla="*/ 2833208 w 6512821"/>
                <a:gd name="connsiteY293" fmla="*/ 0 h 1648590"/>
                <a:gd name="connsiteX294" fmla="*/ 2833208 w 6512821"/>
                <a:gd name="connsiteY294" fmla="*/ 186592 h 1648590"/>
                <a:gd name="connsiteX295" fmla="*/ 2945358 w 6512821"/>
                <a:gd name="connsiteY295" fmla="*/ 186592 h 1648590"/>
                <a:gd name="connsiteX296" fmla="*/ 2945358 w 6512821"/>
                <a:gd name="connsiteY296" fmla="*/ 301804 h 1648590"/>
                <a:gd name="connsiteX297" fmla="*/ 2833208 w 6512821"/>
                <a:gd name="connsiteY297" fmla="*/ 301804 h 1648590"/>
                <a:gd name="connsiteX298" fmla="*/ 2833208 w 6512821"/>
                <a:gd name="connsiteY298" fmla="*/ 503701 h 1648590"/>
                <a:gd name="connsiteX299" fmla="*/ 2880100 w 6512821"/>
                <a:gd name="connsiteY299" fmla="*/ 560819 h 1648590"/>
                <a:gd name="connsiteX300" fmla="*/ 2957602 w 6512821"/>
                <a:gd name="connsiteY300" fmla="*/ 527148 h 1648590"/>
                <a:gd name="connsiteX301" fmla="*/ 2397891 w 6512821"/>
                <a:gd name="connsiteY301" fmla="*/ 426134 h 1648590"/>
                <a:gd name="connsiteX302" fmla="*/ 2395872 w 6512821"/>
                <a:gd name="connsiteY302" fmla="*/ 467946 h 1648590"/>
                <a:gd name="connsiteX303" fmla="*/ 2114453 w 6512821"/>
                <a:gd name="connsiteY303" fmla="*/ 467946 h 1648590"/>
                <a:gd name="connsiteX304" fmla="*/ 2218462 w 6512821"/>
                <a:gd name="connsiteY304" fmla="*/ 562773 h 1648590"/>
                <a:gd name="connsiteX305" fmla="*/ 2301045 w 6512821"/>
                <a:gd name="connsiteY305" fmla="*/ 529102 h 1648590"/>
                <a:gd name="connsiteX306" fmla="*/ 2386689 w 6512821"/>
                <a:gd name="connsiteY306" fmla="*/ 601459 h 1648590"/>
                <a:gd name="connsiteX307" fmla="*/ 2210321 w 6512821"/>
                <a:gd name="connsiteY307" fmla="*/ 677919 h 1648590"/>
                <a:gd name="connsiteX308" fmla="*/ 1991100 w 6512821"/>
                <a:gd name="connsiteY308" fmla="*/ 429130 h 1648590"/>
                <a:gd name="connsiteX309" fmla="*/ 2205176 w 6512821"/>
                <a:gd name="connsiteY309" fmla="*/ 176302 h 1648590"/>
                <a:gd name="connsiteX310" fmla="*/ 2397891 w 6512821"/>
                <a:gd name="connsiteY310" fmla="*/ 426069 h 1648590"/>
                <a:gd name="connsiteX311" fmla="*/ 2116472 w 6512821"/>
                <a:gd name="connsiteY311" fmla="*/ 374162 h 1648590"/>
                <a:gd name="connsiteX312" fmla="*/ 2287759 w 6512821"/>
                <a:gd name="connsiteY312" fmla="*/ 374162 h 1648590"/>
                <a:gd name="connsiteX313" fmla="*/ 2199054 w 6512821"/>
                <a:gd name="connsiteY313" fmla="*/ 283438 h 1648590"/>
                <a:gd name="connsiteX314" fmla="*/ 2116472 w 6512821"/>
                <a:gd name="connsiteY314" fmla="*/ 374162 h 1648590"/>
                <a:gd name="connsiteX315" fmla="*/ 1933982 w 6512821"/>
                <a:gd name="connsiteY315" fmla="*/ 428218 h 1648590"/>
                <a:gd name="connsiteX316" fmla="*/ 1746413 w 6512821"/>
                <a:gd name="connsiteY316" fmla="*/ 677984 h 1648590"/>
                <a:gd name="connsiteX317" fmla="*/ 1639342 w 6512821"/>
                <a:gd name="connsiteY317" fmla="*/ 638191 h 1648590"/>
                <a:gd name="connsiteX318" fmla="*/ 1639342 w 6512821"/>
                <a:gd name="connsiteY318" fmla="*/ 784990 h 1648590"/>
                <a:gd name="connsiteX319" fmla="*/ 1519050 w 6512821"/>
                <a:gd name="connsiteY319" fmla="*/ 845169 h 1648590"/>
                <a:gd name="connsiteX320" fmla="*/ 1519050 w 6512821"/>
                <a:gd name="connsiteY320" fmla="*/ 186527 h 1648590"/>
                <a:gd name="connsiteX321" fmla="*/ 1639342 w 6512821"/>
                <a:gd name="connsiteY321" fmla="*/ 186527 h 1648590"/>
                <a:gd name="connsiteX322" fmla="*/ 1639342 w 6512821"/>
                <a:gd name="connsiteY322" fmla="*/ 219157 h 1648590"/>
                <a:gd name="connsiteX323" fmla="*/ 1748432 w 6512821"/>
                <a:gd name="connsiteY323" fmla="*/ 176367 h 1648590"/>
                <a:gd name="connsiteX324" fmla="*/ 1933982 w 6512821"/>
                <a:gd name="connsiteY324" fmla="*/ 428218 h 1648590"/>
                <a:gd name="connsiteX325" fmla="*/ 1809587 w 6512821"/>
                <a:gd name="connsiteY325" fmla="*/ 434340 h 1648590"/>
                <a:gd name="connsiteX326" fmla="*/ 1718864 w 6512821"/>
                <a:gd name="connsiteY326" fmla="*/ 292621 h 1648590"/>
                <a:gd name="connsiteX327" fmla="*/ 1639342 w 6512821"/>
                <a:gd name="connsiteY327" fmla="*/ 335410 h 1648590"/>
                <a:gd name="connsiteX328" fmla="*/ 1639342 w 6512821"/>
                <a:gd name="connsiteY328" fmla="*/ 518942 h 1648590"/>
                <a:gd name="connsiteX329" fmla="*/ 1726028 w 6512821"/>
                <a:gd name="connsiteY329" fmla="*/ 562773 h 1648590"/>
                <a:gd name="connsiteX330" fmla="*/ 1809652 w 6512821"/>
                <a:gd name="connsiteY330" fmla="*/ 434340 h 1648590"/>
                <a:gd name="connsiteX331" fmla="*/ 1435426 w 6512821"/>
                <a:gd name="connsiteY331" fmla="*/ 667825 h 1648590"/>
                <a:gd name="connsiteX332" fmla="*/ 1315134 w 6512821"/>
                <a:gd name="connsiteY332" fmla="*/ 667825 h 1648590"/>
                <a:gd name="connsiteX333" fmla="*/ 1315134 w 6512821"/>
                <a:gd name="connsiteY333" fmla="*/ 634153 h 1648590"/>
                <a:gd name="connsiteX334" fmla="*/ 1202983 w 6512821"/>
                <a:gd name="connsiteY334" fmla="*/ 677984 h 1648590"/>
                <a:gd name="connsiteX335" fmla="*/ 1033715 w 6512821"/>
                <a:gd name="connsiteY335" fmla="*/ 510800 h 1648590"/>
                <a:gd name="connsiteX336" fmla="*/ 1221284 w 6512821"/>
                <a:gd name="connsiteY336" fmla="*/ 348696 h 1648590"/>
                <a:gd name="connsiteX337" fmla="*/ 1315069 w 6512821"/>
                <a:gd name="connsiteY337" fmla="*/ 368040 h 1648590"/>
                <a:gd name="connsiteX338" fmla="*/ 1315069 w 6512821"/>
                <a:gd name="connsiteY338" fmla="*/ 342574 h 1648590"/>
                <a:gd name="connsiteX339" fmla="*/ 1232486 w 6512821"/>
                <a:gd name="connsiteY339" fmla="*/ 279335 h 1648590"/>
                <a:gd name="connsiteX340" fmla="*/ 1121378 w 6512821"/>
                <a:gd name="connsiteY340" fmla="*/ 310922 h 1648590"/>
                <a:gd name="connsiteX341" fmla="*/ 1073443 w 6512821"/>
                <a:gd name="connsiteY341" fmla="*/ 225278 h 1648590"/>
                <a:gd name="connsiteX342" fmla="*/ 1239650 w 6512821"/>
                <a:gd name="connsiteY342" fmla="*/ 176367 h 1648590"/>
                <a:gd name="connsiteX343" fmla="*/ 1435426 w 6512821"/>
                <a:gd name="connsiteY343" fmla="*/ 344593 h 1648590"/>
                <a:gd name="connsiteX344" fmla="*/ 1435426 w 6512821"/>
                <a:gd name="connsiteY344" fmla="*/ 667759 h 1648590"/>
                <a:gd name="connsiteX345" fmla="*/ 1315134 w 6512821"/>
                <a:gd name="connsiteY345" fmla="*/ 527083 h 1648590"/>
                <a:gd name="connsiteX346" fmla="*/ 1315134 w 6512821"/>
                <a:gd name="connsiteY346" fmla="*/ 465927 h 1648590"/>
                <a:gd name="connsiteX347" fmla="*/ 1234570 w 6512821"/>
                <a:gd name="connsiteY347" fmla="*/ 445542 h 1648590"/>
                <a:gd name="connsiteX348" fmla="*/ 1156091 w 6512821"/>
                <a:gd name="connsiteY348" fmla="*/ 507740 h 1648590"/>
                <a:gd name="connsiteX349" fmla="*/ 1224410 w 6512821"/>
                <a:gd name="connsiteY349" fmla="*/ 574040 h 1648590"/>
                <a:gd name="connsiteX350" fmla="*/ 1315134 w 6512821"/>
                <a:gd name="connsiteY350" fmla="*/ 527148 h 1648590"/>
                <a:gd name="connsiteX351" fmla="*/ 967480 w 6512821"/>
                <a:gd name="connsiteY351" fmla="*/ 667825 h 1648590"/>
                <a:gd name="connsiteX352" fmla="*/ 847188 w 6512821"/>
                <a:gd name="connsiteY352" fmla="*/ 667825 h 1648590"/>
                <a:gd name="connsiteX353" fmla="*/ 847188 w 6512821"/>
                <a:gd name="connsiteY353" fmla="*/ 405814 h 1648590"/>
                <a:gd name="connsiteX354" fmla="*/ 765647 w 6512821"/>
                <a:gd name="connsiteY354" fmla="*/ 292621 h 1648590"/>
                <a:gd name="connsiteX355" fmla="*/ 683065 w 6512821"/>
                <a:gd name="connsiteY355" fmla="*/ 402753 h 1648590"/>
                <a:gd name="connsiteX356" fmla="*/ 683065 w 6512821"/>
                <a:gd name="connsiteY356" fmla="*/ 667825 h 1648590"/>
                <a:gd name="connsiteX357" fmla="*/ 562773 w 6512821"/>
                <a:gd name="connsiteY357" fmla="*/ 667825 h 1648590"/>
                <a:gd name="connsiteX358" fmla="*/ 562773 w 6512821"/>
                <a:gd name="connsiteY358" fmla="*/ 61221 h 1648590"/>
                <a:gd name="connsiteX359" fmla="*/ 683065 w 6512821"/>
                <a:gd name="connsiteY359" fmla="*/ 65 h 1648590"/>
                <a:gd name="connsiteX360" fmla="*/ 683065 w 6512821"/>
                <a:gd name="connsiteY360" fmla="*/ 220264 h 1648590"/>
                <a:gd name="connsiteX361" fmla="*/ 796258 w 6512821"/>
                <a:gd name="connsiteY361" fmla="*/ 176432 h 1648590"/>
                <a:gd name="connsiteX362" fmla="*/ 967545 w 6512821"/>
                <a:gd name="connsiteY362" fmla="*/ 396631 h 1648590"/>
                <a:gd name="connsiteX363" fmla="*/ 967545 w 6512821"/>
                <a:gd name="connsiteY363" fmla="*/ 667825 h 1648590"/>
                <a:gd name="connsiteX364" fmla="*/ 496472 w 6512821"/>
                <a:gd name="connsiteY364" fmla="*/ 475110 h 1648590"/>
                <a:gd name="connsiteX365" fmla="*/ 255889 w 6512821"/>
                <a:gd name="connsiteY365" fmla="*/ 677984 h 1648590"/>
                <a:gd name="connsiteX366" fmla="*/ 0 w 6512821"/>
                <a:gd name="connsiteY366" fmla="*/ 562773 h 1648590"/>
                <a:gd name="connsiteX367" fmla="*/ 89747 w 6512821"/>
                <a:gd name="connsiteY367" fmla="*/ 483251 h 1648590"/>
                <a:gd name="connsiteX368" fmla="*/ 252893 w 6512821"/>
                <a:gd name="connsiteY368" fmla="*/ 556651 h 1648590"/>
                <a:gd name="connsiteX369" fmla="*/ 367063 w 6512821"/>
                <a:gd name="connsiteY369" fmla="*/ 478171 h 1648590"/>
                <a:gd name="connsiteX370" fmla="*/ 329353 w 6512821"/>
                <a:gd name="connsiteY370" fmla="*/ 426199 h 1648590"/>
                <a:gd name="connsiteX371" fmla="*/ 225344 w 6512821"/>
                <a:gd name="connsiteY371" fmla="*/ 394612 h 1648590"/>
                <a:gd name="connsiteX372" fmla="*/ 79522 w 6512821"/>
                <a:gd name="connsiteY372" fmla="*/ 335475 h 1648590"/>
                <a:gd name="connsiteX373" fmla="*/ 24488 w 6512821"/>
                <a:gd name="connsiteY373" fmla="*/ 207042 h 1648590"/>
                <a:gd name="connsiteX374" fmla="*/ 254912 w 6512821"/>
                <a:gd name="connsiteY374" fmla="*/ 16412 h 1648590"/>
                <a:gd name="connsiteX375" fmla="*/ 482274 w 6512821"/>
                <a:gd name="connsiteY375" fmla="*/ 115277 h 1648590"/>
                <a:gd name="connsiteX376" fmla="*/ 392528 w 6512821"/>
                <a:gd name="connsiteY376" fmla="*/ 202939 h 1648590"/>
                <a:gd name="connsiteX377" fmla="*/ 246706 w 6512821"/>
                <a:gd name="connsiteY377" fmla="*/ 137681 h 1648590"/>
                <a:gd name="connsiteX378" fmla="*/ 152921 w 6512821"/>
                <a:gd name="connsiteY378" fmla="*/ 199878 h 1648590"/>
                <a:gd name="connsiteX379" fmla="*/ 179428 w 6512821"/>
                <a:gd name="connsiteY379" fmla="*/ 243710 h 1648590"/>
                <a:gd name="connsiteX380" fmla="*/ 282396 w 6512821"/>
                <a:gd name="connsiteY380" fmla="*/ 277381 h 1648590"/>
                <a:gd name="connsiteX381" fmla="*/ 438378 w 6512821"/>
                <a:gd name="connsiteY381" fmla="*/ 341598 h 1648590"/>
                <a:gd name="connsiteX382" fmla="*/ 496472 w 6512821"/>
                <a:gd name="connsiteY382" fmla="*/ 475176 h 1648590"/>
                <a:gd name="connsiteX383" fmla="*/ 6100885 w 6512821"/>
                <a:gd name="connsiteY383" fmla="*/ 208996 h 1648590"/>
                <a:gd name="connsiteX384" fmla="*/ 6051778 w 6512821"/>
                <a:gd name="connsiteY384" fmla="*/ 329288 h 1648590"/>
                <a:gd name="connsiteX385" fmla="*/ 5982482 w 6512821"/>
                <a:gd name="connsiteY385" fmla="*/ 299720 h 1648590"/>
                <a:gd name="connsiteX386" fmla="*/ 5911232 w 6512821"/>
                <a:gd name="connsiteY386" fmla="*/ 405749 h 1648590"/>
                <a:gd name="connsiteX387" fmla="*/ 5911232 w 6512821"/>
                <a:gd name="connsiteY387" fmla="*/ 667759 h 1648590"/>
                <a:gd name="connsiteX388" fmla="*/ 5790940 w 6512821"/>
                <a:gd name="connsiteY388" fmla="*/ 667759 h 1648590"/>
                <a:gd name="connsiteX389" fmla="*/ 5790940 w 6512821"/>
                <a:gd name="connsiteY389" fmla="*/ 186527 h 1648590"/>
                <a:gd name="connsiteX390" fmla="*/ 5911232 w 6512821"/>
                <a:gd name="connsiteY390" fmla="*/ 186527 h 1648590"/>
                <a:gd name="connsiteX391" fmla="*/ 5911232 w 6512821"/>
                <a:gd name="connsiteY391" fmla="*/ 220198 h 1648590"/>
                <a:gd name="connsiteX392" fmla="*/ 6012181 w 6512821"/>
                <a:gd name="connsiteY392" fmla="*/ 176367 h 1648590"/>
                <a:gd name="connsiteX393" fmla="*/ 6100885 w 6512821"/>
                <a:gd name="connsiteY393" fmla="*/ 208996 h 1648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</a:cxnLst>
              <a:rect l="l" t="t" r="r" b="b"/>
              <a:pathLst>
                <a:path w="6512821" h="1648590">
                  <a:moveTo>
                    <a:pt x="5071143" y="1396740"/>
                  </a:moveTo>
                  <a:cubicBezTo>
                    <a:pt x="5071143" y="1412045"/>
                    <a:pt x="5070101" y="1431388"/>
                    <a:pt x="5069124" y="1438552"/>
                  </a:cubicBezTo>
                  <a:lnTo>
                    <a:pt x="4777545" y="1438552"/>
                  </a:lnTo>
                  <a:cubicBezTo>
                    <a:pt x="4782625" y="1505829"/>
                    <a:pt x="4828541" y="1533378"/>
                    <a:pt x="4880513" y="1533378"/>
                  </a:cubicBezTo>
                  <a:cubicBezTo>
                    <a:pt x="4911123" y="1533378"/>
                    <a:pt x="4939649" y="1524196"/>
                    <a:pt x="4964137" y="1499707"/>
                  </a:cubicBezTo>
                  <a:lnTo>
                    <a:pt x="5049781" y="1572065"/>
                  </a:lnTo>
                  <a:cubicBezTo>
                    <a:pt x="5004908" y="1628140"/>
                    <a:pt x="4936588" y="1648525"/>
                    <a:pt x="4875433" y="1648525"/>
                  </a:cubicBezTo>
                  <a:cubicBezTo>
                    <a:pt x="4734756" y="1648525"/>
                    <a:pt x="4654192" y="1540478"/>
                    <a:pt x="4654192" y="1398759"/>
                  </a:cubicBezTo>
                  <a:cubicBezTo>
                    <a:pt x="4654192" y="1244795"/>
                    <a:pt x="4749019" y="1146908"/>
                    <a:pt x="4867292" y="1146908"/>
                  </a:cubicBezTo>
                  <a:cubicBezTo>
                    <a:pt x="4993706" y="1146908"/>
                    <a:pt x="5071208" y="1258016"/>
                    <a:pt x="5071208" y="1396675"/>
                  </a:cubicBezTo>
                  <a:close/>
                  <a:moveTo>
                    <a:pt x="4779564" y="1344767"/>
                  </a:moveTo>
                  <a:lnTo>
                    <a:pt x="4950851" y="1344767"/>
                  </a:lnTo>
                  <a:cubicBezTo>
                    <a:pt x="4946748" y="1290711"/>
                    <a:pt x="4912100" y="1254044"/>
                    <a:pt x="4863189" y="1254044"/>
                  </a:cubicBezTo>
                  <a:cubicBezTo>
                    <a:pt x="4805094" y="1254044"/>
                    <a:pt x="4782625" y="1305039"/>
                    <a:pt x="4779564" y="1344767"/>
                  </a:cubicBezTo>
                  <a:close/>
                  <a:moveTo>
                    <a:pt x="6512756" y="1396740"/>
                  </a:moveTo>
                  <a:cubicBezTo>
                    <a:pt x="6512756" y="1412045"/>
                    <a:pt x="6511714" y="1431388"/>
                    <a:pt x="6510737" y="1438552"/>
                  </a:cubicBezTo>
                  <a:lnTo>
                    <a:pt x="6219158" y="1438552"/>
                  </a:lnTo>
                  <a:cubicBezTo>
                    <a:pt x="6224238" y="1505829"/>
                    <a:pt x="6270154" y="1533378"/>
                    <a:pt x="6322126" y="1533378"/>
                  </a:cubicBezTo>
                  <a:cubicBezTo>
                    <a:pt x="6352736" y="1533378"/>
                    <a:pt x="6381262" y="1524196"/>
                    <a:pt x="6405751" y="1499707"/>
                  </a:cubicBezTo>
                  <a:lnTo>
                    <a:pt x="6491394" y="1572065"/>
                  </a:lnTo>
                  <a:cubicBezTo>
                    <a:pt x="6446521" y="1628140"/>
                    <a:pt x="6378201" y="1648525"/>
                    <a:pt x="6317046" y="1648525"/>
                  </a:cubicBezTo>
                  <a:cubicBezTo>
                    <a:pt x="6176369" y="1648525"/>
                    <a:pt x="6095805" y="1540478"/>
                    <a:pt x="6095805" y="1398759"/>
                  </a:cubicBezTo>
                  <a:cubicBezTo>
                    <a:pt x="6095805" y="1244795"/>
                    <a:pt x="6190632" y="1146908"/>
                    <a:pt x="6308905" y="1146908"/>
                  </a:cubicBezTo>
                  <a:cubicBezTo>
                    <a:pt x="6435319" y="1146908"/>
                    <a:pt x="6512821" y="1258016"/>
                    <a:pt x="6512821" y="1396675"/>
                  </a:cubicBezTo>
                  <a:close/>
                  <a:moveTo>
                    <a:pt x="6221177" y="1344767"/>
                  </a:moveTo>
                  <a:lnTo>
                    <a:pt x="6392465" y="1344767"/>
                  </a:lnTo>
                  <a:cubicBezTo>
                    <a:pt x="6388361" y="1290711"/>
                    <a:pt x="6353713" y="1254044"/>
                    <a:pt x="6304802" y="1254044"/>
                  </a:cubicBezTo>
                  <a:cubicBezTo>
                    <a:pt x="6246708" y="1254044"/>
                    <a:pt x="6224238" y="1305039"/>
                    <a:pt x="6221177" y="1344767"/>
                  </a:cubicBezTo>
                  <a:close/>
                  <a:moveTo>
                    <a:pt x="5978509" y="1467143"/>
                  </a:moveTo>
                  <a:lnTo>
                    <a:pt x="6058031" y="1542561"/>
                  </a:lnTo>
                  <a:cubicBezTo>
                    <a:pt x="6017261" y="1594534"/>
                    <a:pt x="5961185" y="1648590"/>
                    <a:pt x="5866359" y="1648590"/>
                  </a:cubicBezTo>
                  <a:cubicBezTo>
                    <a:pt x="5734865" y="1648590"/>
                    <a:pt x="5637954" y="1543604"/>
                    <a:pt x="5637954" y="1398823"/>
                  </a:cubicBezTo>
                  <a:cubicBezTo>
                    <a:pt x="5637954" y="1266288"/>
                    <a:pt x="5718518" y="1146973"/>
                    <a:pt x="5868378" y="1146973"/>
                  </a:cubicBezTo>
                  <a:cubicBezTo>
                    <a:pt x="5954021" y="1146973"/>
                    <a:pt x="6013157" y="1185724"/>
                    <a:pt x="6056989" y="1250983"/>
                  </a:cubicBezTo>
                  <a:lnTo>
                    <a:pt x="5975448" y="1333565"/>
                  </a:lnTo>
                  <a:cubicBezTo>
                    <a:pt x="5946922" y="1295856"/>
                    <a:pt x="5916312" y="1266288"/>
                    <a:pt x="5867401" y="1266288"/>
                  </a:cubicBezTo>
                  <a:cubicBezTo>
                    <a:pt x="5801100" y="1266288"/>
                    <a:pt x="5766452" y="1322363"/>
                    <a:pt x="5766452" y="1396804"/>
                  </a:cubicBezTo>
                  <a:cubicBezTo>
                    <a:pt x="5766452" y="1466101"/>
                    <a:pt x="5797062" y="1528299"/>
                    <a:pt x="5868378" y="1528299"/>
                  </a:cubicBezTo>
                  <a:cubicBezTo>
                    <a:pt x="5912209" y="1528299"/>
                    <a:pt x="5948941" y="1504852"/>
                    <a:pt x="5978509" y="1467143"/>
                  </a:cubicBezTo>
                  <a:close/>
                  <a:moveTo>
                    <a:pt x="4869246" y="667825"/>
                  </a:moveTo>
                  <a:lnTo>
                    <a:pt x="4750973" y="667825"/>
                  </a:lnTo>
                  <a:lnTo>
                    <a:pt x="4750973" y="634153"/>
                  </a:lnTo>
                  <a:cubicBezTo>
                    <a:pt x="4724466" y="663721"/>
                    <a:pt x="4681676" y="677984"/>
                    <a:pt x="4638822" y="677984"/>
                  </a:cubicBezTo>
                  <a:cubicBezTo>
                    <a:pt x="4514427" y="677984"/>
                    <a:pt x="4467535" y="588238"/>
                    <a:pt x="4467535" y="458763"/>
                  </a:cubicBezTo>
                  <a:lnTo>
                    <a:pt x="4467535" y="186527"/>
                  </a:lnTo>
                  <a:lnTo>
                    <a:pt x="4587827" y="186527"/>
                  </a:lnTo>
                  <a:lnTo>
                    <a:pt x="4587827" y="448538"/>
                  </a:lnTo>
                  <a:cubicBezTo>
                    <a:pt x="4587827" y="513797"/>
                    <a:pt x="4601113" y="562708"/>
                    <a:pt x="4668390" y="562708"/>
                  </a:cubicBezTo>
                  <a:cubicBezTo>
                    <a:pt x="4735668" y="562708"/>
                    <a:pt x="4748954" y="511712"/>
                    <a:pt x="4748954" y="452576"/>
                  </a:cubicBezTo>
                  <a:lnTo>
                    <a:pt x="4748954" y="186462"/>
                  </a:lnTo>
                  <a:lnTo>
                    <a:pt x="4869246" y="186462"/>
                  </a:lnTo>
                  <a:lnTo>
                    <a:pt x="4869246" y="667695"/>
                  </a:lnTo>
                  <a:close/>
                  <a:moveTo>
                    <a:pt x="5244449" y="527083"/>
                  </a:moveTo>
                  <a:lnTo>
                    <a:pt x="5227125" y="649458"/>
                  </a:lnTo>
                  <a:cubicBezTo>
                    <a:pt x="5202637" y="668802"/>
                    <a:pt x="5157829" y="677984"/>
                    <a:pt x="5128261" y="677984"/>
                  </a:cubicBezTo>
                  <a:cubicBezTo>
                    <a:pt x="5054861" y="677984"/>
                    <a:pt x="4997744" y="622951"/>
                    <a:pt x="4997744" y="535224"/>
                  </a:cubicBezTo>
                  <a:lnTo>
                    <a:pt x="4997744" y="301739"/>
                  </a:lnTo>
                  <a:lnTo>
                    <a:pt x="4928447" y="301739"/>
                  </a:lnTo>
                  <a:lnTo>
                    <a:pt x="4928447" y="186527"/>
                  </a:lnTo>
                  <a:lnTo>
                    <a:pt x="4997744" y="186527"/>
                  </a:lnTo>
                  <a:lnTo>
                    <a:pt x="4997744" y="61155"/>
                  </a:lnTo>
                  <a:lnTo>
                    <a:pt x="5118035" y="0"/>
                  </a:lnTo>
                  <a:lnTo>
                    <a:pt x="5118035" y="186592"/>
                  </a:lnTo>
                  <a:lnTo>
                    <a:pt x="5232205" y="186592"/>
                  </a:lnTo>
                  <a:lnTo>
                    <a:pt x="5232205" y="301804"/>
                  </a:lnTo>
                  <a:lnTo>
                    <a:pt x="5118035" y="301804"/>
                  </a:lnTo>
                  <a:lnTo>
                    <a:pt x="5118035" y="503701"/>
                  </a:lnTo>
                  <a:cubicBezTo>
                    <a:pt x="5118035" y="545514"/>
                    <a:pt x="5135360" y="560819"/>
                    <a:pt x="5164928" y="560819"/>
                  </a:cubicBezTo>
                  <a:cubicBezTo>
                    <a:pt x="5194496" y="560819"/>
                    <a:pt x="5225106" y="545514"/>
                    <a:pt x="5244449" y="527148"/>
                  </a:cubicBezTo>
                  <a:close/>
                  <a:moveTo>
                    <a:pt x="3417407" y="667825"/>
                  </a:moveTo>
                  <a:lnTo>
                    <a:pt x="3297116" y="667825"/>
                  </a:lnTo>
                  <a:lnTo>
                    <a:pt x="3297116" y="405814"/>
                  </a:lnTo>
                  <a:cubicBezTo>
                    <a:pt x="3297116" y="340555"/>
                    <a:pt x="3282853" y="292621"/>
                    <a:pt x="3215575" y="292621"/>
                  </a:cubicBezTo>
                  <a:cubicBezTo>
                    <a:pt x="3148298" y="292621"/>
                    <a:pt x="3132993" y="336452"/>
                    <a:pt x="3132993" y="402753"/>
                  </a:cubicBezTo>
                  <a:lnTo>
                    <a:pt x="3132993" y="667825"/>
                  </a:lnTo>
                  <a:lnTo>
                    <a:pt x="3012701" y="667825"/>
                  </a:lnTo>
                  <a:lnTo>
                    <a:pt x="3012701" y="61221"/>
                  </a:lnTo>
                  <a:lnTo>
                    <a:pt x="3132993" y="65"/>
                  </a:lnTo>
                  <a:lnTo>
                    <a:pt x="3132993" y="220264"/>
                  </a:lnTo>
                  <a:cubicBezTo>
                    <a:pt x="3159500" y="193756"/>
                    <a:pt x="3192129" y="176432"/>
                    <a:pt x="3246186" y="176432"/>
                  </a:cubicBezTo>
                  <a:cubicBezTo>
                    <a:pt x="3373641" y="176432"/>
                    <a:pt x="3417473" y="274320"/>
                    <a:pt x="3417473" y="396631"/>
                  </a:cubicBezTo>
                  <a:lnTo>
                    <a:pt x="3417473" y="667825"/>
                  </a:lnTo>
                  <a:close/>
                  <a:moveTo>
                    <a:pt x="5564554" y="1638365"/>
                  </a:moveTo>
                  <a:lnTo>
                    <a:pt x="5440160" y="1638365"/>
                  </a:lnTo>
                  <a:lnTo>
                    <a:pt x="5440160" y="1376355"/>
                  </a:lnTo>
                  <a:cubicBezTo>
                    <a:pt x="5440160" y="1309077"/>
                    <a:pt x="5424855" y="1264204"/>
                    <a:pt x="5357577" y="1264204"/>
                  </a:cubicBezTo>
                  <a:cubicBezTo>
                    <a:pt x="5294337" y="1264204"/>
                    <a:pt x="5273952" y="1301913"/>
                    <a:pt x="5273952" y="1373293"/>
                  </a:cubicBezTo>
                  <a:lnTo>
                    <a:pt x="5273952" y="1638365"/>
                  </a:lnTo>
                  <a:lnTo>
                    <a:pt x="5149558" y="1638365"/>
                  </a:lnTo>
                  <a:lnTo>
                    <a:pt x="5149558" y="1157133"/>
                  </a:lnTo>
                  <a:lnTo>
                    <a:pt x="5273952" y="1157133"/>
                  </a:lnTo>
                  <a:lnTo>
                    <a:pt x="5273952" y="1189762"/>
                  </a:lnTo>
                  <a:cubicBezTo>
                    <a:pt x="5299418" y="1164297"/>
                    <a:pt x="5337192" y="1146973"/>
                    <a:pt x="5391183" y="1146973"/>
                  </a:cubicBezTo>
                  <a:cubicBezTo>
                    <a:pt x="5521700" y="1146973"/>
                    <a:pt x="5564490" y="1247922"/>
                    <a:pt x="5564490" y="1366195"/>
                  </a:cubicBezTo>
                  <a:lnTo>
                    <a:pt x="5564490" y="1638430"/>
                  </a:lnTo>
                  <a:close/>
                  <a:moveTo>
                    <a:pt x="4008772" y="1115386"/>
                  </a:moveTo>
                  <a:cubicBezTo>
                    <a:pt x="4048565" y="1115386"/>
                    <a:pt x="4080152" y="1083798"/>
                    <a:pt x="4080152" y="1044005"/>
                  </a:cubicBezTo>
                  <a:cubicBezTo>
                    <a:pt x="4080152" y="1004212"/>
                    <a:pt x="4048565" y="972624"/>
                    <a:pt x="4008772" y="972624"/>
                  </a:cubicBezTo>
                  <a:cubicBezTo>
                    <a:pt x="3968978" y="972624"/>
                    <a:pt x="3937391" y="1004212"/>
                    <a:pt x="3937391" y="1044005"/>
                  </a:cubicBezTo>
                  <a:cubicBezTo>
                    <a:pt x="3937391" y="1083798"/>
                    <a:pt x="3968978" y="1115386"/>
                    <a:pt x="4008772" y="1115386"/>
                  </a:cubicBezTo>
                  <a:close/>
                  <a:moveTo>
                    <a:pt x="829864" y="1115386"/>
                  </a:moveTo>
                  <a:cubicBezTo>
                    <a:pt x="869657" y="1115386"/>
                    <a:pt x="901244" y="1083798"/>
                    <a:pt x="901244" y="1044005"/>
                  </a:cubicBezTo>
                  <a:cubicBezTo>
                    <a:pt x="901244" y="1004212"/>
                    <a:pt x="869657" y="972624"/>
                    <a:pt x="829864" y="972624"/>
                  </a:cubicBezTo>
                  <a:cubicBezTo>
                    <a:pt x="790070" y="972624"/>
                    <a:pt x="758483" y="1004212"/>
                    <a:pt x="758483" y="1044005"/>
                  </a:cubicBezTo>
                  <a:cubicBezTo>
                    <a:pt x="758483" y="1083798"/>
                    <a:pt x="790070" y="1115386"/>
                    <a:pt x="829864" y="1115386"/>
                  </a:cubicBezTo>
                  <a:close/>
                  <a:moveTo>
                    <a:pt x="6512756" y="426134"/>
                  </a:moveTo>
                  <a:cubicBezTo>
                    <a:pt x="6512756" y="441439"/>
                    <a:pt x="6511714" y="460782"/>
                    <a:pt x="6510737" y="467946"/>
                  </a:cubicBezTo>
                  <a:lnTo>
                    <a:pt x="6219158" y="467946"/>
                  </a:lnTo>
                  <a:cubicBezTo>
                    <a:pt x="6224238" y="535224"/>
                    <a:pt x="6270154" y="562773"/>
                    <a:pt x="6322126" y="562773"/>
                  </a:cubicBezTo>
                  <a:cubicBezTo>
                    <a:pt x="6352736" y="562773"/>
                    <a:pt x="6381262" y="553590"/>
                    <a:pt x="6405751" y="529102"/>
                  </a:cubicBezTo>
                  <a:lnTo>
                    <a:pt x="6491394" y="601459"/>
                  </a:lnTo>
                  <a:cubicBezTo>
                    <a:pt x="6446521" y="657535"/>
                    <a:pt x="6378201" y="677919"/>
                    <a:pt x="6317046" y="677919"/>
                  </a:cubicBezTo>
                  <a:cubicBezTo>
                    <a:pt x="6176369" y="677919"/>
                    <a:pt x="6095805" y="569872"/>
                    <a:pt x="6095805" y="428153"/>
                  </a:cubicBezTo>
                  <a:cubicBezTo>
                    <a:pt x="6095805" y="274190"/>
                    <a:pt x="6190632" y="176302"/>
                    <a:pt x="6308905" y="176302"/>
                  </a:cubicBezTo>
                  <a:cubicBezTo>
                    <a:pt x="6435319" y="176302"/>
                    <a:pt x="6512821" y="287411"/>
                    <a:pt x="6512821" y="426069"/>
                  </a:cubicBezTo>
                  <a:close/>
                  <a:moveTo>
                    <a:pt x="6221177" y="374162"/>
                  </a:moveTo>
                  <a:lnTo>
                    <a:pt x="6392465" y="374162"/>
                  </a:lnTo>
                  <a:cubicBezTo>
                    <a:pt x="6388361" y="320105"/>
                    <a:pt x="6353713" y="283438"/>
                    <a:pt x="6304802" y="283438"/>
                  </a:cubicBezTo>
                  <a:cubicBezTo>
                    <a:pt x="6246708" y="283438"/>
                    <a:pt x="6224238" y="334433"/>
                    <a:pt x="6221177" y="374162"/>
                  </a:cubicBezTo>
                  <a:close/>
                  <a:moveTo>
                    <a:pt x="5702235" y="667825"/>
                  </a:moveTo>
                  <a:lnTo>
                    <a:pt x="5583963" y="667825"/>
                  </a:lnTo>
                  <a:lnTo>
                    <a:pt x="5583963" y="634153"/>
                  </a:lnTo>
                  <a:cubicBezTo>
                    <a:pt x="5557456" y="663721"/>
                    <a:pt x="5514666" y="677984"/>
                    <a:pt x="5471812" y="677984"/>
                  </a:cubicBezTo>
                  <a:cubicBezTo>
                    <a:pt x="5347417" y="677984"/>
                    <a:pt x="5300525" y="588238"/>
                    <a:pt x="5300525" y="458763"/>
                  </a:cubicBezTo>
                  <a:lnTo>
                    <a:pt x="5300525" y="186527"/>
                  </a:lnTo>
                  <a:lnTo>
                    <a:pt x="5420817" y="186527"/>
                  </a:lnTo>
                  <a:lnTo>
                    <a:pt x="5420817" y="448538"/>
                  </a:lnTo>
                  <a:cubicBezTo>
                    <a:pt x="5420817" y="513797"/>
                    <a:pt x="5434103" y="562708"/>
                    <a:pt x="5501380" y="562708"/>
                  </a:cubicBezTo>
                  <a:cubicBezTo>
                    <a:pt x="5568657" y="562708"/>
                    <a:pt x="5581944" y="511712"/>
                    <a:pt x="5581944" y="452576"/>
                  </a:cubicBezTo>
                  <a:lnTo>
                    <a:pt x="5581944" y="186462"/>
                  </a:lnTo>
                  <a:lnTo>
                    <a:pt x="5702235" y="186462"/>
                  </a:lnTo>
                  <a:lnTo>
                    <a:pt x="5702235" y="667695"/>
                  </a:lnTo>
                  <a:close/>
                  <a:moveTo>
                    <a:pt x="3895579" y="426134"/>
                  </a:moveTo>
                  <a:cubicBezTo>
                    <a:pt x="3895579" y="441439"/>
                    <a:pt x="3894537" y="460782"/>
                    <a:pt x="3893560" y="467946"/>
                  </a:cubicBezTo>
                  <a:lnTo>
                    <a:pt x="3601981" y="467946"/>
                  </a:lnTo>
                  <a:cubicBezTo>
                    <a:pt x="3607061" y="535224"/>
                    <a:pt x="3652976" y="562773"/>
                    <a:pt x="3704949" y="562773"/>
                  </a:cubicBezTo>
                  <a:cubicBezTo>
                    <a:pt x="3735559" y="562773"/>
                    <a:pt x="3764085" y="553590"/>
                    <a:pt x="3788573" y="529102"/>
                  </a:cubicBezTo>
                  <a:lnTo>
                    <a:pt x="3874217" y="601459"/>
                  </a:lnTo>
                  <a:cubicBezTo>
                    <a:pt x="3829343" y="657535"/>
                    <a:pt x="3761024" y="677919"/>
                    <a:pt x="3699868" y="677919"/>
                  </a:cubicBezTo>
                  <a:cubicBezTo>
                    <a:pt x="3559192" y="677919"/>
                    <a:pt x="3478628" y="569872"/>
                    <a:pt x="3478628" y="428153"/>
                  </a:cubicBezTo>
                  <a:cubicBezTo>
                    <a:pt x="3478628" y="274190"/>
                    <a:pt x="3573455" y="176302"/>
                    <a:pt x="3691727" y="176302"/>
                  </a:cubicBezTo>
                  <a:cubicBezTo>
                    <a:pt x="3818141" y="176302"/>
                    <a:pt x="3895644" y="287411"/>
                    <a:pt x="3895644" y="426069"/>
                  </a:cubicBezTo>
                  <a:close/>
                  <a:moveTo>
                    <a:pt x="3604000" y="374162"/>
                  </a:moveTo>
                  <a:lnTo>
                    <a:pt x="3775287" y="374162"/>
                  </a:lnTo>
                  <a:cubicBezTo>
                    <a:pt x="3771184" y="320105"/>
                    <a:pt x="3736536" y="283438"/>
                    <a:pt x="3687624" y="283438"/>
                  </a:cubicBezTo>
                  <a:cubicBezTo>
                    <a:pt x="3629530" y="283438"/>
                    <a:pt x="3607061" y="334433"/>
                    <a:pt x="3604000" y="374162"/>
                  </a:cubicBezTo>
                  <a:close/>
                  <a:moveTo>
                    <a:pt x="4579686" y="1638365"/>
                  </a:moveTo>
                  <a:lnTo>
                    <a:pt x="4455291" y="1638365"/>
                  </a:lnTo>
                  <a:lnTo>
                    <a:pt x="4455291" y="1606778"/>
                  </a:lnTo>
                  <a:cubicBezTo>
                    <a:pt x="4414521" y="1636346"/>
                    <a:pt x="4390032" y="1648590"/>
                    <a:pt x="4346201" y="1648590"/>
                  </a:cubicBezTo>
                  <a:cubicBezTo>
                    <a:pt x="4207543" y="1648590"/>
                    <a:pt x="4148406" y="1528299"/>
                    <a:pt x="4148406" y="1393678"/>
                  </a:cubicBezTo>
                  <a:cubicBezTo>
                    <a:pt x="4148406" y="1247856"/>
                    <a:pt x="4217703" y="1146973"/>
                    <a:pt x="4343140" y="1146973"/>
                  </a:cubicBezTo>
                  <a:cubicBezTo>
                    <a:pt x="4384952" y="1146973"/>
                    <a:pt x="4424681" y="1158175"/>
                    <a:pt x="4455291" y="1185724"/>
                  </a:cubicBezTo>
                  <a:lnTo>
                    <a:pt x="4455291" y="1031761"/>
                  </a:lnTo>
                  <a:lnTo>
                    <a:pt x="4579686" y="969564"/>
                  </a:lnTo>
                  <a:lnTo>
                    <a:pt x="4579686" y="1638365"/>
                  </a:lnTo>
                  <a:close/>
                  <a:moveTo>
                    <a:pt x="4455356" y="1489547"/>
                  </a:moveTo>
                  <a:lnTo>
                    <a:pt x="4455356" y="1306016"/>
                  </a:lnTo>
                  <a:cubicBezTo>
                    <a:pt x="4428849" y="1277490"/>
                    <a:pt x="4403384" y="1264204"/>
                    <a:pt x="4368670" y="1264204"/>
                  </a:cubicBezTo>
                  <a:cubicBezTo>
                    <a:pt x="4296313" y="1264204"/>
                    <a:pt x="4278924" y="1321321"/>
                    <a:pt x="4278924" y="1389575"/>
                  </a:cubicBezTo>
                  <a:cubicBezTo>
                    <a:pt x="4278924" y="1467078"/>
                    <a:pt x="4301328" y="1531294"/>
                    <a:pt x="4371731" y="1531294"/>
                  </a:cubicBezTo>
                  <a:cubicBezTo>
                    <a:pt x="4406380" y="1531294"/>
                    <a:pt x="4430868" y="1515989"/>
                    <a:pt x="4455356" y="1489482"/>
                  </a:cubicBezTo>
                  <a:close/>
                  <a:moveTo>
                    <a:pt x="3945532" y="1157198"/>
                  </a:moveTo>
                  <a:lnTo>
                    <a:pt x="3945532" y="1638430"/>
                  </a:lnTo>
                  <a:lnTo>
                    <a:pt x="4069927" y="1638430"/>
                  </a:lnTo>
                  <a:lnTo>
                    <a:pt x="4069927" y="1157198"/>
                  </a:lnTo>
                  <a:lnTo>
                    <a:pt x="3945532" y="1157198"/>
                  </a:lnTo>
                  <a:close/>
                  <a:moveTo>
                    <a:pt x="3873175" y="985911"/>
                  </a:moveTo>
                  <a:lnTo>
                    <a:pt x="3873175" y="1085817"/>
                  </a:lnTo>
                  <a:cubicBezTo>
                    <a:pt x="3854809" y="1079695"/>
                    <a:pt x="3830386" y="1076634"/>
                    <a:pt x="3812019" y="1076634"/>
                  </a:cubicBezTo>
                  <a:cubicBezTo>
                    <a:pt x="3776329" y="1076634"/>
                    <a:pt x="3760047" y="1087836"/>
                    <a:pt x="3760047" y="1118447"/>
                  </a:cubicBezTo>
                  <a:lnTo>
                    <a:pt x="3760047" y="1157198"/>
                  </a:lnTo>
                  <a:lnTo>
                    <a:pt x="3863015" y="1157198"/>
                  </a:lnTo>
                  <a:lnTo>
                    <a:pt x="3863015" y="1273452"/>
                  </a:lnTo>
                  <a:lnTo>
                    <a:pt x="3760047" y="1273452"/>
                  </a:lnTo>
                  <a:lnTo>
                    <a:pt x="3760047" y="1638430"/>
                  </a:lnTo>
                  <a:lnTo>
                    <a:pt x="3635652" y="1638430"/>
                  </a:lnTo>
                  <a:lnTo>
                    <a:pt x="3635652" y="1273452"/>
                  </a:lnTo>
                  <a:lnTo>
                    <a:pt x="3568375" y="1273452"/>
                  </a:lnTo>
                  <a:lnTo>
                    <a:pt x="3568375" y="1157198"/>
                  </a:lnTo>
                  <a:lnTo>
                    <a:pt x="3635652" y="1157198"/>
                  </a:lnTo>
                  <a:lnTo>
                    <a:pt x="3635652" y="1099104"/>
                  </a:lnTo>
                  <a:cubicBezTo>
                    <a:pt x="3635652" y="1009357"/>
                    <a:pt x="3691727" y="972690"/>
                    <a:pt x="3782451" y="972690"/>
                  </a:cubicBezTo>
                  <a:cubicBezTo>
                    <a:pt x="3808958" y="972690"/>
                    <a:pt x="3847710" y="975751"/>
                    <a:pt x="3873175" y="985976"/>
                  </a:cubicBezTo>
                  <a:close/>
                  <a:moveTo>
                    <a:pt x="3507154" y="1638365"/>
                  </a:moveTo>
                  <a:lnTo>
                    <a:pt x="3382759" y="1638365"/>
                  </a:lnTo>
                  <a:lnTo>
                    <a:pt x="3382759" y="1376355"/>
                  </a:lnTo>
                  <a:cubicBezTo>
                    <a:pt x="3382759" y="1309077"/>
                    <a:pt x="3367454" y="1264204"/>
                    <a:pt x="3300177" y="1264204"/>
                  </a:cubicBezTo>
                  <a:cubicBezTo>
                    <a:pt x="3236937" y="1264204"/>
                    <a:pt x="3216552" y="1301913"/>
                    <a:pt x="3216552" y="1373293"/>
                  </a:cubicBezTo>
                  <a:lnTo>
                    <a:pt x="3216552" y="1638365"/>
                  </a:lnTo>
                  <a:lnTo>
                    <a:pt x="3092157" y="1638365"/>
                  </a:lnTo>
                  <a:lnTo>
                    <a:pt x="3092157" y="1157133"/>
                  </a:lnTo>
                  <a:lnTo>
                    <a:pt x="3216552" y="1157133"/>
                  </a:lnTo>
                  <a:lnTo>
                    <a:pt x="3216552" y="1189762"/>
                  </a:lnTo>
                  <a:cubicBezTo>
                    <a:pt x="3242017" y="1164297"/>
                    <a:pt x="3279792" y="1146973"/>
                    <a:pt x="3333783" y="1146973"/>
                  </a:cubicBezTo>
                  <a:cubicBezTo>
                    <a:pt x="3464300" y="1146973"/>
                    <a:pt x="3507089" y="1247922"/>
                    <a:pt x="3507089" y="1366195"/>
                  </a:cubicBezTo>
                  <a:lnTo>
                    <a:pt x="3507089" y="1638430"/>
                  </a:lnTo>
                  <a:close/>
                  <a:moveTo>
                    <a:pt x="2792437" y="1146973"/>
                  </a:moveTo>
                  <a:cubicBezTo>
                    <a:pt x="2653779" y="1146973"/>
                    <a:pt x="2567094" y="1256063"/>
                    <a:pt x="2567094" y="1397782"/>
                  </a:cubicBezTo>
                  <a:cubicBezTo>
                    <a:pt x="2567094" y="1546665"/>
                    <a:pt x="2661920" y="1648590"/>
                    <a:pt x="2792437" y="1648590"/>
                  </a:cubicBezTo>
                  <a:cubicBezTo>
                    <a:pt x="2922954" y="1648590"/>
                    <a:pt x="3017781" y="1546665"/>
                    <a:pt x="3017781" y="1397782"/>
                  </a:cubicBezTo>
                  <a:cubicBezTo>
                    <a:pt x="3017781" y="1248899"/>
                    <a:pt x="2931095" y="1146973"/>
                    <a:pt x="2792437" y="1146973"/>
                  </a:cubicBezTo>
                  <a:close/>
                  <a:moveTo>
                    <a:pt x="2792437" y="1528299"/>
                  </a:moveTo>
                  <a:cubicBezTo>
                    <a:pt x="2712916" y="1528299"/>
                    <a:pt x="2695592" y="1451838"/>
                    <a:pt x="2695592" y="1397782"/>
                  </a:cubicBezTo>
                  <a:cubicBezTo>
                    <a:pt x="2695592" y="1323340"/>
                    <a:pt x="2726202" y="1266288"/>
                    <a:pt x="2792437" y="1266288"/>
                  </a:cubicBezTo>
                  <a:cubicBezTo>
                    <a:pt x="2858673" y="1266288"/>
                    <a:pt x="2889283" y="1323405"/>
                    <a:pt x="2889283" y="1397782"/>
                  </a:cubicBezTo>
                  <a:cubicBezTo>
                    <a:pt x="2889283" y="1451838"/>
                    <a:pt x="2871959" y="1528299"/>
                    <a:pt x="2792437" y="1528299"/>
                  </a:cubicBezTo>
                  <a:close/>
                  <a:moveTo>
                    <a:pt x="2446802" y="1467143"/>
                  </a:moveTo>
                  <a:lnTo>
                    <a:pt x="2526323" y="1542561"/>
                  </a:lnTo>
                  <a:cubicBezTo>
                    <a:pt x="2485553" y="1594534"/>
                    <a:pt x="2429478" y="1648590"/>
                    <a:pt x="2334651" y="1648590"/>
                  </a:cubicBezTo>
                  <a:cubicBezTo>
                    <a:pt x="2203157" y="1648590"/>
                    <a:pt x="2106246" y="1543604"/>
                    <a:pt x="2106246" y="1398823"/>
                  </a:cubicBezTo>
                  <a:cubicBezTo>
                    <a:pt x="2106246" y="1266288"/>
                    <a:pt x="2186810" y="1146973"/>
                    <a:pt x="2336670" y="1146973"/>
                  </a:cubicBezTo>
                  <a:cubicBezTo>
                    <a:pt x="2422314" y="1146973"/>
                    <a:pt x="2481450" y="1185724"/>
                    <a:pt x="2525281" y="1250983"/>
                  </a:cubicBezTo>
                  <a:lnTo>
                    <a:pt x="2443741" y="1333565"/>
                  </a:lnTo>
                  <a:cubicBezTo>
                    <a:pt x="2415215" y="1295856"/>
                    <a:pt x="2384604" y="1266288"/>
                    <a:pt x="2335693" y="1266288"/>
                  </a:cubicBezTo>
                  <a:cubicBezTo>
                    <a:pt x="2269393" y="1266288"/>
                    <a:pt x="2234744" y="1322363"/>
                    <a:pt x="2234744" y="1396804"/>
                  </a:cubicBezTo>
                  <a:cubicBezTo>
                    <a:pt x="2234744" y="1466101"/>
                    <a:pt x="2265355" y="1528299"/>
                    <a:pt x="2336670" y="1528299"/>
                  </a:cubicBezTo>
                  <a:cubicBezTo>
                    <a:pt x="2380501" y="1528299"/>
                    <a:pt x="2417234" y="1504852"/>
                    <a:pt x="2446802" y="1467143"/>
                  </a:cubicBezTo>
                  <a:close/>
                  <a:moveTo>
                    <a:pt x="1803530" y="1638365"/>
                  </a:moveTo>
                  <a:lnTo>
                    <a:pt x="1679135" y="1638365"/>
                  </a:lnTo>
                  <a:lnTo>
                    <a:pt x="1679135" y="1376355"/>
                  </a:lnTo>
                  <a:cubicBezTo>
                    <a:pt x="1679135" y="1309077"/>
                    <a:pt x="1663830" y="1264204"/>
                    <a:pt x="1596553" y="1264204"/>
                  </a:cubicBezTo>
                  <a:cubicBezTo>
                    <a:pt x="1533314" y="1264204"/>
                    <a:pt x="1511951" y="1301913"/>
                    <a:pt x="1511951" y="1373293"/>
                  </a:cubicBezTo>
                  <a:lnTo>
                    <a:pt x="1511951" y="1638365"/>
                  </a:lnTo>
                  <a:lnTo>
                    <a:pt x="1387557" y="1638365"/>
                  </a:lnTo>
                  <a:lnTo>
                    <a:pt x="1387557" y="1031761"/>
                  </a:lnTo>
                  <a:lnTo>
                    <a:pt x="1511951" y="969564"/>
                  </a:lnTo>
                  <a:lnTo>
                    <a:pt x="1511951" y="1189762"/>
                  </a:lnTo>
                  <a:cubicBezTo>
                    <a:pt x="1535398" y="1161236"/>
                    <a:pt x="1584309" y="1146973"/>
                    <a:pt x="1632243" y="1146973"/>
                  </a:cubicBezTo>
                  <a:cubicBezTo>
                    <a:pt x="1758657" y="1146973"/>
                    <a:pt x="1803530" y="1246880"/>
                    <a:pt x="1803530" y="1366195"/>
                  </a:cubicBezTo>
                  <a:lnTo>
                    <a:pt x="1803530" y="1638430"/>
                  </a:lnTo>
                  <a:close/>
                  <a:moveTo>
                    <a:pt x="1311031" y="1493650"/>
                  </a:moveTo>
                  <a:lnTo>
                    <a:pt x="1292665" y="1619022"/>
                  </a:lnTo>
                  <a:cubicBezTo>
                    <a:pt x="1267200" y="1639407"/>
                    <a:pt x="1205979" y="1648590"/>
                    <a:pt x="1173350" y="1648590"/>
                  </a:cubicBezTo>
                  <a:cubicBezTo>
                    <a:pt x="1097931" y="1648590"/>
                    <a:pt x="1043875" y="1588412"/>
                    <a:pt x="1043875" y="1504852"/>
                  </a:cubicBezTo>
                  <a:lnTo>
                    <a:pt x="1043875" y="1273387"/>
                  </a:lnTo>
                  <a:lnTo>
                    <a:pt x="960250" y="1273387"/>
                  </a:lnTo>
                  <a:lnTo>
                    <a:pt x="960250" y="1157133"/>
                  </a:lnTo>
                  <a:lnTo>
                    <a:pt x="1043875" y="1157133"/>
                  </a:lnTo>
                  <a:lnTo>
                    <a:pt x="1043875" y="1031761"/>
                  </a:lnTo>
                  <a:lnTo>
                    <a:pt x="1168270" y="969564"/>
                  </a:lnTo>
                  <a:lnTo>
                    <a:pt x="1168270" y="1157133"/>
                  </a:lnTo>
                  <a:lnTo>
                    <a:pt x="1308947" y="1157133"/>
                  </a:lnTo>
                  <a:lnTo>
                    <a:pt x="1308947" y="1273387"/>
                  </a:lnTo>
                  <a:lnTo>
                    <a:pt x="1168270" y="1273387"/>
                  </a:lnTo>
                  <a:lnTo>
                    <a:pt x="1168270" y="1471181"/>
                  </a:lnTo>
                  <a:cubicBezTo>
                    <a:pt x="1168270" y="1515012"/>
                    <a:pt x="1184552" y="1529275"/>
                    <a:pt x="1214120" y="1529275"/>
                  </a:cubicBezTo>
                  <a:cubicBezTo>
                    <a:pt x="1243688" y="1529275"/>
                    <a:pt x="1289539" y="1513970"/>
                    <a:pt x="1310966" y="1493585"/>
                  </a:cubicBezTo>
                  <a:close/>
                  <a:moveTo>
                    <a:pt x="767666" y="1157198"/>
                  </a:moveTo>
                  <a:lnTo>
                    <a:pt x="767666" y="1638430"/>
                  </a:lnTo>
                  <a:lnTo>
                    <a:pt x="892061" y="1638430"/>
                  </a:lnTo>
                  <a:lnTo>
                    <a:pt x="892061" y="1157198"/>
                  </a:lnTo>
                  <a:lnTo>
                    <a:pt x="767666" y="1157198"/>
                  </a:lnTo>
                  <a:close/>
                  <a:moveTo>
                    <a:pt x="702408" y="1157198"/>
                  </a:moveTo>
                  <a:lnTo>
                    <a:pt x="550529" y="1638430"/>
                  </a:lnTo>
                  <a:lnTo>
                    <a:pt x="436359" y="1638430"/>
                  </a:lnTo>
                  <a:lnTo>
                    <a:pt x="354819" y="1345809"/>
                  </a:lnTo>
                  <a:lnTo>
                    <a:pt x="272236" y="1638430"/>
                  </a:lnTo>
                  <a:lnTo>
                    <a:pt x="158066" y="1638430"/>
                  </a:lnTo>
                  <a:lnTo>
                    <a:pt x="7099" y="1157198"/>
                  </a:lnTo>
                  <a:lnTo>
                    <a:pt x="145757" y="1157198"/>
                  </a:lnTo>
                  <a:lnTo>
                    <a:pt x="218114" y="1436533"/>
                  </a:lnTo>
                  <a:lnTo>
                    <a:pt x="299655" y="1157198"/>
                  </a:lnTo>
                  <a:lnTo>
                    <a:pt x="412848" y="1157198"/>
                  </a:lnTo>
                  <a:lnTo>
                    <a:pt x="494388" y="1436533"/>
                  </a:lnTo>
                  <a:lnTo>
                    <a:pt x="567788" y="1157198"/>
                  </a:lnTo>
                  <a:lnTo>
                    <a:pt x="702343" y="1157198"/>
                  </a:lnTo>
                  <a:close/>
                  <a:moveTo>
                    <a:pt x="4436990" y="16282"/>
                  </a:moveTo>
                  <a:lnTo>
                    <a:pt x="4436990" y="115147"/>
                  </a:lnTo>
                  <a:cubicBezTo>
                    <a:pt x="4409441" y="107983"/>
                    <a:pt x="4391139" y="104921"/>
                    <a:pt x="4374792" y="104921"/>
                  </a:cubicBezTo>
                  <a:cubicBezTo>
                    <a:pt x="4332003" y="104921"/>
                    <a:pt x="4322820" y="120227"/>
                    <a:pt x="4322820" y="144715"/>
                  </a:cubicBezTo>
                  <a:lnTo>
                    <a:pt x="4322820" y="186527"/>
                  </a:lnTo>
                  <a:lnTo>
                    <a:pt x="4404361" y="186527"/>
                  </a:lnTo>
                  <a:lnTo>
                    <a:pt x="4404361" y="302781"/>
                  </a:lnTo>
                  <a:lnTo>
                    <a:pt x="4322820" y="302781"/>
                  </a:lnTo>
                  <a:lnTo>
                    <a:pt x="4322820" y="667759"/>
                  </a:lnTo>
                  <a:lnTo>
                    <a:pt x="4202528" y="667759"/>
                  </a:lnTo>
                  <a:lnTo>
                    <a:pt x="4202528" y="302781"/>
                  </a:lnTo>
                  <a:lnTo>
                    <a:pt x="4143392" y="302781"/>
                  </a:lnTo>
                  <a:lnTo>
                    <a:pt x="4143392" y="186527"/>
                  </a:lnTo>
                  <a:lnTo>
                    <a:pt x="4202528" y="186527"/>
                  </a:lnTo>
                  <a:lnTo>
                    <a:pt x="4202528" y="128433"/>
                  </a:lnTo>
                  <a:cubicBezTo>
                    <a:pt x="4202528" y="44808"/>
                    <a:pt x="4246360" y="2019"/>
                    <a:pt x="4348350" y="2019"/>
                  </a:cubicBezTo>
                  <a:cubicBezTo>
                    <a:pt x="4380980" y="2019"/>
                    <a:pt x="4407487" y="8141"/>
                    <a:pt x="4437055" y="16282"/>
                  </a:cubicBezTo>
                  <a:close/>
                  <a:moveTo>
                    <a:pt x="2957602" y="527083"/>
                  </a:moveTo>
                  <a:lnTo>
                    <a:pt x="2940278" y="649458"/>
                  </a:lnTo>
                  <a:cubicBezTo>
                    <a:pt x="2915790" y="668802"/>
                    <a:pt x="2873001" y="677984"/>
                    <a:pt x="2843433" y="677984"/>
                  </a:cubicBezTo>
                  <a:cubicBezTo>
                    <a:pt x="2770033" y="677984"/>
                    <a:pt x="2712916" y="622951"/>
                    <a:pt x="2712916" y="535224"/>
                  </a:cubicBezTo>
                  <a:lnTo>
                    <a:pt x="2712916" y="301739"/>
                  </a:lnTo>
                  <a:lnTo>
                    <a:pt x="2629291" y="301739"/>
                  </a:lnTo>
                  <a:lnTo>
                    <a:pt x="2629291" y="186527"/>
                  </a:lnTo>
                  <a:lnTo>
                    <a:pt x="2712916" y="186527"/>
                  </a:lnTo>
                  <a:lnTo>
                    <a:pt x="2712916" y="61155"/>
                  </a:lnTo>
                  <a:lnTo>
                    <a:pt x="2833208" y="0"/>
                  </a:lnTo>
                  <a:lnTo>
                    <a:pt x="2833208" y="186592"/>
                  </a:lnTo>
                  <a:lnTo>
                    <a:pt x="2945358" y="186592"/>
                  </a:lnTo>
                  <a:lnTo>
                    <a:pt x="2945358" y="301804"/>
                  </a:lnTo>
                  <a:lnTo>
                    <a:pt x="2833208" y="301804"/>
                  </a:lnTo>
                  <a:lnTo>
                    <a:pt x="2833208" y="503701"/>
                  </a:lnTo>
                  <a:cubicBezTo>
                    <a:pt x="2833208" y="545514"/>
                    <a:pt x="2850532" y="560819"/>
                    <a:pt x="2880100" y="560819"/>
                  </a:cubicBezTo>
                  <a:cubicBezTo>
                    <a:pt x="2909668" y="560819"/>
                    <a:pt x="2938194" y="545514"/>
                    <a:pt x="2957602" y="527148"/>
                  </a:cubicBezTo>
                  <a:close/>
                  <a:moveTo>
                    <a:pt x="2397891" y="426134"/>
                  </a:moveTo>
                  <a:cubicBezTo>
                    <a:pt x="2397891" y="441439"/>
                    <a:pt x="2396849" y="460782"/>
                    <a:pt x="2395872" y="467946"/>
                  </a:cubicBezTo>
                  <a:lnTo>
                    <a:pt x="2114453" y="467946"/>
                  </a:lnTo>
                  <a:cubicBezTo>
                    <a:pt x="2119533" y="535224"/>
                    <a:pt x="2166425" y="562773"/>
                    <a:pt x="2218462" y="562773"/>
                  </a:cubicBezTo>
                  <a:cubicBezTo>
                    <a:pt x="2249073" y="562773"/>
                    <a:pt x="2276557" y="553590"/>
                    <a:pt x="2301045" y="529102"/>
                  </a:cubicBezTo>
                  <a:lnTo>
                    <a:pt x="2386689" y="601459"/>
                  </a:lnTo>
                  <a:cubicBezTo>
                    <a:pt x="2346895" y="654473"/>
                    <a:pt x="2274538" y="677919"/>
                    <a:pt x="2210321" y="677919"/>
                  </a:cubicBezTo>
                  <a:cubicBezTo>
                    <a:pt x="2072705" y="677919"/>
                    <a:pt x="1991100" y="569872"/>
                    <a:pt x="1991100" y="429130"/>
                  </a:cubicBezTo>
                  <a:cubicBezTo>
                    <a:pt x="1991100" y="288388"/>
                    <a:pt x="2079804" y="176302"/>
                    <a:pt x="2205176" y="176302"/>
                  </a:cubicBezTo>
                  <a:cubicBezTo>
                    <a:pt x="2339731" y="176302"/>
                    <a:pt x="2397891" y="298678"/>
                    <a:pt x="2397891" y="426069"/>
                  </a:cubicBezTo>
                  <a:close/>
                  <a:moveTo>
                    <a:pt x="2116472" y="374162"/>
                  </a:moveTo>
                  <a:lnTo>
                    <a:pt x="2287759" y="374162"/>
                  </a:lnTo>
                  <a:cubicBezTo>
                    <a:pt x="2282679" y="320105"/>
                    <a:pt x="2251027" y="283438"/>
                    <a:pt x="2199054" y="283438"/>
                  </a:cubicBezTo>
                  <a:cubicBezTo>
                    <a:pt x="2144021" y="283438"/>
                    <a:pt x="2119533" y="334433"/>
                    <a:pt x="2116472" y="374162"/>
                  </a:cubicBezTo>
                  <a:close/>
                  <a:moveTo>
                    <a:pt x="1933982" y="428218"/>
                  </a:moveTo>
                  <a:cubicBezTo>
                    <a:pt x="1933982" y="551571"/>
                    <a:pt x="1882987" y="677984"/>
                    <a:pt x="1746413" y="677984"/>
                  </a:cubicBezTo>
                  <a:cubicBezTo>
                    <a:pt x="1693399" y="677984"/>
                    <a:pt x="1660769" y="658642"/>
                    <a:pt x="1639342" y="638191"/>
                  </a:cubicBezTo>
                  <a:lnTo>
                    <a:pt x="1639342" y="784990"/>
                  </a:lnTo>
                  <a:lnTo>
                    <a:pt x="1519050" y="845169"/>
                  </a:lnTo>
                  <a:lnTo>
                    <a:pt x="1519050" y="186527"/>
                  </a:lnTo>
                  <a:lnTo>
                    <a:pt x="1639342" y="186527"/>
                  </a:lnTo>
                  <a:lnTo>
                    <a:pt x="1639342" y="219157"/>
                  </a:lnTo>
                  <a:cubicBezTo>
                    <a:pt x="1670929" y="190630"/>
                    <a:pt x="1703559" y="176367"/>
                    <a:pt x="1748432" y="176367"/>
                  </a:cubicBezTo>
                  <a:cubicBezTo>
                    <a:pt x="1877907" y="176367"/>
                    <a:pt x="1933982" y="298743"/>
                    <a:pt x="1933982" y="428218"/>
                  </a:cubicBezTo>
                  <a:close/>
                  <a:moveTo>
                    <a:pt x="1809587" y="434340"/>
                  </a:moveTo>
                  <a:cubicBezTo>
                    <a:pt x="1809587" y="364002"/>
                    <a:pt x="1791221" y="292621"/>
                    <a:pt x="1718864" y="292621"/>
                  </a:cubicBezTo>
                  <a:cubicBezTo>
                    <a:pt x="1685193" y="292621"/>
                    <a:pt x="1658685" y="307926"/>
                    <a:pt x="1639342" y="335410"/>
                  </a:cubicBezTo>
                  <a:lnTo>
                    <a:pt x="1639342" y="518942"/>
                  </a:lnTo>
                  <a:cubicBezTo>
                    <a:pt x="1658685" y="546491"/>
                    <a:pt x="1691315" y="562773"/>
                    <a:pt x="1726028" y="562773"/>
                  </a:cubicBezTo>
                  <a:cubicBezTo>
                    <a:pt x="1793305" y="562773"/>
                    <a:pt x="1809652" y="501618"/>
                    <a:pt x="1809652" y="434340"/>
                  </a:cubicBezTo>
                  <a:close/>
                  <a:moveTo>
                    <a:pt x="1435426" y="667825"/>
                  </a:moveTo>
                  <a:lnTo>
                    <a:pt x="1315134" y="667825"/>
                  </a:lnTo>
                  <a:lnTo>
                    <a:pt x="1315134" y="634153"/>
                  </a:lnTo>
                  <a:cubicBezTo>
                    <a:pt x="1286608" y="662680"/>
                    <a:pt x="1249876" y="677984"/>
                    <a:pt x="1202983" y="677984"/>
                  </a:cubicBezTo>
                  <a:cubicBezTo>
                    <a:pt x="1108157" y="677984"/>
                    <a:pt x="1033715" y="616829"/>
                    <a:pt x="1033715" y="510800"/>
                  </a:cubicBezTo>
                  <a:cubicBezTo>
                    <a:pt x="1033715" y="404772"/>
                    <a:pt x="1106072" y="348696"/>
                    <a:pt x="1221284" y="348696"/>
                  </a:cubicBezTo>
                  <a:cubicBezTo>
                    <a:pt x="1251894" y="348696"/>
                    <a:pt x="1283482" y="352799"/>
                    <a:pt x="1315069" y="368040"/>
                  </a:cubicBezTo>
                  <a:lnTo>
                    <a:pt x="1315069" y="342574"/>
                  </a:lnTo>
                  <a:cubicBezTo>
                    <a:pt x="1315069" y="297701"/>
                    <a:pt x="1285501" y="279335"/>
                    <a:pt x="1232486" y="279335"/>
                  </a:cubicBezTo>
                  <a:cubicBezTo>
                    <a:pt x="1194777" y="279335"/>
                    <a:pt x="1159087" y="288518"/>
                    <a:pt x="1121378" y="310922"/>
                  </a:cubicBezTo>
                  <a:lnTo>
                    <a:pt x="1073443" y="225278"/>
                  </a:lnTo>
                  <a:cubicBezTo>
                    <a:pt x="1125416" y="192649"/>
                    <a:pt x="1175369" y="176367"/>
                    <a:pt x="1239650" y="176367"/>
                  </a:cubicBezTo>
                  <a:cubicBezTo>
                    <a:pt x="1360984" y="176367"/>
                    <a:pt x="1435426" y="235503"/>
                    <a:pt x="1435426" y="344593"/>
                  </a:cubicBezTo>
                  <a:lnTo>
                    <a:pt x="1435426" y="667759"/>
                  </a:lnTo>
                  <a:close/>
                  <a:moveTo>
                    <a:pt x="1315134" y="527083"/>
                  </a:moveTo>
                  <a:lnTo>
                    <a:pt x="1315134" y="465927"/>
                  </a:lnTo>
                  <a:cubicBezTo>
                    <a:pt x="1290646" y="450622"/>
                    <a:pt x="1259059" y="445542"/>
                    <a:pt x="1234570" y="445542"/>
                  </a:cubicBezTo>
                  <a:cubicBezTo>
                    <a:pt x="1181556" y="445542"/>
                    <a:pt x="1156091" y="468988"/>
                    <a:pt x="1156091" y="507740"/>
                  </a:cubicBezTo>
                  <a:cubicBezTo>
                    <a:pt x="1156091" y="544472"/>
                    <a:pt x="1179537" y="574040"/>
                    <a:pt x="1224410" y="574040"/>
                  </a:cubicBezTo>
                  <a:cubicBezTo>
                    <a:pt x="1247857" y="574040"/>
                    <a:pt x="1288627" y="565899"/>
                    <a:pt x="1315134" y="527148"/>
                  </a:cubicBezTo>
                  <a:close/>
                  <a:moveTo>
                    <a:pt x="967480" y="667825"/>
                  </a:moveTo>
                  <a:lnTo>
                    <a:pt x="847188" y="667825"/>
                  </a:lnTo>
                  <a:lnTo>
                    <a:pt x="847188" y="405814"/>
                  </a:lnTo>
                  <a:cubicBezTo>
                    <a:pt x="847188" y="340555"/>
                    <a:pt x="832925" y="292621"/>
                    <a:pt x="765647" y="292621"/>
                  </a:cubicBezTo>
                  <a:cubicBezTo>
                    <a:pt x="698370" y="292621"/>
                    <a:pt x="683065" y="336452"/>
                    <a:pt x="683065" y="402753"/>
                  </a:cubicBezTo>
                  <a:lnTo>
                    <a:pt x="683065" y="667825"/>
                  </a:lnTo>
                  <a:lnTo>
                    <a:pt x="562773" y="667825"/>
                  </a:lnTo>
                  <a:lnTo>
                    <a:pt x="562773" y="61221"/>
                  </a:lnTo>
                  <a:lnTo>
                    <a:pt x="683065" y="65"/>
                  </a:lnTo>
                  <a:lnTo>
                    <a:pt x="683065" y="220264"/>
                  </a:lnTo>
                  <a:cubicBezTo>
                    <a:pt x="709572" y="193756"/>
                    <a:pt x="742201" y="176432"/>
                    <a:pt x="796258" y="176432"/>
                  </a:cubicBezTo>
                  <a:cubicBezTo>
                    <a:pt x="923713" y="176432"/>
                    <a:pt x="967545" y="274320"/>
                    <a:pt x="967545" y="396631"/>
                  </a:cubicBezTo>
                  <a:lnTo>
                    <a:pt x="967545" y="667825"/>
                  </a:lnTo>
                  <a:close/>
                  <a:moveTo>
                    <a:pt x="496472" y="475110"/>
                  </a:moveTo>
                  <a:cubicBezTo>
                    <a:pt x="496472" y="619890"/>
                    <a:pt x="386341" y="677984"/>
                    <a:pt x="255889" y="677984"/>
                  </a:cubicBezTo>
                  <a:cubicBezTo>
                    <a:pt x="162104" y="677984"/>
                    <a:pt x="58094" y="648416"/>
                    <a:pt x="0" y="562773"/>
                  </a:cubicBezTo>
                  <a:lnTo>
                    <a:pt x="89747" y="483251"/>
                  </a:lnTo>
                  <a:cubicBezTo>
                    <a:pt x="131559" y="533205"/>
                    <a:pt x="191672" y="556651"/>
                    <a:pt x="252893" y="556651"/>
                  </a:cubicBezTo>
                  <a:cubicBezTo>
                    <a:pt x="325250" y="556651"/>
                    <a:pt x="367063" y="524022"/>
                    <a:pt x="367063" y="478171"/>
                  </a:cubicBezTo>
                  <a:cubicBezTo>
                    <a:pt x="367063" y="459805"/>
                    <a:pt x="359899" y="441439"/>
                    <a:pt x="329353" y="426199"/>
                  </a:cubicBezTo>
                  <a:cubicBezTo>
                    <a:pt x="306949" y="414997"/>
                    <a:pt x="279400" y="407833"/>
                    <a:pt x="225344" y="394612"/>
                  </a:cubicBezTo>
                  <a:cubicBezTo>
                    <a:pt x="191672" y="386471"/>
                    <a:pt x="122376" y="370124"/>
                    <a:pt x="79522" y="335475"/>
                  </a:cubicBezTo>
                  <a:cubicBezTo>
                    <a:pt x="36732" y="300827"/>
                    <a:pt x="24488" y="250874"/>
                    <a:pt x="24488" y="207042"/>
                  </a:cubicBezTo>
                  <a:cubicBezTo>
                    <a:pt x="24488" y="71445"/>
                    <a:pt x="140742" y="16412"/>
                    <a:pt x="254912" y="16412"/>
                  </a:cubicBezTo>
                  <a:cubicBezTo>
                    <a:pt x="353776" y="16412"/>
                    <a:pt x="425157" y="57182"/>
                    <a:pt x="482274" y="115277"/>
                  </a:cubicBezTo>
                  <a:lnTo>
                    <a:pt x="392528" y="202939"/>
                  </a:lnTo>
                  <a:cubicBezTo>
                    <a:pt x="350715" y="161127"/>
                    <a:pt x="309945" y="137681"/>
                    <a:pt x="246706" y="137681"/>
                  </a:cubicBezTo>
                  <a:cubicBezTo>
                    <a:pt x="192649" y="137681"/>
                    <a:pt x="152921" y="155005"/>
                    <a:pt x="152921" y="199878"/>
                  </a:cubicBezTo>
                  <a:cubicBezTo>
                    <a:pt x="152921" y="219221"/>
                    <a:pt x="160085" y="232508"/>
                    <a:pt x="179428" y="243710"/>
                  </a:cubicBezTo>
                  <a:cubicBezTo>
                    <a:pt x="201832" y="255954"/>
                    <a:pt x="233485" y="265137"/>
                    <a:pt x="282396" y="277381"/>
                  </a:cubicBezTo>
                  <a:cubicBezTo>
                    <a:pt x="340490" y="292686"/>
                    <a:pt x="394547" y="305907"/>
                    <a:pt x="438378" y="341598"/>
                  </a:cubicBezTo>
                  <a:cubicBezTo>
                    <a:pt x="477129" y="373185"/>
                    <a:pt x="496472" y="414997"/>
                    <a:pt x="496472" y="475176"/>
                  </a:cubicBezTo>
                  <a:close/>
                  <a:moveTo>
                    <a:pt x="6100885" y="208996"/>
                  </a:moveTo>
                  <a:lnTo>
                    <a:pt x="6051778" y="329288"/>
                  </a:lnTo>
                  <a:cubicBezTo>
                    <a:pt x="6033413" y="311964"/>
                    <a:pt x="6011985" y="299720"/>
                    <a:pt x="5982482" y="299720"/>
                  </a:cubicBezTo>
                  <a:cubicBezTo>
                    <a:pt x="5925365" y="299720"/>
                    <a:pt x="5911232" y="347654"/>
                    <a:pt x="5911232" y="405749"/>
                  </a:cubicBezTo>
                  <a:lnTo>
                    <a:pt x="5911232" y="667759"/>
                  </a:lnTo>
                  <a:lnTo>
                    <a:pt x="5790940" y="667759"/>
                  </a:lnTo>
                  <a:lnTo>
                    <a:pt x="5790940" y="186527"/>
                  </a:lnTo>
                  <a:lnTo>
                    <a:pt x="5911232" y="186527"/>
                  </a:lnTo>
                  <a:lnTo>
                    <a:pt x="5911232" y="220198"/>
                  </a:lnTo>
                  <a:cubicBezTo>
                    <a:pt x="5938781" y="192649"/>
                    <a:pt x="5973429" y="176367"/>
                    <a:pt x="6012181" y="176367"/>
                  </a:cubicBezTo>
                  <a:cubicBezTo>
                    <a:pt x="6045852" y="176367"/>
                    <a:pt x="6075420" y="186592"/>
                    <a:pt x="6100885" y="208996"/>
                  </a:cubicBezTo>
                  <a:close/>
                </a:path>
              </a:pathLst>
            </a:custGeom>
            <a:solidFill>
              <a:schemeClr val="bg2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5070838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ram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2D7BB4A-5FCC-BE0E-4598-A4CBBA847A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8386354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0"/>
                  <a:alpha val="0"/>
                </a:schemeClr>
              </a:gs>
              <a:gs pos="95000">
                <a:srgbClr val="000000">
                  <a:alpha val="70000"/>
                </a:srgb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n-US" sz="1200" b="1">
              <a:solidFill>
                <a:schemeClr val="tx1"/>
              </a:solidFill>
            </a:endParaRP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632E76BF-46D5-8E94-88AA-4783DD302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89762" y="4436485"/>
            <a:ext cx="4907628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edit master subtitle style</a:t>
            </a:r>
            <a:endParaRPr lang="en-US" dirty="0"/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1F7B1FDC-B90E-6693-A750-B9BA4B535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9762" y="2698751"/>
            <a:ext cx="4906009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" panose="02000503020000020004" pitchFamily="2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0" name="Text Placeholder 288">
            <a:extLst>
              <a:ext uri="{FF2B5EF4-FFF2-40B4-BE49-F238E27FC236}">
                <a16:creationId xmlns:a16="http://schemas.microsoft.com/office/drawing/2014/main" id="{1673B89D-F206-B9D2-CDB7-BDE045C744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89762" y="5047485"/>
            <a:ext cx="4906010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CAE5DE78-B7B3-7321-F9AE-079289C97DAA}"/>
              </a:ext>
            </a:extLst>
          </p:cNvPr>
          <p:cNvGrpSpPr/>
          <p:nvPr userDrawn="1"/>
        </p:nvGrpSpPr>
        <p:grpSpPr>
          <a:xfrm>
            <a:off x="485774" y="1291008"/>
            <a:ext cx="5706110" cy="4360545"/>
            <a:chOff x="485774" y="1291008"/>
            <a:chExt cx="5706110" cy="4360545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F7E50E80-DFF0-E065-898F-1AFD970459B6}"/>
                </a:ext>
              </a:extLst>
            </p:cNvPr>
            <p:cNvSpPr/>
            <p:nvPr userDrawn="1"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7E9D0337-F340-664F-6A13-B03AA4BA4F82}"/>
                </a:ext>
              </a:extLst>
            </p:cNvPr>
            <p:cNvSpPr/>
            <p:nvPr userDrawn="1"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gradFill flip="none" rotWithShape="1">
              <a:gsLst>
                <a:gs pos="46000">
                  <a:srgbClr val="FFE600"/>
                </a:gs>
                <a:gs pos="66000">
                  <a:srgbClr val="00C864"/>
                </a:gs>
                <a:gs pos="100000">
                  <a:srgbClr val="4696FF"/>
                </a:gs>
              </a:gsLst>
              <a:lin ang="18600000" scaled="0"/>
              <a:tileRect/>
            </a:gradFill>
            <a:ln w="81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dirty="0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30E3E6A4-E7C7-D8B1-D168-425F837286E8}"/>
              </a:ext>
            </a:extLst>
          </p:cNvPr>
          <p:cNvGrpSpPr/>
          <p:nvPr userDrawn="1"/>
        </p:nvGrpSpPr>
        <p:grpSpPr>
          <a:xfrm>
            <a:off x="485775" y="6164633"/>
            <a:ext cx="4940935" cy="318770"/>
            <a:chOff x="485775" y="6164633"/>
            <a:chExt cx="4940935" cy="318770"/>
          </a:xfrm>
        </p:grpSpPr>
        <p:sp>
          <p:nvSpPr>
            <p:cNvPr id="5" name="Freeform 23">
              <a:extLst>
                <a:ext uri="{FF2B5EF4-FFF2-40B4-BE49-F238E27FC236}">
                  <a16:creationId xmlns:a16="http://schemas.microsoft.com/office/drawing/2014/main" id="{68A48E44-3626-12D9-7447-675C0E15D905}"/>
                </a:ext>
              </a:extLst>
            </p:cNvPr>
            <p:cNvSpPr/>
            <p:nvPr userDrawn="1"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6" name="Freeform 24">
              <a:extLst>
                <a:ext uri="{FF2B5EF4-FFF2-40B4-BE49-F238E27FC236}">
                  <a16:creationId xmlns:a16="http://schemas.microsoft.com/office/drawing/2014/main" id="{2D5DD4F1-1FCF-E20D-2541-C550DC2B1532}"/>
                </a:ext>
              </a:extLst>
            </p:cNvPr>
            <p:cNvSpPr/>
            <p:nvPr userDrawn="1"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chemeClr val="bg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8ABEBDFF-ED3A-E888-AD12-6BA94B2A481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562024" y="5167683"/>
            <a:ext cx="1220400" cy="1285398"/>
            <a:chOff x="3913438" y="-99392"/>
            <a:chExt cx="6512821" cy="6859693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2BC2A0E5-BD4A-D898-E5C9-D0B314660772}"/>
                </a:ext>
              </a:extLst>
            </p:cNvPr>
            <p:cNvSpPr/>
            <p:nvPr/>
          </p:nvSpPr>
          <p:spPr>
            <a:xfrm>
              <a:off x="5319751" y="-99392"/>
              <a:ext cx="4303606" cy="1570696"/>
            </a:xfrm>
            <a:custGeom>
              <a:avLst/>
              <a:gdLst>
                <a:gd name="connsiteX0" fmla="*/ 4303607 w 4303606"/>
                <a:gd name="connsiteY0" fmla="*/ 0 h 1570696"/>
                <a:gd name="connsiteX1" fmla="*/ 0 w 4303606"/>
                <a:gd name="connsiteY1" fmla="*/ 1570697 h 1570696"/>
                <a:gd name="connsiteX2" fmla="*/ 4303607 w 4303606"/>
                <a:gd name="connsiteY2" fmla="*/ 810521 h 1570696"/>
                <a:gd name="connsiteX3" fmla="*/ 4303607 w 4303606"/>
                <a:gd name="connsiteY3" fmla="*/ 0 h 1570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03606" h="1570696">
                  <a:moveTo>
                    <a:pt x="4303607" y="0"/>
                  </a:moveTo>
                  <a:lnTo>
                    <a:pt x="0" y="1570697"/>
                  </a:lnTo>
                  <a:lnTo>
                    <a:pt x="4303607" y="810521"/>
                  </a:lnTo>
                  <a:lnTo>
                    <a:pt x="4303607" y="0"/>
                  </a:lnTo>
                  <a:close/>
                </a:path>
              </a:pathLst>
            </a:custGeom>
            <a:solidFill>
              <a:srgbClr val="FFE600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C10A528C-196B-EA38-1C48-567C6808C71B}"/>
                </a:ext>
              </a:extLst>
            </p:cNvPr>
            <p:cNvSpPr/>
            <p:nvPr/>
          </p:nvSpPr>
          <p:spPr>
            <a:xfrm>
              <a:off x="5357395" y="2124345"/>
              <a:ext cx="3613052" cy="2176910"/>
            </a:xfrm>
            <a:custGeom>
              <a:avLst/>
              <a:gdLst>
                <a:gd name="connsiteX0" fmla="*/ 652845 w 3613052"/>
                <a:gd name="connsiteY0" fmla="*/ 1676205 h 2176910"/>
                <a:gd name="connsiteX1" fmla="*/ 1741463 w 3613052"/>
                <a:gd name="connsiteY1" fmla="*/ 1676205 h 2176910"/>
                <a:gd name="connsiteX2" fmla="*/ 1741463 w 3613052"/>
                <a:gd name="connsiteY2" fmla="*/ 2176910 h 2176910"/>
                <a:gd name="connsiteX3" fmla="*/ 0 w 3613052"/>
                <a:gd name="connsiteY3" fmla="*/ 2176910 h 2176910"/>
                <a:gd name="connsiteX4" fmla="*/ 0 w 3613052"/>
                <a:gd name="connsiteY4" fmla="*/ 0 h 2176910"/>
                <a:gd name="connsiteX5" fmla="*/ 1234766 w 3613052"/>
                <a:gd name="connsiteY5" fmla="*/ 0 h 2176910"/>
                <a:gd name="connsiteX6" fmla="*/ 1523675 w 3613052"/>
                <a:gd name="connsiteY6" fmla="*/ 500706 h 2176910"/>
                <a:gd name="connsiteX7" fmla="*/ 652910 w 3613052"/>
                <a:gd name="connsiteY7" fmla="*/ 500706 h 2176910"/>
                <a:gd name="connsiteX8" fmla="*/ 652910 w 3613052"/>
                <a:gd name="connsiteY8" fmla="*/ 859953 h 2176910"/>
                <a:gd name="connsiteX9" fmla="*/ 1440050 w 3613052"/>
                <a:gd name="connsiteY9" fmla="*/ 859953 h 2176910"/>
                <a:gd name="connsiteX10" fmla="*/ 1440050 w 3613052"/>
                <a:gd name="connsiteY10" fmla="*/ 1317022 h 2176910"/>
                <a:gd name="connsiteX11" fmla="*/ 652910 w 3613052"/>
                <a:gd name="connsiteY11" fmla="*/ 1317022 h 2176910"/>
                <a:gd name="connsiteX12" fmla="*/ 652910 w 3613052"/>
                <a:gd name="connsiteY12" fmla="*/ 1676205 h 2176910"/>
                <a:gd name="connsiteX13" fmla="*/ 2900485 w 3613052"/>
                <a:gd name="connsiteY13" fmla="*/ 0 h 2176910"/>
                <a:gd name="connsiteX14" fmla="*/ 2530687 w 3613052"/>
                <a:gd name="connsiteY14" fmla="*/ 710418 h 2176910"/>
                <a:gd name="connsiteX15" fmla="*/ 2161801 w 3613052"/>
                <a:gd name="connsiteY15" fmla="*/ 0 h 2176910"/>
                <a:gd name="connsiteX16" fmla="*/ 1439985 w 3613052"/>
                <a:gd name="connsiteY16" fmla="*/ 0 h 2176910"/>
                <a:gd name="connsiteX17" fmla="*/ 2200552 w 3613052"/>
                <a:gd name="connsiteY17" fmla="*/ 1317022 h 2176910"/>
                <a:gd name="connsiteX18" fmla="*/ 2200552 w 3613052"/>
                <a:gd name="connsiteY18" fmla="*/ 2176910 h 2176910"/>
                <a:gd name="connsiteX19" fmla="*/ 2851443 w 3613052"/>
                <a:gd name="connsiteY19" fmla="*/ 2176910 h 2176910"/>
                <a:gd name="connsiteX20" fmla="*/ 2851443 w 3613052"/>
                <a:gd name="connsiteY20" fmla="*/ 1317022 h 2176910"/>
                <a:gd name="connsiteX21" fmla="*/ 3613053 w 3613052"/>
                <a:gd name="connsiteY21" fmla="*/ 0 h 2176910"/>
                <a:gd name="connsiteX22" fmla="*/ 2900485 w 3613052"/>
                <a:gd name="connsiteY22" fmla="*/ 0 h 2176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613052" h="2176910">
                  <a:moveTo>
                    <a:pt x="652845" y="1676205"/>
                  </a:moveTo>
                  <a:lnTo>
                    <a:pt x="1741463" y="1676205"/>
                  </a:lnTo>
                  <a:lnTo>
                    <a:pt x="1741463" y="2176910"/>
                  </a:lnTo>
                  <a:lnTo>
                    <a:pt x="0" y="2176910"/>
                  </a:lnTo>
                  <a:lnTo>
                    <a:pt x="0" y="0"/>
                  </a:lnTo>
                  <a:lnTo>
                    <a:pt x="1234766" y="0"/>
                  </a:lnTo>
                  <a:lnTo>
                    <a:pt x="1523675" y="500706"/>
                  </a:lnTo>
                  <a:lnTo>
                    <a:pt x="652910" y="500706"/>
                  </a:lnTo>
                  <a:lnTo>
                    <a:pt x="652910" y="859953"/>
                  </a:lnTo>
                  <a:lnTo>
                    <a:pt x="1440050" y="859953"/>
                  </a:lnTo>
                  <a:lnTo>
                    <a:pt x="1440050" y="1317022"/>
                  </a:lnTo>
                  <a:lnTo>
                    <a:pt x="652910" y="1317022"/>
                  </a:lnTo>
                  <a:lnTo>
                    <a:pt x="652910" y="1676205"/>
                  </a:lnTo>
                  <a:close/>
                  <a:moveTo>
                    <a:pt x="2900485" y="0"/>
                  </a:moveTo>
                  <a:lnTo>
                    <a:pt x="2530687" y="710418"/>
                  </a:lnTo>
                  <a:lnTo>
                    <a:pt x="2161801" y="0"/>
                  </a:lnTo>
                  <a:lnTo>
                    <a:pt x="1439985" y="0"/>
                  </a:lnTo>
                  <a:lnTo>
                    <a:pt x="2200552" y="1317022"/>
                  </a:lnTo>
                  <a:lnTo>
                    <a:pt x="2200552" y="2176910"/>
                  </a:lnTo>
                  <a:lnTo>
                    <a:pt x="2851443" y="2176910"/>
                  </a:lnTo>
                  <a:lnTo>
                    <a:pt x="2851443" y="1317022"/>
                  </a:lnTo>
                  <a:lnTo>
                    <a:pt x="3613053" y="0"/>
                  </a:lnTo>
                  <a:lnTo>
                    <a:pt x="2900485" y="0"/>
                  </a:lnTo>
                  <a:close/>
                </a:path>
              </a:pathLst>
            </a:custGeom>
            <a:solidFill>
              <a:schemeClr val="bg2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E953CEB8-AAB6-262F-570B-0ECADEA0B52C}"/>
                </a:ext>
              </a:extLst>
            </p:cNvPr>
            <p:cNvSpPr/>
            <p:nvPr/>
          </p:nvSpPr>
          <p:spPr>
            <a:xfrm>
              <a:off x="3913438" y="5111711"/>
              <a:ext cx="6512821" cy="1648590"/>
            </a:xfrm>
            <a:custGeom>
              <a:avLst/>
              <a:gdLst>
                <a:gd name="connsiteX0" fmla="*/ 5071143 w 6512821"/>
                <a:gd name="connsiteY0" fmla="*/ 1396740 h 1648590"/>
                <a:gd name="connsiteX1" fmla="*/ 5069124 w 6512821"/>
                <a:gd name="connsiteY1" fmla="*/ 1438552 h 1648590"/>
                <a:gd name="connsiteX2" fmla="*/ 4777545 w 6512821"/>
                <a:gd name="connsiteY2" fmla="*/ 1438552 h 1648590"/>
                <a:gd name="connsiteX3" fmla="*/ 4880513 w 6512821"/>
                <a:gd name="connsiteY3" fmla="*/ 1533378 h 1648590"/>
                <a:gd name="connsiteX4" fmla="*/ 4964137 w 6512821"/>
                <a:gd name="connsiteY4" fmla="*/ 1499707 h 1648590"/>
                <a:gd name="connsiteX5" fmla="*/ 5049781 w 6512821"/>
                <a:gd name="connsiteY5" fmla="*/ 1572065 h 1648590"/>
                <a:gd name="connsiteX6" fmla="*/ 4875433 w 6512821"/>
                <a:gd name="connsiteY6" fmla="*/ 1648525 h 1648590"/>
                <a:gd name="connsiteX7" fmla="*/ 4654192 w 6512821"/>
                <a:gd name="connsiteY7" fmla="*/ 1398759 h 1648590"/>
                <a:gd name="connsiteX8" fmla="*/ 4867292 w 6512821"/>
                <a:gd name="connsiteY8" fmla="*/ 1146908 h 1648590"/>
                <a:gd name="connsiteX9" fmla="*/ 5071208 w 6512821"/>
                <a:gd name="connsiteY9" fmla="*/ 1396675 h 1648590"/>
                <a:gd name="connsiteX10" fmla="*/ 4779564 w 6512821"/>
                <a:gd name="connsiteY10" fmla="*/ 1344767 h 1648590"/>
                <a:gd name="connsiteX11" fmla="*/ 4950851 w 6512821"/>
                <a:gd name="connsiteY11" fmla="*/ 1344767 h 1648590"/>
                <a:gd name="connsiteX12" fmla="*/ 4863189 w 6512821"/>
                <a:gd name="connsiteY12" fmla="*/ 1254044 h 1648590"/>
                <a:gd name="connsiteX13" fmla="*/ 4779564 w 6512821"/>
                <a:gd name="connsiteY13" fmla="*/ 1344767 h 1648590"/>
                <a:gd name="connsiteX14" fmla="*/ 6512756 w 6512821"/>
                <a:gd name="connsiteY14" fmla="*/ 1396740 h 1648590"/>
                <a:gd name="connsiteX15" fmla="*/ 6510737 w 6512821"/>
                <a:gd name="connsiteY15" fmla="*/ 1438552 h 1648590"/>
                <a:gd name="connsiteX16" fmla="*/ 6219158 w 6512821"/>
                <a:gd name="connsiteY16" fmla="*/ 1438552 h 1648590"/>
                <a:gd name="connsiteX17" fmla="*/ 6322126 w 6512821"/>
                <a:gd name="connsiteY17" fmla="*/ 1533378 h 1648590"/>
                <a:gd name="connsiteX18" fmla="*/ 6405751 w 6512821"/>
                <a:gd name="connsiteY18" fmla="*/ 1499707 h 1648590"/>
                <a:gd name="connsiteX19" fmla="*/ 6491394 w 6512821"/>
                <a:gd name="connsiteY19" fmla="*/ 1572065 h 1648590"/>
                <a:gd name="connsiteX20" fmla="*/ 6317046 w 6512821"/>
                <a:gd name="connsiteY20" fmla="*/ 1648525 h 1648590"/>
                <a:gd name="connsiteX21" fmla="*/ 6095805 w 6512821"/>
                <a:gd name="connsiteY21" fmla="*/ 1398759 h 1648590"/>
                <a:gd name="connsiteX22" fmla="*/ 6308905 w 6512821"/>
                <a:gd name="connsiteY22" fmla="*/ 1146908 h 1648590"/>
                <a:gd name="connsiteX23" fmla="*/ 6512821 w 6512821"/>
                <a:gd name="connsiteY23" fmla="*/ 1396675 h 1648590"/>
                <a:gd name="connsiteX24" fmla="*/ 6221177 w 6512821"/>
                <a:gd name="connsiteY24" fmla="*/ 1344767 h 1648590"/>
                <a:gd name="connsiteX25" fmla="*/ 6392465 w 6512821"/>
                <a:gd name="connsiteY25" fmla="*/ 1344767 h 1648590"/>
                <a:gd name="connsiteX26" fmla="*/ 6304802 w 6512821"/>
                <a:gd name="connsiteY26" fmla="*/ 1254044 h 1648590"/>
                <a:gd name="connsiteX27" fmla="*/ 6221177 w 6512821"/>
                <a:gd name="connsiteY27" fmla="*/ 1344767 h 1648590"/>
                <a:gd name="connsiteX28" fmla="*/ 5978509 w 6512821"/>
                <a:gd name="connsiteY28" fmla="*/ 1467143 h 1648590"/>
                <a:gd name="connsiteX29" fmla="*/ 6058031 w 6512821"/>
                <a:gd name="connsiteY29" fmla="*/ 1542561 h 1648590"/>
                <a:gd name="connsiteX30" fmla="*/ 5866359 w 6512821"/>
                <a:gd name="connsiteY30" fmla="*/ 1648590 h 1648590"/>
                <a:gd name="connsiteX31" fmla="*/ 5637954 w 6512821"/>
                <a:gd name="connsiteY31" fmla="*/ 1398823 h 1648590"/>
                <a:gd name="connsiteX32" fmla="*/ 5868378 w 6512821"/>
                <a:gd name="connsiteY32" fmla="*/ 1146973 h 1648590"/>
                <a:gd name="connsiteX33" fmla="*/ 6056989 w 6512821"/>
                <a:gd name="connsiteY33" fmla="*/ 1250983 h 1648590"/>
                <a:gd name="connsiteX34" fmla="*/ 5975448 w 6512821"/>
                <a:gd name="connsiteY34" fmla="*/ 1333565 h 1648590"/>
                <a:gd name="connsiteX35" fmla="*/ 5867401 w 6512821"/>
                <a:gd name="connsiteY35" fmla="*/ 1266288 h 1648590"/>
                <a:gd name="connsiteX36" fmla="*/ 5766452 w 6512821"/>
                <a:gd name="connsiteY36" fmla="*/ 1396804 h 1648590"/>
                <a:gd name="connsiteX37" fmla="*/ 5868378 w 6512821"/>
                <a:gd name="connsiteY37" fmla="*/ 1528299 h 1648590"/>
                <a:gd name="connsiteX38" fmla="*/ 5978509 w 6512821"/>
                <a:gd name="connsiteY38" fmla="*/ 1467143 h 1648590"/>
                <a:gd name="connsiteX39" fmla="*/ 4869246 w 6512821"/>
                <a:gd name="connsiteY39" fmla="*/ 667825 h 1648590"/>
                <a:gd name="connsiteX40" fmla="*/ 4750973 w 6512821"/>
                <a:gd name="connsiteY40" fmla="*/ 667825 h 1648590"/>
                <a:gd name="connsiteX41" fmla="*/ 4750973 w 6512821"/>
                <a:gd name="connsiteY41" fmla="*/ 634153 h 1648590"/>
                <a:gd name="connsiteX42" fmla="*/ 4638822 w 6512821"/>
                <a:gd name="connsiteY42" fmla="*/ 677984 h 1648590"/>
                <a:gd name="connsiteX43" fmla="*/ 4467535 w 6512821"/>
                <a:gd name="connsiteY43" fmla="*/ 458763 h 1648590"/>
                <a:gd name="connsiteX44" fmla="*/ 4467535 w 6512821"/>
                <a:gd name="connsiteY44" fmla="*/ 186527 h 1648590"/>
                <a:gd name="connsiteX45" fmla="*/ 4587827 w 6512821"/>
                <a:gd name="connsiteY45" fmla="*/ 186527 h 1648590"/>
                <a:gd name="connsiteX46" fmla="*/ 4587827 w 6512821"/>
                <a:gd name="connsiteY46" fmla="*/ 448538 h 1648590"/>
                <a:gd name="connsiteX47" fmla="*/ 4668390 w 6512821"/>
                <a:gd name="connsiteY47" fmla="*/ 562708 h 1648590"/>
                <a:gd name="connsiteX48" fmla="*/ 4748954 w 6512821"/>
                <a:gd name="connsiteY48" fmla="*/ 452576 h 1648590"/>
                <a:gd name="connsiteX49" fmla="*/ 4748954 w 6512821"/>
                <a:gd name="connsiteY49" fmla="*/ 186462 h 1648590"/>
                <a:gd name="connsiteX50" fmla="*/ 4869246 w 6512821"/>
                <a:gd name="connsiteY50" fmla="*/ 186462 h 1648590"/>
                <a:gd name="connsiteX51" fmla="*/ 4869246 w 6512821"/>
                <a:gd name="connsiteY51" fmla="*/ 667695 h 1648590"/>
                <a:gd name="connsiteX52" fmla="*/ 5244449 w 6512821"/>
                <a:gd name="connsiteY52" fmla="*/ 527083 h 1648590"/>
                <a:gd name="connsiteX53" fmla="*/ 5227125 w 6512821"/>
                <a:gd name="connsiteY53" fmla="*/ 649458 h 1648590"/>
                <a:gd name="connsiteX54" fmla="*/ 5128261 w 6512821"/>
                <a:gd name="connsiteY54" fmla="*/ 677984 h 1648590"/>
                <a:gd name="connsiteX55" fmla="*/ 4997744 w 6512821"/>
                <a:gd name="connsiteY55" fmla="*/ 535224 h 1648590"/>
                <a:gd name="connsiteX56" fmla="*/ 4997744 w 6512821"/>
                <a:gd name="connsiteY56" fmla="*/ 301739 h 1648590"/>
                <a:gd name="connsiteX57" fmla="*/ 4928447 w 6512821"/>
                <a:gd name="connsiteY57" fmla="*/ 301739 h 1648590"/>
                <a:gd name="connsiteX58" fmla="*/ 4928447 w 6512821"/>
                <a:gd name="connsiteY58" fmla="*/ 186527 h 1648590"/>
                <a:gd name="connsiteX59" fmla="*/ 4997744 w 6512821"/>
                <a:gd name="connsiteY59" fmla="*/ 186527 h 1648590"/>
                <a:gd name="connsiteX60" fmla="*/ 4997744 w 6512821"/>
                <a:gd name="connsiteY60" fmla="*/ 61155 h 1648590"/>
                <a:gd name="connsiteX61" fmla="*/ 5118035 w 6512821"/>
                <a:gd name="connsiteY61" fmla="*/ 0 h 1648590"/>
                <a:gd name="connsiteX62" fmla="*/ 5118035 w 6512821"/>
                <a:gd name="connsiteY62" fmla="*/ 186592 h 1648590"/>
                <a:gd name="connsiteX63" fmla="*/ 5232205 w 6512821"/>
                <a:gd name="connsiteY63" fmla="*/ 186592 h 1648590"/>
                <a:gd name="connsiteX64" fmla="*/ 5232205 w 6512821"/>
                <a:gd name="connsiteY64" fmla="*/ 301804 h 1648590"/>
                <a:gd name="connsiteX65" fmla="*/ 5118035 w 6512821"/>
                <a:gd name="connsiteY65" fmla="*/ 301804 h 1648590"/>
                <a:gd name="connsiteX66" fmla="*/ 5118035 w 6512821"/>
                <a:gd name="connsiteY66" fmla="*/ 503701 h 1648590"/>
                <a:gd name="connsiteX67" fmla="*/ 5164928 w 6512821"/>
                <a:gd name="connsiteY67" fmla="*/ 560819 h 1648590"/>
                <a:gd name="connsiteX68" fmla="*/ 5244449 w 6512821"/>
                <a:gd name="connsiteY68" fmla="*/ 527148 h 1648590"/>
                <a:gd name="connsiteX69" fmla="*/ 3417407 w 6512821"/>
                <a:gd name="connsiteY69" fmla="*/ 667825 h 1648590"/>
                <a:gd name="connsiteX70" fmla="*/ 3297116 w 6512821"/>
                <a:gd name="connsiteY70" fmla="*/ 667825 h 1648590"/>
                <a:gd name="connsiteX71" fmla="*/ 3297116 w 6512821"/>
                <a:gd name="connsiteY71" fmla="*/ 405814 h 1648590"/>
                <a:gd name="connsiteX72" fmla="*/ 3215575 w 6512821"/>
                <a:gd name="connsiteY72" fmla="*/ 292621 h 1648590"/>
                <a:gd name="connsiteX73" fmla="*/ 3132993 w 6512821"/>
                <a:gd name="connsiteY73" fmla="*/ 402753 h 1648590"/>
                <a:gd name="connsiteX74" fmla="*/ 3132993 w 6512821"/>
                <a:gd name="connsiteY74" fmla="*/ 667825 h 1648590"/>
                <a:gd name="connsiteX75" fmla="*/ 3012701 w 6512821"/>
                <a:gd name="connsiteY75" fmla="*/ 667825 h 1648590"/>
                <a:gd name="connsiteX76" fmla="*/ 3012701 w 6512821"/>
                <a:gd name="connsiteY76" fmla="*/ 61221 h 1648590"/>
                <a:gd name="connsiteX77" fmla="*/ 3132993 w 6512821"/>
                <a:gd name="connsiteY77" fmla="*/ 65 h 1648590"/>
                <a:gd name="connsiteX78" fmla="*/ 3132993 w 6512821"/>
                <a:gd name="connsiteY78" fmla="*/ 220264 h 1648590"/>
                <a:gd name="connsiteX79" fmla="*/ 3246186 w 6512821"/>
                <a:gd name="connsiteY79" fmla="*/ 176432 h 1648590"/>
                <a:gd name="connsiteX80" fmla="*/ 3417473 w 6512821"/>
                <a:gd name="connsiteY80" fmla="*/ 396631 h 1648590"/>
                <a:gd name="connsiteX81" fmla="*/ 3417473 w 6512821"/>
                <a:gd name="connsiteY81" fmla="*/ 667825 h 1648590"/>
                <a:gd name="connsiteX82" fmla="*/ 5564554 w 6512821"/>
                <a:gd name="connsiteY82" fmla="*/ 1638365 h 1648590"/>
                <a:gd name="connsiteX83" fmla="*/ 5440160 w 6512821"/>
                <a:gd name="connsiteY83" fmla="*/ 1638365 h 1648590"/>
                <a:gd name="connsiteX84" fmla="*/ 5440160 w 6512821"/>
                <a:gd name="connsiteY84" fmla="*/ 1376355 h 1648590"/>
                <a:gd name="connsiteX85" fmla="*/ 5357577 w 6512821"/>
                <a:gd name="connsiteY85" fmla="*/ 1264204 h 1648590"/>
                <a:gd name="connsiteX86" fmla="*/ 5273952 w 6512821"/>
                <a:gd name="connsiteY86" fmla="*/ 1373293 h 1648590"/>
                <a:gd name="connsiteX87" fmla="*/ 5273952 w 6512821"/>
                <a:gd name="connsiteY87" fmla="*/ 1638365 h 1648590"/>
                <a:gd name="connsiteX88" fmla="*/ 5149558 w 6512821"/>
                <a:gd name="connsiteY88" fmla="*/ 1638365 h 1648590"/>
                <a:gd name="connsiteX89" fmla="*/ 5149558 w 6512821"/>
                <a:gd name="connsiteY89" fmla="*/ 1157133 h 1648590"/>
                <a:gd name="connsiteX90" fmla="*/ 5273952 w 6512821"/>
                <a:gd name="connsiteY90" fmla="*/ 1157133 h 1648590"/>
                <a:gd name="connsiteX91" fmla="*/ 5273952 w 6512821"/>
                <a:gd name="connsiteY91" fmla="*/ 1189762 h 1648590"/>
                <a:gd name="connsiteX92" fmla="*/ 5391183 w 6512821"/>
                <a:gd name="connsiteY92" fmla="*/ 1146973 h 1648590"/>
                <a:gd name="connsiteX93" fmla="*/ 5564490 w 6512821"/>
                <a:gd name="connsiteY93" fmla="*/ 1366195 h 1648590"/>
                <a:gd name="connsiteX94" fmla="*/ 5564490 w 6512821"/>
                <a:gd name="connsiteY94" fmla="*/ 1638430 h 1648590"/>
                <a:gd name="connsiteX95" fmla="*/ 4008772 w 6512821"/>
                <a:gd name="connsiteY95" fmla="*/ 1115386 h 1648590"/>
                <a:gd name="connsiteX96" fmla="*/ 4080152 w 6512821"/>
                <a:gd name="connsiteY96" fmla="*/ 1044005 h 1648590"/>
                <a:gd name="connsiteX97" fmla="*/ 4008772 w 6512821"/>
                <a:gd name="connsiteY97" fmla="*/ 972624 h 1648590"/>
                <a:gd name="connsiteX98" fmla="*/ 3937391 w 6512821"/>
                <a:gd name="connsiteY98" fmla="*/ 1044005 h 1648590"/>
                <a:gd name="connsiteX99" fmla="*/ 4008772 w 6512821"/>
                <a:gd name="connsiteY99" fmla="*/ 1115386 h 1648590"/>
                <a:gd name="connsiteX100" fmla="*/ 829864 w 6512821"/>
                <a:gd name="connsiteY100" fmla="*/ 1115386 h 1648590"/>
                <a:gd name="connsiteX101" fmla="*/ 901244 w 6512821"/>
                <a:gd name="connsiteY101" fmla="*/ 1044005 h 1648590"/>
                <a:gd name="connsiteX102" fmla="*/ 829864 w 6512821"/>
                <a:gd name="connsiteY102" fmla="*/ 972624 h 1648590"/>
                <a:gd name="connsiteX103" fmla="*/ 758483 w 6512821"/>
                <a:gd name="connsiteY103" fmla="*/ 1044005 h 1648590"/>
                <a:gd name="connsiteX104" fmla="*/ 829864 w 6512821"/>
                <a:gd name="connsiteY104" fmla="*/ 1115386 h 1648590"/>
                <a:gd name="connsiteX105" fmla="*/ 6512756 w 6512821"/>
                <a:gd name="connsiteY105" fmla="*/ 426134 h 1648590"/>
                <a:gd name="connsiteX106" fmla="*/ 6510737 w 6512821"/>
                <a:gd name="connsiteY106" fmla="*/ 467946 h 1648590"/>
                <a:gd name="connsiteX107" fmla="*/ 6219158 w 6512821"/>
                <a:gd name="connsiteY107" fmla="*/ 467946 h 1648590"/>
                <a:gd name="connsiteX108" fmla="*/ 6322126 w 6512821"/>
                <a:gd name="connsiteY108" fmla="*/ 562773 h 1648590"/>
                <a:gd name="connsiteX109" fmla="*/ 6405751 w 6512821"/>
                <a:gd name="connsiteY109" fmla="*/ 529102 h 1648590"/>
                <a:gd name="connsiteX110" fmla="*/ 6491394 w 6512821"/>
                <a:gd name="connsiteY110" fmla="*/ 601459 h 1648590"/>
                <a:gd name="connsiteX111" fmla="*/ 6317046 w 6512821"/>
                <a:gd name="connsiteY111" fmla="*/ 677919 h 1648590"/>
                <a:gd name="connsiteX112" fmla="*/ 6095805 w 6512821"/>
                <a:gd name="connsiteY112" fmla="*/ 428153 h 1648590"/>
                <a:gd name="connsiteX113" fmla="*/ 6308905 w 6512821"/>
                <a:gd name="connsiteY113" fmla="*/ 176302 h 1648590"/>
                <a:gd name="connsiteX114" fmla="*/ 6512821 w 6512821"/>
                <a:gd name="connsiteY114" fmla="*/ 426069 h 1648590"/>
                <a:gd name="connsiteX115" fmla="*/ 6221177 w 6512821"/>
                <a:gd name="connsiteY115" fmla="*/ 374162 h 1648590"/>
                <a:gd name="connsiteX116" fmla="*/ 6392465 w 6512821"/>
                <a:gd name="connsiteY116" fmla="*/ 374162 h 1648590"/>
                <a:gd name="connsiteX117" fmla="*/ 6304802 w 6512821"/>
                <a:gd name="connsiteY117" fmla="*/ 283438 h 1648590"/>
                <a:gd name="connsiteX118" fmla="*/ 6221177 w 6512821"/>
                <a:gd name="connsiteY118" fmla="*/ 374162 h 1648590"/>
                <a:gd name="connsiteX119" fmla="*/ 5702235 w 6512821"/>
                <a:gd name="connsiteY119" fmla="*/ 667825 h 1648590"/>
                <a:gd name="connsiteX120" fmla="*/ 5583963 w 6512821"/>
                <a:gd name="connsiteY120" fmla="*/ 667825 h 1648590"/>
                <a:gd name="connsiteX121" fmla="*/ 5583963 w 6512821"/>
                <a:gd name="connsiteY121" fmla="*/ 634153 h 1648590"/>
                <a:gd name="connsiteX122" fmla="*/ 5471812 w 6512821"/>
                <a:gd name="connsiteY122" fmla="*/ 677984 h 1648590"/>
                <a:gd name="connsiteX123" fmla="*/ 5300525 w 6512821"/>
                <a:gd name="connsiteY123" fmla="*/ 458763 h 1648590"/>
                <a:gd name="connsiteX124" fmla="*/ 5300525 w 6512821"/>
                <a:gd name="connsiteY124" fmla="*/ 186527 h 1648590"/>
                <a:gd name="connsiteX125" fmla="*/ 5420817 w 6512821"/>
                <a:gd name="connsiteY125" fmla="*/ 186527 h 1648590"/>
                <a:gd name="connsiteX126" fmla="*/ 5420817 w 6512821"/>
                <a:gd name="connsiteY126" fmla="*/ 448538 h 1648590"/>
                <a:gd name="connsiteX127" fmla="*/ 5501380 w 6512821"/>
                <a:gd name="connsiteY127" fmla="*/ 562708 h 1648590"/>
                <a:gd name="connsiteX128" fmla="*/ 5581944 w 6512821"/>
                <a:gd name="connsiteY128" fmla="*/ 452576 h 1648590"/>
                <a:gd name="connsiteX129" fmla="*/ 5581944 w 6512821"/>
                <a:gd name="connsiteY129" fmla="*/ 186462 h 1648590"/>
                <a:gd name="connsiteX130" fmla="*/ 5702235 w 6512821"/>
                <a:gd name="connsiteY130" fmla="*/ 186462 h 1648590"/>
                <a:gd name="connsiteX131" fmla="*/ 5702235 w 6512821"/>
                <a:gd name="connsiteY131" fmla="*/ 667695 h 1648590"/>
                <a:gd name="connsiteX132" fmla="*/ 3895579 w 6512821"/>
                <a:gd name="connsiteY132" fmla="*/ 426134 h 1648590"/>
                <a:gd name="connsiteX133" fmla="*/ 3893560 w 6512821"/>
                <a:gd name="connsiteY133" fmla="*/ 467946 h 1648590"/>
                <a:gd name="connsiteX134" fmla="*/ 3601981 w 6512821"/>
                <a:gd name="connsiteY134" fmla="*/ 467946 h 1648590"/>
                <a:gd name="connsiteX135" fmla="*/ 3704949 w 6512821"/>
                <a:gd name="connsiteY135" fmla="*/ 562773 h 1648590"/>
                <a:gd name="connsiteX136" fmla="*/ 3788573 w 6512821"/>
                <a:gd name="connsiteY136" fmla="*/ 529102 h 1648590"/>
                <a:gd name="connsiteX137" fmla="*/ 3874217 w 6512821"/>
                <a:gd name="connsiteY137" fmla="*/ 601459 h 1648590"/>
                <a:gd name="connsiteX138" fmla="*/ 3699868 w 6512821"/>
                <a:gd name="connsiteY138" fmla="*/ 677919 h 1648590"/>
                <a:gd name="connsiteX139" fmla="*/ 3478628 w 6512821"/>
                <a:gd name="connsiteY139" fmla="*/ 428153 h 1648590"/>
                <a:gd name="connsiteX140" fmla="*/ 3691727 w 6512821"/>
                <a:gd name="connsiteY140" fmla="*/ 176302 h 1648590"/>
                <a:gd name="connsiteX141" fmla="*/ 3895644 w 6512821"/>
                <a:gd name="connsiteY141" fmla="*/ 426069 h 1648590"/>
                <a:gd name="connsiteX142" fmla="*/ 3604000 w 6512821"/>
                <a:gd name="connsiteY142" fmla="*/ 374162 h 1648590"/>
                <a:gd name="connsiteX143" fmla="*/ 3775287 w 6512821"/>
                <a:gd name="connsiteY143" fmla="*/ 374162 h 1648590"/>
                <a:gd name="connsiteX144" fmla="*/ 3687624 w 6512821"/>
                <a:gd name="connsiteY144" fmla="*/ 283438 h 1648590"/>
                <a:gd name="connsiteX145" fmla="*/ 3604000 w 6512821"/>
                <a:gd name="connsiteY145" fmla="*/ 374162 h 1648590"/>
                <a:gd name="connsiteX146" fmla="*/ 4579686 w 6512821"/>
                <a:gd name="connsiteY146" fmla="*/ 1638365 h 1648590"/>
                <a:gd name="connsiteX147" fmla="*/ 4455291 w 6512821"/>
                <a:gd name="connsiteY147" fmla="*/ 1638365 h 1648590"/>
                <a:gd name="connsiteX148" fmla="*/ 4455291 w 6512821"/>
                <a:gd name="connsiteY148" fmla="*/ 1606778 h 1648590"/>
                <a:gd name="connsiteX149" fmla="*/ 4346201 w 6512821"/>
                <a:gd name="connsiteY149" fmla="*/ 1648590 h 1648590"/>
                <a:gd name="connsiteX150" fmla="*/ 4148406 w 6512821"/>
                <a:gd name="connsiteY150" fmla="*/ 1393678 h 1648590"/>
                <a:gd name="connsiteX151" fmla="*/ 4343140 w 6512821"/>
                <a:gd name="connsiteY151" fmla="*/ 1146973 h 1648590"/>
                <a:gd name="connsiteX152" fmla="*/ 4455291 w 6512821"/>
                <a:gd name="connsiteY152" fmla="*/ 1185724 h 1648590"/>
                <a:gd name="connsiteX153" fmla="*/ 4455291 w 6512821"/>
                <a:gd name="connsiteY153" fmla="*/ 1031761 h 1648590"/>
                <a:gd name="connsiteX154" fmla="*/ 4579686 w 6512821"/>
                <a:gd name="connsiteY154" fmla="*/ 969564 h 1648590"/>
                <a:gd name="connsiteX155" fmla="*/ 4579686 w 6512821"/>
                <a:gd name="connsiteY155" fmla="*/ 1638365 h 1648590"/>
                <a:gd name="connsiteX156" fmla="*/ 4455356 w 6512821"/>
                <a:gd name="connsiteY156" fmla="*/ 1489547 h 1648590"/>
                <a:gd name="connsiteX157" fmla="*/ 4455356 w 6512821"/>
                <a:gd name="connsiteY157" fmla="*/ 1306016 h 1648590"/>
                <a:gd name="connsiteX158" fmla="*/ 4368670 w 6512821"/>
                <a:gd name="connsiteY158" fmla="*/ 1264204 h 1648590"/>
                <a:gd name="connsiteX159" fmla="*/ 4278924 w 6512821"/>
                <a:gd name="connsiteY159" fmla="*/ 1389575 h 1648590"/>
                <a:gd name="connsiteX160" fmla="*/ 4371731 w 6512821"/>
                <a:gd name="connsiteY160" fmla="*/ 1531294 h 1648590"/>
                <a:gd name="connsiteX161" fmla="*/ 4455356 w 6512821"/>
                <a:gd name="connsiteY161" fmla="*/ 1489482 h 1648590"/>
                <a:gd name="connsiteX162" fmla="*/ 3945532 w 6512821"/>
                <a:gd name="connsiteY162" fmla="*/ 1157198 h 1648590"/>
                <a:gd name="connsiteX163" fmla="*/ 3945532 w 6512821"/>
                <a:gd name="connsiteY163" fmla="*/ 1638430 h 1648590"/>
                <a:gd name="connsiteX164" fmla="*/ 4069927 w 6512821"/>
                <a:gd name="connsiteY164" fmla="*/ 1638430 h 1648590"/>
                <a:gd name="connsiteX165" fmla="*/ 4069927 w 6512821"/>
                <a:gd name="connsiteY165" fmla="*/ 1157198 h 1648590"/>
                <a:gd name="connsiteX166" fmla="*/ 3945532 w 6512821"/>
                <a:gd name="connsiteY166" fmla="*/ 1157198 h 1648590"/>
                <a:gd name="connsiteX167" fmla="*/ 3873175 w 6512821"/>
                <a:gd name="connsiteY167" fmla="*/ 985911 h 1648590"/>
                <a:gd name="connsiteX168" fmla="*/ 3873175 w 6512821"/>
                <a:gd name="connsiteY168" fmla="*/ 1085817 h 1648590"/>
                <a:gd name="connsiteX169" fmla="*/ 3812019 w 6512821"/>
                <a:gd name="connsiteY169" fmla="*/ 1076634 h 1648590"/>
                <a:gd name="connsiteX170" fmla="*/ 3760047 w 6512821"/>
                <a:gd name="connsiteY170" fmla="*/ 1118447 h 1648590"/>
                <a:gd name="connsiteX171" fmla="*/ 3760047 w 6512821"/>
                <a:gd name="connsiteY171" fmla="*/ 1157198 h 1648590"/>
                <a:gd name="connsiteX172" fmla="*/ 3863015 w 6512821"/>
                <a:gd name="connsiteY172" fmla="*/ 1157198 h 1648590"/>
                <a:gd name="connsiteX173" fmla="*/ 3863015 w 6512821"/>
                <a:gd name="connsiteY173" fmla="*/ 1273452 h 1648590"/>
                <a:gd name="connsiteX174" fmla="*/ 3760047 w 6512821"/>
                <a:gd name="connsiteY174" fmla="*/ 1273452 h 1648590"/>
                <a:gd name="connsiteX175" fmla="*/ 3760047 w 6512821"/>
                <a:gd name="connsiteY175" fmla="*/ 1638430 h 1648590"/>
                <a:gd name="connsiteX176" fmla="*/ 3635652 w 6512821"/>
                <a:gd name="connsiteY176" fmla="*/ 1638430 h 1648590"/>
                <a:gd name="connsiteX177" fmla="*/ 3635652 w 6512821"/>
                <a:gd name="connsiteY177" fmla="*/ 1273452 h 1648590"/>
                <a:gd name="connsiteX178" fmla="*/ 3568375 w 6512821"/>
                <a:gd name="connsiteY178" fmla="*/ 1273452 h 1648590"/>
                <a:gd name="connsiteX179" fmla="*/ 3568375 w 6512821"/>
                <a:gd name="connsiteY179" fmla="*/ 1157198 h 1648590"/>
                <a:gd name="connsiteX180" fmla="*/ 3635652 w 6512821"/>
                <a:gd name="connsiteY180" fmla="*/ 1157198 h 1648590"/>
                <a:gd name="connsiteX181" fmla="*/ 3635652 w 6512821"/>
                <a:gd name="connsiteY181" fmla="*/ 1099104 h 1648590"/>
                <a:gd name="connsiteX182" fmla="*/ 3782451 w 6512821"/>
                <a:gd name="connsiteY182" fmla="*/ 972690 h 1648590"/>
                <a:gd name="connsiteX183" fmla="*/ 3873175 w 6512821"/>
                <a:gd name="connsiteY183" fmla="*/ 985976 h 1648590"/>
                <a:gd name="connsiteX184" fmla="*/ 3507154 w 6512821"/>
                <a:gd name="connsiteY184" fmla="*/ 1638365 h 1648590"/>
                <a:gd name="connsiteX185" fmla="*/ 3382759 w 6512821"/>
                <a:gd name="connsiteY185" fmla="*/ 1638365 h 1648590"/>
                <a:gd name="connsiteX186" fmla="*/ 3382759 w 6512821"/>
                <a:gd name="connsiteY186" fmla="*/ 1376355 h 1648590"/>
                <a:gd name="connsiteX187" fmla="*/ 3300177 w 6512821"/>
                <a:gd name="connsiteY187" fmla="*/ 1264204 h 1648590"/>
                <a:gd name="connsiteX188" fmla="*/ 3216552 w 6512821"/>
                <a:gd name="connsiteY188" fmla="*/ 1373293 h 1648590"/>
                <a:gd name="connsiteX189" fmla="*/ 3216552 w 6512821"/>
                <a:gd name="connsiteY189" fmla="*/ 1638365 h 1648590"/>
                <a:gd name="connsiteX190" fmla="*/ 3092157 w 6512821"/>
                <a:gd name="connsiteY190" fmla="*/ 1638365 h 1648590"/>
                <a:gd name="connsiteX191" fmla="*/ 3092157 w 6512821"/>
                <a:gd name="connsiteY191" fmla="*/ 1157133 h 1648590"/>
                <a:gd name="connsiteX192" fmla="*/ 3216552 w 6512821"/>
                <a:gd name="connsiteY192" fmla="*/ 1157133 h 1648590"/>
                <a:gd name="connsiteX193" fmla="*/ 3216552 w 6512821"/>
                <a:gd name="connsiteY193" fmla="*/ 1189762 h 1648590"/>
                <a:gd name="connsiteX194" fmla="*/ 3333783 w 6512821"/>
                <a:gd name="connsiteY194" fmla="*/ 1146973 h 1648590"/>
                <a:gd name="connsiteX195" fmla="*/ 3507089 w 6512821"/>
                <a:gd name="connsiteY195" fmla="*/ 1366195 h 1648590"/>
                <a:gd name="connsiteX196" fmla="*/ 3507089 w 6512821"/>
                <a:gd name="connsiteY196" fmla="*/ 1638430 h 1648590"/>
                <a:gd name="connsiteX197" fmla="*/ 2792437 w 6512821"/>
                <a:gd name="connsiteY197" fmla="*/ 1146973 h 1648590"/>
                <a:gd name="connsiteX198" fmla="*/ 2567094 w 6512821"/>
                <a:gd name="connsiteY198" fmla="*/ 1397782 h 1648590"/>
                <a:gd name="connsiteX199" fmla="*/ 2792437 w 6512821"/>
                <a:gd name="connsiteY199" fmla="*/ 1648590 h 1648590"/>
                <a:gd name="connsiteX200" fmla="*/ 3017781 w 6512821"/>
                <a:gd name="connsiteY200" fmla="*/ 1397782 h 1648590"/>
                <a:gd name="connsiteX201" fmla="*/ 2792437 w 6512821"/>
                <a:gd name="connsiteY201" fmla="*/ 1146973 h 1648590"/>
                <a:gd name="connsiteX202" fmla="*/ 2792437 w 6512821"/>
                <a:gd name="connsiteY202" fmla="*/ 1528299 h 1648590"/>
                <a:gd name="connsiteX203" fmla="*/ 2695592 w 6512821"/>
                <a:gd name="connsiteY203" fmla="*/ 1397782 h 1648590"/>
                <a:gd name="connsiteX204" fmla="*/ 2792437 w 6512821"/>
                <a:gd name="connsiteY204" fmla="*/ 1266288 h 1648590"/>
                <a:gd name="connsiteX205" fmla="*/ 2889283 w 6512821"/>
                <a:gd name="connsiteY205" fmla="*/ 1397782 h 1648590"/>
                <a:gd name="connsiteX206" fmla="*/ 2792437 w 6512821"/>
                <a:gd name="connsiteY206" fmla="*/ 1528299 h 1648590"/>
                <a:gd name="connsiteX207" fmla="*/ 2446802 w 6512821"/>
                <a:gd name="connsiteY207" fmla="*/ 1467143 h 1648590"/>
                <a:gd name="connsiteX208" fmla="*/ 2526323 w 6512821"/>
                <a:gd name="connsiteY208" fmla="*/ 1542561 h 1648590"/>
                <a:gd name="connsiteX209" fmla="*/ 2334651 w 6512821"/>
                <a:gd name="connsiteY209" fmla="*/ 1648590 h 1648590"/>
                <a:gd name="connsiteX210" fmla="*/ 2106246 w 6512821"/>
                <a:gd name="connsiteY210" fmla="*/ 1398823 h 1648590"/>
                <a:gd name="connsiteX211" fmla="*/ 2336670 w 6512821"/>
                <a:gd name="connsiteY211" fmla="*/ 1146973 h 1648590"/>
                <a:gd name="connsiteX212" fmla="*/ 2525281 w 6512821"/>
                <a:gd name="connsiteY212" fmla="*/ 1250983 h 1648590"/>
                <a:gd name="connsiteX213" fmla="*/ 2443741 w 6512821"/>
                <a:gd name="connsiteY213" fmla="*/ 1333565 h 1648590"/>
                <a:gd name="connsiteX214" fmla="*/ 2335693 w 6512821"/>
                <a:gd name="connsiteY214" fmla="*/ 1266288 h 1648590"/>
                <a:gd name="connsiteX215" fmla="*/ 2234744 w 6512821"/>
                <a:gd name="connsiteY215" fmla="*/ 1396804 h 1648590"/>
                <a:gd name="connsiteX216" fmla="*/ 2336670 w 6512821"/>
                <a:gd name="connsiteY216" fmla="*/ 1528299 h 1648590"/>
                <a:gd name="connsiteX217" fmla="*/ 2446802 w 6512821"/>
                <a:gd name="connsiteY217" fmla="*/ 1467143 h 1648590"/>
                <a:gd name="connsiteX218" fmla="*/ 1803530 w 6512821"/>
                <a:gd name="connsiteY218" fmla="*/ 1638365 h 1648590"/>
                <a:gd name="connsiteX219" fmla="*/ 1679135 w 6512821"/>
                <a:gd name="connsiteY219" fmla="*/ 1638365 h 1648590"/>
                <a:gd name="connsiteX220" fmla="*/ 1679135 w 6512821"/>
                <a:gd name="connsiteY220" fmla="*/ 1376355 h 1648590"/>
                <a:gd name="connsiteX221" fmla="*/ 1596553 w 6512821"/>
                <a:gd name="connsiteY221" fmla="*/ 1264204 h 1648590"/>
                <a:gd name="connsiteX222" fmla="*/ 1511951 w 6512821"/>
                <a:gd name="connsiteY222" fmla="*/ 1373293 h 1648590"/>
                <a:gd name="connsiteX223" fmla="*/ 1511951 w 6512821"/>
                <a:gd name="connsiteY223" fmla="*/ 1638365 h 1648590"/>
                <a:gd name="connsiteX224" fmla="*/ 1387557 w 6512821"/>
                <a:gd name="connsiteY224" fmla="*/ 1638365 h 1648590"/>
                <a:gd name="connsiteX225" fmla="*/ 1387557 w 6512821"/>
                <a:gd name="connsiteY225" fmla="*/ 1031761 h 1648590"/>
                <a:gd name="connsiteX226" fmla="*/ 1511951 w 6512821"/>
                <a:gd name="connsiteY226" fmla="*/ 969564 h 1648590"/>
                <a:gd name="connsiteX227" fmla="*/ 1511951 w 6512821"/>
                <a:gd name="connsiteY227" fmla="*/ 1189762 h 1648590"/>
                <a:gd name="connsiteX228" fmla="*/ 1632243 w 6512821"/>
                <a:gd name="connsiteY228" fmla="*/ 1146973 h 1648590"/>
                <a:gd name="connsiteX229" fmla="*/ 1803530 w 6512821"/>
                <a:gd name="connsiteY229" fmla="*/ 1366195 h 1648590"/>
                <a:gd name="connsiteX230" fmla="*/ 1803530 w 6512821"/>
                <a:gd name="connsiteY230" fmla="*/ 1638430 h 1648590"/>
                <a:gd name="connsiteX231" fmla="*/ 1311031 w 6512821"/>
                <a:gd name="connsiteY231" fmla="*/ 1493650 h 1648590"/>
                <a:gd name="connsiteX232" fmla="*/ 1292665 w 6512821"/>
                <a:gd name="connsiteY232" fmla="*/ 1619022 h 1648590"/>
                <a:gd name="connsiteX233" fmla="*/ 1173350 w 6512821"/>
                <a:gd name="connsiteY233" fmla="*/ 1648590 h 1648590"/>
                <a:gd name="connsiteX234" fmla="*/ 1043875 w 6512821"/>
                <a:gd name="connsiteY234" fmla="*/ 1504852 h 1648590"/>
                <a:gd name="connsiteX235" fmla="*/ 1043875 w 6512821"/>
                <a:gd name="connsiteY235" fmla="*/ 1273387 h 1648590"/>
                <a:gd name="connsiteX236" fmla="*/ 960250 w 6512821"/>
                <a:gd name="connsiteY236" fmla="*/ 1273387 h 1648590"/>
                <a:gd name="connsiteX237" fmla="*/ 960250 w 6512821"/>
                <a:gd name="connsiteY237" fmla="*/ 1157133 h 1648590"/>
                <a:gd name="connsiteX238" fmla="*/ 1043875 w 6512821"/>
                <a:gd name="connsiteY238" fmla="*/ 1157133 h 1648590"/>
                <a:gd name="connsiteX239" fmla="*/ 1043875 w 6512821"/>
                <a:gd name="connsiteY239" fmla="*/ 1031761 h 1648590"/>
                <a:gd name="connsiteX240" fmla="*/ 1168270 w 6512821"/>
                <a:gd name="connsiteY240" fmla="*/ 969564 h 1648590"/>
                <a:gd name="connsiteX241" fmla="*/ 1168270 w 6512821"/>
                <a:gd name="connsiteY241" fmla="*/ 1157133 h 1648590"/>
                <a:gd name="connsiteX242" fmla="*/ 1308947 w 6512821"/>
                <a:gd name="connsiteY242" fmla="*/ 1157133 h 1648590"/>
                <a:gd name="connsiteX243" fmla="*/ 1308947 w 6512821"/>
                <a:gd name="connsiteY243" fmla="*/ 1273387 h 1648590"/>
                <a:gd name="connsiteX244" fmla="*/ 1168270 w 6512821"/>
                <a:gd name="connsiteY244" fmla="*/ 1273387 h 1648590"/>
                <a:gd name="connsiteX245" fmla="*/ 1168270 w 6512821"/>
                <a:gd name="connsiteY245" fmla="*/ 1471181 h 1648590"/>
                <a:gd name="connsiteX246" fmla="*/ 1214120 w 6512821"/>
                <a:gd name="connsiteY246" fmla="*/ 1529275 h 1648590"/>
                <a:gd name="connsiteX247" fmla="*/ 1310966 w 6512821"/>
                <a:gd name="connsiteY247" fmla="*/ 1493585 h 1648590"/>
                <a:gd name="connsiteX248" fmla="*/ 767666 w 6512821"/>
                <a:gd name="connsiteY248" fmla="*/ 1157198 h 1648590"/>
                <a:gd name="connsiteX249" fmla="*/ 767666 w 6512821"/>
                <a:gd name="connsiteY249" fmla="*/ 1638430 h 1648590"/>
                <a:gd name="connsiteX250" fmla="*/ 892061 w 6512821"/>
                <a:gd name="connsiteY250" fmla="*/ 1638430 h 1648590"/>
                <a:gd name="connsiteX251" fmla="*/ 892061 w 6512821"/>
                <a:gd name="connsiteY251" fmla="*/ 1157198 h 1648590"/>
                <a:gd name="connsiteX252" fmla="*/ 767666 w 6512821"/>
                <a:gd name="connsiteY252" fmla="*/ 1157198 h 1648590"/>
                <a:gd name="connsiteX253" fmla="*/ 702408 w 6512821"/>
                <a:gd name="connsiteY253" fmla="*/ 1157198 h 1648590"/>
                <a:gd name="connsiteX254" fmla="*/ 550529 w 6512821"/>
                <a:gd name="connsiteY254" fmla="*/ 1638430 h 1648590"/>
                <a:gd name="connsiteX255" fmla="*/ 436359 w 6512821"/>
                <a:gd name="connsiteY255" fmla="*/ 1638430 h 1648590"/>
                <a:gd name="connsiteX256" fmla="*/ 354819 w 6512821"/>
                <a:gd name="connsiteY256" fmla="*/ 1345809 h 1648590"/>
                <a:gd name="connsiteX257" fmla="*/ 272236 w 6512821"/>
                <a:gd name="connsiteY257" fmla="*/ 1638430 h 1648590"/>
                <a:gd name="connsiteX258" fmla="*/ 158066 w 6512821"/>
                <a:gd name="connsiteY258" fmla="*/ 1638430 h 1648590"/>
                <a:gd name="connsiteX259" fmla="*/ 7099 w 6512821"/>
                <a:gd name="connsiteY259" fmla="*/ 1157198 h 1648590"/>
                <a:gd name="connsiteX260" fmla="*/ 145757 w 6512821"/>
                <a:gd name="connsiteY260" fmla="*/ 1157198 h 1648590"/>
                <a:gd name="connsiteX261" fmla="*/ 218114 w 6512821"/>
                <a:gd name="connsiteY261" fmla="*/ 1436533 h 1648590"/>
                <a:gd name="connsiteX262" fmla="*/ 299655 w 6512821"/>
                <a:gd name="connsiteY262" fmla="*/ 1157198 h 1648590"/>
                <a:gd name="connsiteX263" fmla="*/ 412848 w 6512821"/>
                <a:gd name="connsiteY263" fmla="*/ 1157198 h 1648590"/>
                <a:gd name="connsiteX264" fmla="*/ 494388 w 6512821"/>
                <a:gd name="connsiteY264" fmla="*/ 1436533 h 1648590"/>
                <a:gd name="connsiteX265" fmla="*/ 567788 w 6512821"/>
                <a:gd name="connsiteY265" fmla="*/ 1157198 h 1648590"/>
                <a:gd name="connsiteX266" fmla="*/ 702343 w 6512821"/>
                <a:gd name="connsiteY266" fmla="*/ 1157198 h 1648590"/>
                <a:gd name="connsiteX267" fmla="*/ 4436990 w 6512821"/>
                <a:gd name="connsiteY267" fmla="*/ 16282 h 1648590"/>
                <a:gd name="connsiteX268" fmla="*/ 4436990 w 6512821"/>
                <a:gd name="connsiteY268" fmla="*/ 115147 h 1648590"/>
                <a:gd name="connsiteX269" fmla="*/ 4374792 w 6512821"/>
                <a:gd name="connsiteY269" fmla="*/ 104921 h 1648590"/>
                <a:gd name="connsiteX270" fmla="*/ 4322820 w 6512821"/>
                <a:gd name="connsiteY270" fmla="*/ 144715 h 1648590"/>
                <a:gd name="connsiteX271" fmla="*/ 4322820 w 6512821"/>
                <a:gd name="connsiteY271" fmla="*/ 186527 h 1648590"/>
                <a:gd name="connsiteX272" fmla="*/ 4404361 w 6512821"/>
                <a:gd name="connsiteY272" fmla="*/ 186527 h 1648590"/>
                <a:gd name="connsiteX273" fmla="*/ 4404361 w 6512821"/>
                <a:gd name="connsiteY273" fmla="*/ 302781 h 1648590"/>
                <a:gd name="connsiteX274" fmla="*/ 4322820 w 6512821"/>
                <a:gd name="connsiteY274" fmla="*/ 302781 h 1648590"/>
                <a:gd name="connsiteX275" fmla="*/ 4322820 w 6512821"/>
                <a:gd name="connsiteY275" fmla="*/ 667759 h 1648590"/>
                <a:gd name="connsiteX276" fmla="*/ 4202528 w 6512821"/>
                <a:gd name="connsiteY276" fmla="*/ 667759 h 1648590"/>
                <a:gd name="connsiteX277" fmla="*/ 4202528 w 6512821"/>
                <a:gd name="connsiteY277" fmla="*/ 302781 h 1648590"/>
                <a:gd name="connsiteX278" fmla="*/ 4143392 w 6512821"/>
                <a:gd name="connsiteY278" fmla="*/ 302781 h 1648590"/>
                <a:gd name="connsiteX279" fmla="*/ 4143392 w 6512821"/>
                <a:gd name="connsiteY279" fmla="*/ 186527 h 1648590"/>
                <a:gd name="connsiteX280" fmla="*/ 4202528 w 6512821"/>
                <a:gd name="connsiteY280" fmla="*/ 186527 h 1648590"/>
                <a:gd name="connsiteX281" fmla="*/ 4202528 w 6512821"/>
                <a:gd name="connsiteY281" fmla="*/ 128433 h 1648590"/>
                <a:gd name="connsiteX282" fmla="*/ 4348350 w 6512821"/>
                <a:gd name="connsiteY282" fmla="*/ 2019 h 1648590"/>
                <a:gd name="connsiteX283" fmla="*/ 4437055 w 6512821"/>
                <a:gd name="connsiteY283" fmla="*/ 16282 h 1648590"/>
                <a:gd name="connsiteX284" fmla="*/ 2957602 w 6512821"/>
                <a:gd name="connsiteY284" fmla="*/ 527083 h 1648590"/>
                <a:gd name="connsiteX285" fmla="*/ 2940278 w 6512821"/>
                <a:gd name="connsiteY285" fmla="*/ 649458 h 1648590"/>
                <a:gd name="connsiteX286" fmla="*/ 2843433 w 6512821"/>
                <a:gd name="connsiteY286" fmla="*/ 677984 h 1648590"/>
                <a:gd name="connsiteX287" fmla="*/ 2712916 w 6512821"/>
                <a:gd name="connsiteY287" fmla="*/ 535224 h 1648590"/>
                <a:gd name="connsiteX288" fmla="*/ 2712916 w 6512821"/>
                <a:gd name="connsiteY288" fmla="*/ 301739 h 1648590"/>
                <a:gd name="connsiteX289" fmla="*/ 2629291 w 6512821"/>
                <a:gd name="connsiteY289" fmla="*/ 301739 h 1648590"/>
                <a:gd name="connsiteX290" fmla="*/ 2629291 w 6512821"/>
                <a:gd name="connsiteY290" fmla="*/ 186527 h 1648590"/>
                <a:gd name="connsiteX291" fmla="*/ 2712916 w 6512821"/>
                <a:gd name="connsiteY291" fmla="*/ 186527 h 1648590"/>
                <a:gd name="connsiteX292" fmla="*/ 2712916 w 6512821"/>
                <a:gd name="connsiteY292" fmla="*/ 61155 h 1648590"/>
                <a:gd name="connsiteX293" fmla="*/ 2833208 w 6512821"/>
                <a:gd name="connsiteY293" fmla="*/ 0 h 1648590"/>
                <a:gd name="connsiteX294" fmla="*/ 2833208 w 6512821"/>
                <a:gd name="connsiteY294" fmla="*/ 186592 h 1648590"/>
                <a:gd name="connsiteX295" fmla="*/ 2945358 w 6512821"/>
                <a:gd name="connsiteY295" fmla="*/ 186592 h 1648590"/>
                <a:gd name="connsiteX296" fmla="*/ 2945358 w 6512821"/>
                <a:gd name="connsiteY296" fmla="*/ 301804 h 1648590"/>
                <a:gd name="connsiteX297" fmla="*/ 2833208 w 6512821"/>
                <a:gd name="connsiteY297" fmla="*/ 301804 h 1648590"/>
                <a:gd name="connsiteX298" fmla="*/ 2833208 w 6512821"/>
                <a:gd name="connsiteY298" fmla="*/ 503701 h 1648590"/>
                <a:gd name="connsiteX299" fmla="*/ 2880100 w 6512821"/>
                <a:gd name="connsiteY299" fmla="*/ 560819 h 1648590"/>
                <a:gd name="connsiteX300" fmla="*/ 2957602 w 6512821"/>
                <a:gd name="connsiteY300" fmla="*/ 527148 h 1648590"/>
                <a:gd name="connsiteX301" fmla="*/ 2397891 w 6512821"/>
                <a:gd name="connsiteY301" fmla="*/ 426134 h 1648590"/>
                <a:gd name="connsiteX302" fmla="*/ 2395872 w 6512821"/>
                <a:gd name="connsiteY302" fmla="*/ 467946 h 1648590"/>
                <a:gd name="connsiteX303" fmla="*/ 2114453 w 6512821"/>
                <a:gd name="connsiteY303" fmla="*/ 467946 h 1648590"/>
                <a:gd name="connsiteX304" fmla="*/ 2218462 w 6512821"/>
                <a:gd name="connsiteY304" fmla="*/ 562773 h 1648590"/>
                <a:gd name="connsiteX305" fmla="*/ 2301045 w 6512821"/>
                <a:gd name="connsiteY305" fmla="*/ 529102 h 1648590"/>
                <a:gd name="connsiteX306" fmla="*/ 2386689 w 6512821"/>
                <a:gd name="connsiteY306" fmla="*/ 601459 h 1648590"/>
                <a:gd name="connsiteX307" fmla="*/ 2210321 w 6512821"/>
                <a:gd name="connsiteY307" fmla="*/ 677919 h 1648590"/>
                <a:gd name="connsiteX308" fmla="*/ 1991100 w 6512821"/>
                <a:gd name="connsiteY308" fmla="*/ 429130 h 1648590"/>
                <a:gd name="connsiteX309" fmla="*/ 2205176 w 6512821"/>
                <a:gd name="connsiteY309" fmla="*/ 176302 h 1648590"/>
                <a:gd name="connsiteX310" fmla="*/ 2397891 w 6512821"/>
                <a:gd name="connsiteY310" fmla="*/ 426069 h 1648590"/>
                <a:gd name="connsiteX311" fmla="*/ 2116472 w 6512821"/>
                <a:gd name="connsiteY311" fmla="*/ 374162 h 1648590"/>
                <a:gd name="connsiteX312" fmla="*/ 2287759 w 6512821"/>
                <a:gd name="connsiteY312" fmla="*/ 374162 h 1648590"/>
                <a:gd name="connsiteX313" fmla="*/ 2199054 w 6512821"/>
                <a:gd name="connsiteY313" fmla="*/ 283438 h 1648590"/>
                <a:gd name="connsiteX314" fmla="*/ 2116472 w 6512821"/>
                <a:gd name="connsiteY314" fmla="*/ 374162 h 1648590"/>
                <a:gd name="connsiteX315" fmla="*/ 1933982 w 6512821"/>
                <a:gd name="connsiteY315" fmla="*/ 428218 h 1648590"/>
                <a:gd name="connsiteX316" fmla="*/ 1746413 w 6512821"/>
                <a:gd name="connsiteY316" fmla="*/ 677984 h 1648590"/>
                <a:gd name="connsiteX317" fmla="*/ 1639342 w 6512821"/>
                <a:gd name="connsiteY317" fmla="*/ 638191 h 1648590"/>
                <a:gd name="connsiteX318" fmla="*/ 1639342 w 6512821"/>
                <a:gd name="connsiteY318" fmla="*/ 784990 h 1648590"/>
                <a:gd name="connsiteX319" fmla="*/ 1519050 w 6512821"/>
                <a:gd name="connsiteY319" fmla="*/ 845169 h 1648590"/>
                <a:gd name="connsiteX320" fmla="*/ 1519050 w 6512821"/>
                <a:gd name="connsiteY320" fmla="*/ 186527 h 1648590"/>
                <a:gd name="connsiteX321" fmla="*/ 1639342 w 6512821"/>
                <a:gd name="connsiteY321" fmla="*/ 186527 h 1648590"/>
                <a:gd name="connsiteX322" fmla="*/ 1639342 w 6512821"/>
                <a:gd name="connsiteY322" fmla="*/ 219157 h 1648590"/>
                <a:gd name="connsiteX323" fmla="*/ 1748432 w 6512821"/>
                <a:gd name="connsiteY323" fmla="*/ 176367 h 1648590"/>
                <a:gd name="connsiteX324" fmla="*/ 1933982 w 6512821"/>
                <a:gd name="connsiteY324" fmla="*/ 428218 h 1648590"/>
                <a:gd name="connsiteX325" fmla="*/ 1809587 w 6512821"/>
                <a:gd name="connsiteY325" fmla="*/ 434340 h 1648590"/>
                <a:gd name="connsiteX326" fmla="*/ 1718864 w 6512821"/>
                <a:gd name="connsiteY326" fmla="*/ 292621 h 1648590"/>
                <a:gd name="connsiteX327" fmla="*/ 1639342 w 6512821"/>
                <a:gd name="connsiteY327" fmla="*/ 335410 h 1648590"/>
                <a:gd name="connsiteX328" fmla="*/ 1639342 w 6512821"/>
                <a:gd name="connsiteY328" fmla="*/ 518942 h 1648590"/>
                <a:gd name="connsiteX329" fmla="*/ 1726028 w 6512821"/>
                <a:gd name="connsiteY329" fmla="*/ 562773 h 1648590"/>
                <a:gd name="connsiteX330" fmla="*/ 1809652 w 6512821"/>
                <a:gd name="connsiteY330" fmla="*/ 434340 h 1648590"/>
                <a:gd name="connsiteX331" fmla="*/ 1435426 w 6512821"/>
                <a:gd name="connsiteY331" fmla="*/ 667825 h 1648590"/>
                <a:gd name="connsiteX332" fmla="*/ 1315134 w 6512821"/>
                <a:gd name="connsiteY332" fmla="*/ 667825 h 1648590"/>
                <a:gd name="connsiteX333" fmla="*/ 1315134 w 6512821"/>
                <a:gd name="connsiteY333" fmla="*/ 634153 h 1648590"/>
                <a:gd name="connsiteX334" fmla="*/ 1202983 w 6512821"/>
                <a:gd name="connsiteY334" fmla="*/ 677984 h 1648590"/>
                <a:gd name="connsiteX335" fmla="*/ 1033715 w 6512821"/>
                <a:gd name="connsiteY335" fmla="*/ 510800 h 1648590"/>
                <a:gd name="connsiteX336" fmla="*/ 1221284 w 6512821"/>
                <a:gd name="connsiteY336" fmla="*/ 348696 h 1648590"/>
                <a:gd name="connsiteX337" fmla="*/ 1315069 w 6512821"/>
                <a:gd name="connsiteY337" fmla="*/ 368040 h 1648590"/>
                <a:gd name="connsiteX338" fmla="*/ 1315069 w 6512821"/>
                <a:gd name="connsiteY338" fmla="*/ 342574 h 1648590"/>
                <a:gd name="connsiteX339" fmla="*/ 1232486 w 6512821"/>
                <a:gd name="connsiteY339" fmla="*/ 279335 h 1648590"/>
                <a:gd name="connsiteX340" fmla="*/ 1121378 w 6512821"/>
                <a:gd name="connsiteY340" fmla="*/ 310922 h 1648590"/>
                <a:gd name="connsiteX341" fmla="*/ 1073443 w 6512821"/>
                <a:gd name="connsiteY341" fmla="*/ 225278 h 1648590"/>
                <a:gd name="connsiteX342" fmla="*/ 1239650 w 6512821"/>
                <a:gd name="connsiteY342" fmla="*/ 176367 h 1648590"/>
                <a:gd name="connsiteX343" fmla="*/ 1435426 w 6512821"/>
                <a:gd name="connsiteY343" fmla="*/ 344593 h 1648590"/>
                <a:gd name="connsiteX344" fmla="*/ 1435426 w 6512821"/>
                <a:gd name="connsiteY344" fmla="*/ 667759 h 1648590"/>
                <a:gd name="connsiteX345" fmla="*/ 1315134 w 6512821"/>
                <a:gd name="connsiteY345" fmla="*/ 527083 h 1648590"/>
                <a:gd name="connsiteX346" fmla="*/ 1315134 w 6512821"/>
                <a:gd name="connsiteY346" fmla="*/ 465927 h 1648590"/>
                <a:gd name="connsiteX347" fmla="*/ 1234570 w 6512821"/>
                <a:gd name="connsiteY347" fmla="*/ 445542 h 1648590"/>
                <a:gd name="connsiteX348" fmla="*/ 1156091 w 6512821"/>
                <a:gd name="connsiteY348" fmla="*/ 507740 h 1648590"/>
                <a:gd name="connsiteX349" fmla="*/ 1224410 w 6512821"/>
                <a:gd name="connsiteY349" fmla="*/ 574040 h 1648590"/>
                <a:gd name="connsiteX350" fmla="*/ 1315134 w 6512821"/>
                <a:gd name="connsiteY350" fmla="*/ 527148 h 1648590"/>
                <a:gd name="connsiteX351" fmla="*/ 967480 w 6512821"/>
                <a:gd name="connsiteY351" fmla="*/ 667825 h 1648590"/>
                <a:gd name="connsiteX352" fmla="*/ 847188 w 6512821"/>
                <a:gd name="connsiteY352" fmla="*/ 667825 h 1648590"/>
                <a:gd name="connsiteX353" fmla="*/ 847188 w 6512821"/>
                <a:gd name="connsiteY353" fmla="*/ 405814 h 1648590"/>
                <a:gd name="connsiteX354" fmla="*/ 765647 w 6512821"/>
                <a:gd name="connsiteY354" fmla="*/ 292621 h 1648590"/>
                <a:gd name="connsiteX355" fmla="*/ 683065 w 6512821"/>
                <a:gd name="connsiteY355" fmla="*/ 402753 h 1648590"/>
                <a:gd name="connsiteX356" fmla="*/ 683065 w 6512821"/>
                <a:gd name="connsiteY356" fmla="*/ 667825 h 1648590"/>
                <a:gd name="connsiteX357" fmla="*/ 562773 w 6512821"/>
                <a:gd name="connsiteY357" fmla="*/ 667825 h 1648590"/>
                <a:gd name="connsiteX358" fmla="*/ 562773 w 6512821"/>
                <a:gd name="connsiteY358" fmla="*/ 61221 h 1648590"/>
                <a:gd name="connsiteX359" fmla="*/ 683065 w 6512821"/>
                <a:gd name="connsiteY359" fmla="*/ 65 h 1648590"/>
                <a:gd name="connsiteX360" fmla="*/ 683065 w 6512821"/>
                <a:gd name="connsiteY360" fmla="*/ 220264 h 1648590"/>
                <a:gd name="connsiteX361" fmla="*/ 796258 w 6512821"/>
                <a:gd name="connsiteY361" fmla="*/ 176432 h 1648590"/>
                <a:gd name="connsiteX362" fmla="*/ 967545 w 6512821"/>
                <a:gd name="connsiteY362" fmla="*/ 396631 h 1648590"/>
                <a:gd name="connsiteX363" fmla="*/ 967545 w 6512821"/>
                <a:gd name="connsiteY363" fmla="*/ 667825 h 1648590"/>
                <a:gd name="connsiteX364" fmla="*/ 496472 w 6512821"/>
                <a:gd name="connsiteY364" fmla="*/ 475110 h 1648590"/>
                <a:gd name="connsiteX365" fmla="*/ 255889 w 6512821"/>
                <a:gd name="connsiteY365" fmla="*/ 677984 h 1648590"/>
                <a:gd name="connsiteX366" fmla="*/ 0 w 6512821"/>
                <a:gd name="connsiteY366" fmla="*/ 562773 h 1648590"/>
                <a:gd name="connsiteX367" fmla="*/ 89747 w 6512821"/>
                <a:gd name="connsiteY367" fmla="*/ 483251 h 1648590"/>
                <a:gd name="connsiteX368" fmla="*/ 252893 w 6512821"/>
                <a:gd name="connsiteY368" fmla="*/ 556651 h 1648590"/>
                <a:gd name="connsiteX369" fmla="*/ 367063 w 6512821"/>
                <a:gd name="connsiteY369" fmla="*/ 478171 h 1648590"/>
                <a:gd name="connsiteX370" fmla="*/ 329353 w 6512821"/>
                <a:gd name="connsiteY370" fmla="*/ 426199 h 1648590"/>
                <a:gd name="connsiteX371" fmla="*/ 225344 w 6512821"/>
                <a:gd name="connsiteY371" fmla="*/ 394612 h 1648590"/>
                <a:gd name="connsiteX372" fmla="*/ 79522 w 6512821"/>
                <a:gd name="connsiteY372" fmla="*/ 335475 h 1648590"/>
                <a:gd name="connsiteX373" fmla="*/ 24488 w 6512821"/>
                <a:gd name="connsiteY373" fmla="*/ 207042 h 1648590"/>
                <a:gd name="connsiteX374" fmla="*/ 254912 w 6512821"/>
                <a:gd name="connsiteY374" fmla="*/ 16412 h 1648590"/>
                <a:gd name="connsiteX375" fmla="*/ 482274 w 6512821"/>
                <a:gd name="connsiteY375" fmla="*/ 115277 h 1648590"/>
                <a:gd name="connsiteX376" fmla="*/ 392528 w 6512821"/>
                <a:gd name="connsiteY376" fmla="*/ 202939 h 1648590"/>
                <a:gd name="connsiteX377" fmla="*/ 246706 w 6512821"/>
                <a:gd name="connsiteY377" fmla="*/ 137681 h 1648590"/>
                <a:gd name="connsiteX378" fmla="*/ 152921 w 6512821"/>
                <a:gd name="connsiteY378" fmla="*/ 199878 h 1648590"/>
                <a:gd name="connsiteX379" fmla="*/ 179428 w 6512821"/>
                <a:gd name="connsiteY379" fmla="*/ 243710 h 1648590"/>
                <a:gd name="connsiteX380" fmla="*/ 282396 w 6512821"/>
                <a:gd name="connsiteY380" fmla="*/ 277381 h 1648590"/>
                <a:gd name="connsiteX381" fmla="*/ 438378 w 6512821"/>
                <a:gd name="connsiteY381" fmla="*/ 341598 h 1648590"/>
                <a:gd name="connsiteX382" fmla="*/ 496472 w 6512821"/>
                <a:gd name="connsiteY382" fmla="*/ 475176 h 1648590"/>
                <a:gd name="connsiteX383" fmla="*/ 6100885 w 6512821"/>
                <a:gd name="connsiteY383" fmla="*/ 208996 h 1648590"/>
                <a:gd name="connsiteX384" fmla="*/ 6051778 w 6512821"/>
                <a:gd name="connsiteY384" fmla="*/ 329288 h 1648590"/>
                <a:gd name="connsiteX385" fmla="*/ 5982482 w 6512821"/>
                <a:gd name="connsiteY385" fmla="*/ 299720 h 1648590"/>
                <a:gd name="connsiteX386" fmla="*/ 5911232 w 6512821"/>
                <a:gd name="connsiteY386" fmla="*/ 405749 h 1648590"/>
                <a:gd name="connsiteX387" fmla="*/ 5911232 w 6512821"/>
                <a:gd name="connsiteY387" fmla="*/ 667759 h 1648590"/>
                <a:gd name="connsiteX388" fmla="*/ 5790940 w 6512821"/>
                <a:gd name="connsiteY388" fmla="*/ 667759 h 1648590"/>
                <a:gd name="connsiteX389" fmla="*/ 5790940 w 6512821"/>
                <a:gd name="connsiteY389" fmla="*/ 186527 h 1648590"/>
                <a:gd name="connsiteX390" fmla="*/ 5911232 w 6512821"/>
                <a:gd name="connsiteY390" fmla="*/ 186527 h 1648590"/>
                <a:gd name="connsiteX391" fmla="*/ 5911232 w 6512821"/>
                <a:gd name="connsiteY391" fmla="*/ 220198 h 1648590"/>
                <a:gd name="connsiteX392" fmla="*/ 6012181 w 6512821"/>
                <a:gd name="connsiteY392" fmla="*/ 176367 h 1648590"/>
                <a:gd name="connsiteX393" fmla="*/ 6100885 w 6512821"/>
                <a:gd name="connsiteY393" fmla="*/ 208996 h 1648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</a:cxnLst>
              <a:rect l="l" t="t" r="r" b="b"/>
              <a:pathLst>
                <a:path w="6512821" h="1648590">
                  <a:moveTo>
                    <a:pt x="5071143" y="1396740"/>
                  </a:moveTo>
                  <a:cubicBezTo>
                    <a:pt x="5071143" y="1412045"/>
                    <a:pt x="5070101" y="1431388"/>
                    <a:pt x="5069124" y="1438552"/>
                  </a:cubicBezTo>
                  <a:lnTo>
                    <a:pt x="4777545" y="1438552"/>
                  </a:lnTo>
                  <a:cubicBezTo>
                    <a:pt x="4782625" y="1505829"/>
                    <a:pt x="4828541" y="1533378"/>
                    <a:pt x="4880513" y="1533378"/>
                  </a:cubicBezTo>
                  <a:cubicBezTo>
                    <a:pt x="4911123" y="1533378"/>
                    <a:pt x="4939649" y="1524196"/>
                    <a:pt x="4964137" y="1499707"/>
                  </a:cubicBezTo>
                  <a:lnTo>
                    <a:pt x="5049781" y="1572065"/>
                  </a:lnTo>
                  <a:cubicBezTo>
                    <a:pt x="5004908" y="1628140"/>
                    <a:pt x="4936588" y="1648525"/>
                    <a:pt x="4875433" y="1648525"/>
                  </a:cubicBezTo>
                  <a:cubicBezTo>
                    <a:pt x="4734756" y="1648525"/>
                    <a:pt x="4654192" y="1540478"/>
                    <a:pt x="4654192" y="1398759"/>
                  </a:cubicBezTo>
                  <a:cubicBezTo>
                    <a:pt x="4654192" y="1244795"/>
                    <a:pt x="4749019" y="1146908"/>
                    <a:pt x="4867292" y="1146908"/>
                  </a:cubicBezTo>
                  <a:cubicBezTo>
                    <a:pt x="4993706" y="1146908"/>
                    <a:pt x="5071208" y="1258016"/>
                    <a:pt x="5071208" y="1396675"/>
                  </a:cubicBezTo>
                  <a:close/>
                  <a:moveTo>
                    <a:pt x="4779564" y="1344767"/>
                  </a:moveTo>
                  <a:lnTo>
                    <a:pt x="4950851" y="1344767"/>
                  </a:lnTo>
                  <a:cubicBezTo>
                    <a:pt x="4946748" y="1290711"/>
                    <a:pt x="4912100" y="1254044"/>
                    <a:pt x="4863189" y="1254044"/>
                  </a:cubicBezTo>
                  <a:cubicBezTo>
                    <a:pt x="4805094" y="1254044"/>
                    <a:pt x="4782625" y="1305039"/>
                    <a:pt x="4779564" y="1344767"/>
                  </a:cubicBezTo>
                  <a:close/>
                  <a:moveTo>
                    <a:pt x="6512756" y="1396740"/>
                  </a:moveTo>
                  <a:cubicBezTo>
                    <a:pt x="6512756" y="1412045"/>
                    <a:pt x="6511714" y="1431388"/>
                    <a:pt x="6510737" y="1438552"/>
                  </a:cubicBezTo>
                  <a:lnTo>
                    <a:pt x="6219158" y="1438552"/>
                  </a:lnTo>
                  <a:cubicBezTo>
                    <a:pt x="6224238" y="1505829"/>
                    <a:pt x="6270154" y="1533378"/>
                    <a:pt x="6322126" y="1533378"/>
                  </a:cubicBezTo>
                  <a:cubicBezTo>
                    <a:pt x="6352736" y="1533378"/>
                    <a:pt x="6381262" y="1524196"/>
                    <a:pt x="6405751" y="1499707"/>
                  </a:cubicBezTo>
                  <a:lnTo>
                    <a:pt x="6491394" y="1572065"/>
                  </a:lnTo>
                  <a:cubicBezTo>
                    <a:pt x="6446521" y="1628140"/>
                    <a:pt x="6378201" y="1648525"/>
                    <a:pt x="6317046" y="1648525"/>
                  </a:cubicBezTo>
                  <a:cubicBezTo>
                    <a:pt x="6176369" y="1648525"/>
                    <a:pt x="6095805" y="1540478"/>
                    <a:pt x="6095805" y="1398759"/>
                  </a:cubicBezTo>
                  <a:cubicBezTo>
                    <a:pt x="6095805" y="1244795"/>
                    <a:pt x="6190632" y="1146908"/>
                    <a:pt x="6308905" y="1146908"/>
                  </a:cubicBezTo>
                  <a:cubicBezTo>
                    <a:pt x="6435319" y="1146908"/>
                    <a:pt x="6512821" y="1258016"/>
                    <a:pt x="6512821" y="1396675"/>
                  </a:cubicBezTo>
                  <a:close/>
                  <a:moveTo>
                    <a:pt x="6221177" y="1344767"/>
                  </a:moveTo>
                  <a:lnTo>
                    <a:pt x="6392465" y="1344767"/>
                  </a:lnTo>
                  <a:cubicBezTo>
                    <a:pt x="6388361" y="1290711"/>
                    <a:pt x="6353713" y="1254044"/>
                    <a:pt x="6304802" y="1254044"/>
                  </a:cubicBezTo>
                  <a:cubicBezTo>
                    <a:pt x="6246708" y="1254044"/>
                    <a:pt x="6224238" y="1305039"/>
                    <a:pt x="6221177" y="1344767"/>
                  </a:cubicBezTo>
                  <a:close/>
                  <a:moveTo>
                    <a:pt x="5978509" y="1467143"/>
                  </a:moveTo>
                  <a:lnTo>
                    <a:pt x="6058031" y="1542561"/>
                  </a:lnTo>
                  <a:cubicBezTo>
                    <a:pt x="6017261" y="1594534"/>
                    <a:pt x="5961185" y="1648590"/>
                    <a:pt x="5866359" y="1648590"/>
                  </a:cubicBezTo>
                  <a:cubicBezTo>
                    <a:pt x="5734865" y="1648590"/>
                    <a:pt x="5637954" y="1543604"/>
                    <a:pt x="5637954" y="1398823"/>
                  </a:cubicBezTo>
                  <a:cubicBezTo>
                    <a:pt x="5637954" y="1266288"/>
                    <a:pt x="5718518" y="1146973"/>
                    <a:pt x="5868378" y="1146973"/>
                  </a:cubicBezTo>
                  <a:cubicBezTo>
                    <a:pt x="5954021" y="1146973"/>
                    <a:pt x="6013157" y="1185724"/>
                    <a:pt x="6056989" y="1250983"/>
                  </a:cubicBezTo>
                  <a:lnTo>
                    <a:pt x="5975448" y="1333565"/>
                  </a:lnTo>
                  <a:cubicBezTo>
                    <a:pt x="5946922" y="1295856"/>
                    <a:pt x="5916312" y="1266288"/>
                    <a:pt x="5867401" y="1266288"/>
                  </a:cubicBezTo>
                  <a:cubicBezTo>
                    <a:pt x="5801100" y="1266288"/>
                    <a:pt x="5766452" y="1322363"/>
                    <a:pt x="5766452" y="1396804"/>
                  </a:cubicBezTo>
                  <a:cubicBezTo>
                    <a:pt x="5766452" y="1466101"/>
                    <a:pt x="5797062" y="1528299"/>
                    <a:pt x="5868378" y="1528299"/>
                  </a:cubicBezTo>
                  <a:cubicBezTo>
                    <a:pt x="5912209" y="1528299"/>
                    <a:pt x="5948941" y="1504852"/>
                    <a:pt x="5978509" y="1467143"/>
                  </a:cubicBezTo>
                  <a:close/>
                  <a:moveTo>
                    <a:pt x="4869246" y="667825"/>
                  </a:moveTo>
                  <a:lnTo>
                    <a:pt x="4750973" y="667825"/>
                  </a:lnTo>
                  <a:lnTo>
                    <a:pt x="4750973" y="634153"/>
                  </a:lnTo>
                  <a:cubicBezTo>
                    <a:pt x="4724466" y="663721"/>
                    <a:pt x="4681676" y="677984"/>
                    <a:pt x="4638822" y="677984"/>
                  </a:cubicBezTo>
                  <a:cubicBezTo>
                    <a:pt x="4514427" y="677984"/>
                    <a:pt x="4467535" y="588238"/>
                    <a:pt x="4467535" y="458763"/>
                  </a:cubicBezTo>
                  <a:lnTo>
                    <a:pt x="4467535" y="186527"/>
                  </a:lnTo>
                  <a:lnTo>
                    <a:pt x="4587827" y="186527"/>
                  </a:lnTo>
                  <a:lnTo>
                    <a:pt x="4587827" y="448538"/>
                  </a:lnTo>
                  <a:cubicBezTo>
                    <a:pt x="4587827" y="513797"/>
                    <a:pt x="4601113" y="562708"/>
                    <a:pt x="4668390" y="562708"/>
                  </a:cubicBezTo>
                  <a:cubicBezTo>
                    <a:pt x="4735668" y="562708"/>
                    <a:pt x="4748954" y="511712"/>
                    <a:pt x="4748954" y="452576"/>
                  </a:cubicBezTo>
                  <a:lnTo>
                    <a:pt x="4748954" y="186462"/>
                  </a:lnTo>
                  <a:lnTo>
                    <a:pt x="4869246" y="186462"/>
                  </a:lnTo>
                  <a:lnTo>
                    <a:pt x="4869246" y="667695"/>
                  </a:lnTo>
                  <a:close/>
                  <a:moveTo>
                    <a:pt x="5244449" y="527083"/>
                  </a:moveTo>
                  <a:lnTo>
                    <a:pt x="5227125" y="649458"/>
                  </a:lnTo>
                  <a:cubicBezTo>
                    <a:pt x="5202637" y="668802"/>
                    <a:pt x="5157829" y="677984"/>
                    <a:pt x="5128261" y="677984"/>
                  </a:cubicBezTo>
                  <a:cubicBezTo>
                    <a:pt x="5054861" y="677984"/>
                    <a:pt x="4997744" y="622951"/>
                    <a:pt x="4997744" y="535224"/>
                  </a:cubicBezTo>
                  <a:lnTo>
                    <a:pt x="4997744" y="301739"/>
                  </a:lnTo>
                  <a:lnTo>
                    <a:pt x="4928447" y="301739"/>
                  </a:lnTo>
                  <a:lnTo>
                    <a:pt x="4928447" y="186527"/>
                  </a:lnTo>
                  <a:lnTo>
                    <a:pt x="4997744" y="186527"/>
                  </a:lnTo>
                  <a:lnTo>
                    <a:pt x="4997744" y="61155"/>
                  </a:lnTo>
                  <a:lnTo>
                    <a:pt x="5118035" y="0"/>
                  </a:lnTo>
                  <a:lnTo>
                    <a:pt x="5118035" y="186592"/>
                  </a:lnTo>
                  <a:lnTo>
                    <a:pt x="5232205" y="186592"/>
                  </a:lnTo>
                  <a:lnTo>
                    <a:pt x="5232205" y="301804"/>
                  </a:lnTo>
                  <a:lnTo>
                    <a:pt x="5118035" y="301804"/>
                  </a:lnTo>
                  <a:lnTo>
                    <a:pt x="5118035" y="503701"/>
                  </a:lnTo>
                  <a:cubicBezTo>
                    <a:pt x="5118035" y="545514"/>
                    <a:pt x="5135360" y="560819"/>
                    <a:pt x="5164928" y="560819"/>
                  </a:cubicBezTo>
                  <a:cubicBezTo>
                    <a:pt x="5194496" y="560819"/>
                    <a:pt x="5225106" y="545514"/>
                    <a:pt x="5244449" y="527148"/>
                  </a:cubicBezTo>
                  <a:close/>
                  <a:moveTo>
                    <a:pt x="3417407" y="667825"/>
                  </a:moveTo>
                  <a:lnTo>
                    <a:pt x="3297116" y="667825"/>
                  </a:lnTo>
                  <a:lnTo>
                    <a:pt x="3297116" y="405814"/>
                  </a:lnTo>
                  <a:cubicBezTo>
                    <a:pt x="3297116" y="340555"/>
                    <a:pt x="3282853" y="292621"/>
                    <a:pt x="3215575" y="292621"/>
                  </a:cubicBezTo>
                  <a:cubicBezTo>
                    <a:pt x="3148298" y="292621"/>
                    <a:pt x="3132993" y="336452"/>
                    <a:pt x="3132993" y="402753"/>
                  </a:cubicBezTo>
                  <a:lnTo>
                    <a:pt x="3132993" y="667825"/>
                  </a:lnTo>
                  <a:lnTo>
                    <a:pt x="3012701" y="667825"/>
                  </a:lnTo>
                  <a:lnTo>
                    <a:pt x="3012701" y="61221"/>
                  </a:lnTo>
                  <a:lnTo>
                    <a:pt x="3132993" y="65"/>
                  </a:lnTo>
                  <a:lnTo>
                    <a:pt x="3132993" y="220264"/>
                  </a:lnTo>
                  <a:cubicBezTo>
                    <a:pt x="3159500" y="193756"/>
                    <a:pt x="3192129" y="176432"/>
                    <a:pt x="3246186" y="176432"/>
                  </a:cubicBezTo>
                  <a:cubicBezTo>
                    <a:pt x="3373641" y="176432"/>
                    <a:pt x="3417473" y="274320"/>
                    <a:pt x="3417473" y="396631"/>
                  </a:cubicBezTo>
                  <a:lnTo>
                    <a:pt x="3417473" y="667825"/>
                  </a:lnTo>
                  <a:close/>
                  <a:moveTo>
                    <a:pt x="5564554" y="1638365"/>
                  </a:moveTo>
                  <a:lnTo>
                    <a:pt x="5440160" y="1638365"/>
                  </a:lnTo>
                  <a:lnTo>
                    <a:pt x="5440160" y="1376355"/>
                  </a:lnTo>
                  <a:cubicBezTo>
                    <a:pt x="5440160" y="1309077"/>
                    <a:pt x="5424855" y="1264204"/>
                    <a:pt x="5357577" y="1264204"/>
                  </a:cubicBezTo>
                  <a:cubicBezTo>
                    <a:pt x="5294337" y="1264204"/>
                    <a:pt x="5273952" y="1301913"/>
                    <a:pt x="5273952" y="1373293"/>
                  </a:cubicBezTo>
                  <a:lnTo>
                    <a:pt x="5273952" y="1638365"/>
                  </a:lnTo>
                  <a:lnTo>
                    <a:pt x="5149558" y="1638365"/>
                  </a:lnTo>
                  <a:lnTo>
                    <a:pt x="5149558" y="1157133"/>
                  </a:lnTo>
                  <a:lnTo>
                    <a:pt x="5273952" y="1157133"/>
                  </a:lnTo>
                  <a:lnTo>
                    <a:pt x="5273952" y="1189762"/>
                  </a:lnTo>
                  <a:cubicBezTo>
                    <a:pt x="5299418" y="1164297"/>
                    <a:pt x="5337192" y="1146973"/>
                    <a:pt x="5391183" y="1146973"/>
                  </a:cubicBezTo>
                  <a:cubicBezTo>
                    <a:pt x="5521700" y="1146973"/>
                    <a:pt x="5564490" y="1247922"/>
                    <a:pt x="5564490" y="1366195"/>
                  </a:cubicBezTo>
                  <a:lnTo>
                    <a:pt x="5564490" y="1638430"/>
                  </a:lnTo>
                  <a:close/>
                  <a:moveTo>
                    <a:pt x="4008772" y="1115386"/>
                  </a:moveTo>
                  <a:cubicBezTo>
                    <a:pt x="4048565" y="1115386"/>
                    <a:pt x="4080152" y="1083798"/>
                    <a:pt x="4080152" y="1044005"/>
                  </a:cubicBezTo>
                  <a:cubicBezTo>
                    <a:pt x="4080152" y="1004212"/>
                    <a:pt x="4048565" y="972624"/>
                    <a:pt x="4008772" y="972624"/>
                  </a:cubicBezTo>
                  <a:cubicBezTo>
                    <a:pt x="3968978" y="972624"/>
                    <a:pt x="3937391" y="1004212"/>
                    <a:pt x="3937391" y="1044005"/>
                  </a:cubicBezTo>
                  <a:cubicBezTo>
                    <a:pt x="3937391" y="1083798"/>
                    <a:pt x="3968978" y="1115386"/>
                    <a:pt x="4008772" y="1115386"/>
                  </a:cubicBezTo>
                  <a:close/>
                  <a:moveTo>
                    <a:pt x="829864" y="1115386"/>
                  </a:moveTo>
                  <a:cubicBezTo>
                    <a:pt x="869657" y="1115386"/>
                    <a:pt x="901244" y="1083798"/>
                    <a:pt x="901244" y="1044005"/>
                  </a:cubicBezTo>
                  <a:cubicBezTo>
                    <a:pt x="901244" y="1004212"/>
                    <a:pt x="869657" y="972624"/>
                    <a:pt x="829864" y="972624"/>
                  </a:cubicBezTo>
                  <a:cubicBezTo>
                    <a:pt x="790070" y="972624"/>
                    <a:pt x="758483" y="1004212"/>
                    <a:pt x="758483" y="1044005"/>
                  </a:cubicBezTo>
                  <a:cubicBezTo>
                    <a:pt x="758483" y="1083798"/>
                    <a:pt x="790070" y="1115386"/>
                    <a:pt x="829864" y="1115386"/>
                  </a:cubicBezTo>
                  <a:close/>
                  <a:moveTo>
                    <a:pt x="6512756" y="426134"/>
                  </a:moveTo>
                  <a:cubicBezTo>
                    <a:pt x="6512756" y="441439"/>
                    <a:pt x="6511714" y="460782"/>
                    <a:pt x="6510737" y="467946"/>
                  </a:cubicBezTo>
                  <a:lnTo>
                    <a:pt x="6219158" y="467946"/>
                  </a:lnTo>
                  <a:cubicBezTo>
                    <a:pt x="6224238" y="535224"/>
                    <a:pt x="6270154" y="562773"/>
                    <a:pt x="6322126" y="562773"/>
                  </a:cubicBezTo>
                  <a:cubicBezTo>
                    <a:pt x="6352736" y="562773"/>
                    <a:pt x="6381262" y="553590"/>
                    <a:pt x="6405751" y="529102"/>
                  </a:cubicBezTo>
                  <a:lnTo>
                    <a:pt x="6491394" y="601459"/>
                  </a:lnTo>
                  <a:cubicBezTo>
                    <a:pt x="6446521" y="657535"/>
                    <a:pt x="6378201" y="677919"/>
                    <a:pt x="6317046" y="677919"/>
                  </a:cubicBezTo>
                  <a:cubicBezTo>
                    <a:pt x="6176369" y="677919"/>
                    <a:pt x="6095805" y="569872"/>
                    <a:pt x="6095805" y="428153"/>
                  </a:cubicBezTo>
                  <a:cubicBezTo>
                    <a:pt x="6095805" y="274190"/>
                    <a:pt x="6190632" y="176302"/>
                    <a:pt x="6308905" y="176302"/>
                  </a:cubicBezTo>
                  <a:cubicBezTo>
                    <a:pt x="6435319" y="176302"/>
                    <a:pt x="6512821" y="287411"/>
                    <a:pt x="6512821" y="426069"/>
                  </a:cubicBezTo>
                  <a:close/>
                  <a:moveTo>
                    <a:pt x="6221177" y="374162"/>
                  </a:moveTo>
                  <a:lnTo>
                    <a:pt x="6392465" y="374162"/>
                  </a:lnTo>
                  <a:cubicBezTo>
                    <a:pt x="6388361" y="320105"/>
                    <a:pt x="6353713" y="283438"/>
                    <a:pt x="6304802" y="283438"/>
                  </a:cubicBezTo>
                  <a:cubicBezTo>
                    <a:pt x="6246708" y="283438"/>
                    <a:pt x="6224238" y="334433"/>
                    <a:pt x="6221177" y="374162"/>
                  </a:cubicBezTo>
                  <a:close/>
                  <a:moveTo>
                    <a:pt x="5702235" y="667825"/>
                  </a:moveTo>
                  <a:lnTo>
                    <a:pt x="5583963" y="667825"/>
                  </a:lnTo>
                  <a:lnTo>
                    <a:pt x="5583963" y="634153"/>
                  </a:lnTo>
                  <a:cubicBezTo>
                    <a:pt x="5557456" y="663721"/>
                    <a:pt x="5514666" y="677984"/>
                    <a:pt x="5471812" y="677984"/>
                  </a:cubicBezTo>
                  <a:cubicBezTo>
                    <a:pt x="5347417" y="677984"/>
                    <a:pt x="5300525" y="588238"/>
                    <a:pt x="5300525" y="458763"/>
                  </a:cubicBezTo>
                  <a:lnTo>
                    <a:pt x="5300525" y="186527"/>
                  </a:lnTo>
                  <a:lnTo>
                    <a:pt x="5420817" y="186527"/>
                  </a:lnTo>
                  <a:lnTo>
                    <a:pt x="5420817" y="448538"/>
                  </a:lnTo>
                  <a:cubicBezTo>
                    <a:pt x="5420817" y="513797"/>
                    <a:pt x="5434103" y="562708"/>
                    <a:pt x="5501380" y="562708"/>
                  </a:cubicBezTo>
                  <a:cubicBezTo>
                    <a:pt x="5568657" y="562708"/>
                    <a:pt x="5581944" y="511712"/>
                    <a:pt x="5581944" y="452576"/>
                  </a:cubicBezTo>
                  <a:lnTo>
                    <a:pt x="5581944" y="186462"/>
                  </a:lnTo>
                  <a:lnTo>
                    <a:pt x="5702235" y="186462"/>
                  </a:lnTo>
                  <a:lnTo>
                    <a:pt x="5702235" y="667695"/>
                  </a:lnTo>
                  <a:close/>
                  <a:moveTo>
                    <a:pt x="3895579" y="426134"/>
                  </a:moveTo>
                  <a:cubicBezTo>
                    <a:pt x="3895579" y="441439"/>
                    <a:pt x="3894537" y="460782"/>
                    <a:pt x="3893560" y="467946"/>
                  </a:cubicBezTo>
                  <a:lnTo>
                    <a:pt x="3601981" y="467946"/>
                  </a:lnTo>
                  <a:cubicBezTo>
                    <a:pt x="3607061" y="535224"/>
                    <a:pt x="3652976" y="562773"/>
                    <a:pt x="3704949" y="562773"/>
                  </a:cubicBezTo>
                  <a:cubicBezTo>
                    <a:pt x="3735559" y="562773"/>
                    <a:pt x="3764085" y="553590"/>
                    <a:pt x="3788573" y="529102"/>
                  </a:cubicBezTo>
                  <a:lnTo>
                    <a:pt x="3874217" y="601459"/>
                  </a:lnTo>
                  <a:cubicBezTo>
                    <a:pt x="3829343" y="657535"/>
                    <a:pt x="3761024" y="677919"/>
                    <a:pt x="3699868" y="677919"/>
                  </a:cubicBezTo>
                  <a:cubicBezTo>
                    <a:pt x="3559192" y="677919"/>
                    <a:pt x="3478628" y="569872"/>
                    <a:pt x="3478628" y="428153"/>
                  </a:cubicBezTo>
                  <a:cubicBezTo>
                    <a:pt x="3478628" y="274190"/>
                    <a:pt x="3573455" y="176302"/>
                    <a:pt x="3691727" y="176302"/>
                  </a:cubicBezTo>
                  <a:cubicBezTo>
                    <a:pt x="3818141" y="176302"/>
                    <a:pt x="3895644" y="287411"/>
                    <a:pt x="3895644" y="426069"/>
                  </a:cubicBezTo>
                  <a:close/>
                  <a:moveTo>
                    <a:pt x="3604000" y="374162"/>
                  </a:moveTo>
                  <a:lnTo>
                    <a:pt x="3775287" y="374162"/>
                  </a:lnTo>
                  <a:cubicBezTo>
                    <a:pt x="3771184" y="320105"/>
                    <a:pt x="3736536" y="283438"/>
                    <a:pt x="3687624" y="283438"/>
                  </a:cubicBezTo>
                  <a:cubicBezTo>
                    <a:pt x="3629530" y="283438"/>
                    <a:pt x="3607061" y="334433"/>
                    <a:pt x="3604000" y="374162"/>
                  </a:cubicBezTo>
                  <a:close/>
                  <a:moveTo>
                    <a:pt x="4579686" y="1638365"/>
                  </a:moveTo>
                  <a:lnTo>
                    <a:pt x="4455291" y="1638365"/>
                  </a:lnTo>
                  <a:lnTo>
                    <a:pt x="4455291" y="1606778"/>
                  </a:lnTo>
                  <a:cubicBezTo>
                    <a:pt x="4414521" y="1636346"/>
                    <a:pt x="4390032" y="1648590"/>
                    <a:pt x="4346201" y="1648590"/>
                  </a:cubicBezTo>
                  <a:cubicBezTo>
                    <a:pt x="4207543" y="1648590"/>
                    <a:pt x="4148406" y="1528299"/>
                    <a:pt x="4148406" y="1393678"/>
                  </a:cubicBezTo>
                  <a:cubicBezTo>
                    <a:pt x="4148406" y="1247856"/>
                    <a:pt x="4217703" y="1146973"/>
                    <a:pt x="4343140" y="1146973"/>
                  </a:cubicBezTo>
                  <a:cubicBezTo>
                    <a:pt x="4384952" y="1146973"/>
                    <a:pt x="4424681" y="1158175"/>
                    <a:pt x="4455291" y="1185724"/>
                  </a:cubicBezTo>
                  <a:lnTo>
                    <a:pt x="4455291" y="1031761"/>
                  </a:lnTo>
                  <a:lnTo>
                    <a:pt x="4579686" y="969564"/>
                  </a:lnTo>
                  <a:lnTo>
                    <a:pt x="4579686" y="1638365"/>
                  </a:lnTo>
                  <a:close/>
                  <a:moveTo>
                    <a:pt x="4455356" y="1489547"/>
                  </a:moveTo>
                  <a:lnTo>
                    <a:pt x="4455356" y="1306016"/>
                  </a:lnTo>
                  <a:cubicBezTo>
                    <a:pt x="4428849" y="1277490"/>
                    <a:pt x="4403384" y="1264204"/>
                    <a:pt x="4368670" y="1264204"/>
                  </a:cubicBezTo>
                  <a:cubicBezTo>
                    <a:pt x="4296313" y="1264204"/>
                    <a:pt x="4278924" y="1321321"/>
                    <a:pt x="4278924" y="1389575"/>
                  </a:cubicBezTo>
                  <a:cubicBezTo>
                    <a:pt x="4278924" y="1467078"/>
                    <a:pt x="4301328" y="1531294"/>
                    <a:pt x="4371731" y="1531294"/>
                  </a:cubicBezTo>
                  <a:cubicBezTo>
                    <a:pt x="4406380" y="1531294"/>
                    <a:pt x="4430868" y="1515989"/>
                    <a:pt x="4455356" y="1489482"/>
                  </a:cubicBezTo>
                  <a:close/>
                  <a:moveTo>
                    <a:pt x="3945532" y="1157198"/>
                  </a:moveTo>
                  <a:lnTo>
                    <a:pt x="3945532" y="1638430"/>
                  </a:lnTo>
                  <a:lnTo>
                    <a:pt x="4069927" y="1638430"/>
                  </a:lnTo>
                  <a:lnTo>
                    <a:pt x="4069927" y="1157198"/>
                  </a:lnTo>
                  <a:lnTo>
                    <a:pt x="3945532" y="1157198"/>
                  </a:lnTo>
                  <a:close/>
                  <a:moveTo>
                    <a:pt x="3873175" y="985911"/>
                  </a:moveTo>
                  <a:lnTo>
                    <a:pt x="3873175" y="1085817"/>
                  </a:lnTo>
                  <a:cubicBezTo>
                    <a:pt x="3854809" y="1079695"/>
                    <a:pt x="3830386" y="1076634"/>
                    <a:pt x="3812019" y="1076634"/>
                  </a:cubicBezTo>
                  <a:cubicBezTo>
                    <a:pt x="3776329" y="1076634"/>
                    <a:pt x="3760047" y="1087836"/>
                    <a:pt x="3760047" y="1118447"/>
                  </a:cubicBezTo>
                  <a:lnTo>
                    <a:pt x="3760047" y="1157198"/>
                  </a:lnTo>
                  <a:lnTo>
                    <a:pt x="3863015" y="1157198"/>
                  </a:lnTo>
                  <a:lnTo>
                    <a:pt x="3863015" y="1273452"/>
                  </a:lnTo>
                  <a:lnTo>
                    <a:pt x="3760047" y="1273452"/>
                  </a:lnTo>
                  <a:lnTo>
                    <a:pt x="3760047" y="1638430"/>
                  </a:lnTo>
                  <a:lnTo>
                    <a:pt x="3635652" y="1638430"/>
                  </a:lnTo>
                  <a:lnTo>
                    <a:pt x="3635652" y="1273452"/>
                  </a:lnTo>
                  <a:lnTo>
                    <a:pt x="3568375" y="1273452"/>
                  </a:lnTo>
                  <a:lnTo>
                    <a:pt x="3568375" y="1157198"/>
                  </a:lnTo>
                  <a:lnTo>
                    <a:pt x="3635652" y="1157198"/>
                  </a:lnTo>
                  <a:lnTo>
                    <a:pt x="3635652" y="1099104"/>
                  </a:lnTo>
                  <a:cubicBezTo>
                    <a:pt x="3635652" y="1009357"/>
                    <a:pt x="3691727" y="972690"/>
                    <a:pt x="3782451" y="972690"/>
                  </a:cubicBezTo>
                  <a:cubicBezTo>
                    <a:pt x="3808958" y="972690"/>
                    <a:pt x="3847710" y="975751"/>
                    <a:pt x="3873175" y="985976"/>
                  </a:cubicBezTo>
                  <a:close/>
                  <a:moveTo>
                    <a:pt x="3507154" y="1638365"/>
                  </a:moveTo>
                  <a:lnTo>
                    <a:pt x="3382759" y="1638365"/>
                  </a:lnTo>
                  <a:lnTo>
                    <a:pt x="3382759" y="1376355"/>
                  </a:lnTo>
                  <a:cubicBezTo>
                    <a:pt x="3382759" y="1309077"/>
                    <a:pt x="3367454" y="1264204"/>
                    <a:pt x="3300177" y="1264204"/>
                  </a:cubicBezTo>
                  <a:cubicBezTo>
                    <a:pt x="3236937" y="1264204"/>
                    <a:pt x="3216552" y="1301913"/>
                    <a:pt x="3216552" y="1373293"/>
                  </a:cubicBezTo>
                  <a:lnTo>
                    <a:pt x="3216552" y="1638365"/>
                  </a:lnTo>
                  <a:lnTo>
                    <a:pt x="3092157" y="1638365"/>
                  </a:lnTo>
                  <a:lnTo>
                    <a:pt x="3092157" y="1157133"/>
                  </a:lnTo>
                  <a:lnTo>
                    <a:pt x="3216552" y="1157133"/>
                  </a:lnTo>
                  <a:lnTo>
                    <a:pt x="3216552" y="1189762"/>
                  </a:lnTo>
                  <a:cubicBezTo>
                    <a:pt x="3242017" y="1164297"/>
                    <a:pt x="3279792" y="1146973"/>
                    <a:pt x="3333783" y="1146973"/>
                  </a:cubicBezTo>
                  <a:cubicBezTo>
                    <a:pt x="3464300" y="1146973"/>
                    <a:pt x="3507089" y="1247922"/>
                    <a:pt x="3507089" y="1366195"/>
                  </a:cubicBezTo>
                  <a:lnTo>
                    <a:pt x="3507089" y="1638430"/>
                  </a:lnTo>
                  <a:close/>
                  <a:moveTo>
                    <a:pt x="2792437" y="1146973"/>
                  </a:moveTo>
                  <a:cubicBezTo>
                    <a:pt x="2653779" y="1146973"/>
                    <a:pt x="2567094" y="1256063"/>
                    <a:pt x="2567094" y="1397782"/>
                  </a:cubicBezTo>
                  <a:cubicBezTo>
                    <a:pt x="2567094" y="1546665"/>
                    <a:pt x="2661920" y="1648590"/>
                    <a:pt x="2792437" y="1648590"/>
                  </a:cubicBezTo>
                  <a:cubicBezTo>
                    <a:pt x="2922954" y="1648590"/>
                    <a:pt x="3017781" y="1546665"/>
                    <a:pt x="3017781" y="1397782"/>
                  </a:cubicBezTo>
                  <a:cubicBezTo>
                    <a:pt x="3017781" y="1248899"/>
                    <a:pt x="2931095" y="1146973"/>
                    <a:pt x="2792437" y="1146973"/>
                  </a:cubicBezTo>
                  <a:close/>
                  <a:moveTo>
                    <a:pt x="2792437" y="1528299"/>
                  </a:moveTo>
                  <a:cubicBezTo>
                    <a:pt x="2712916" y="1528299"/>
                    <a:pt x="2695592" y="1451838"/>
                    <a:pt x="2695592" y="1397782"/>
                  </a:cubicBezTo>
                  <a:cubicBezTo>
                    <a:pt x="2695592" y="1323340"/>
                    <a:pt x="2726202" y="1266288"/>
                    <a:pt x="2792437" y="1266288"/>
                  </a:cubicBezTo>
                  <a:cubicBezTo>
                    <a:pt x="2858673" y="1266288"/>
                    <a:pt x="2889283" y="1323405"/>
                    <a:pt x="2889283" y="1397782"/>
                  </a:cubicBezTo>
                  <a:cubicBezTo>
                    <a:pt x="2889283" y="1451838"/>
                    <a:pt x="2871959" y="1528299"/>
                    <a:pt x="2792437" y="1528299"/>
                  </a:cubicBezTo>
                  <a:close/>
                  <a:moveTo>
                    <a:pt x="2446802" y="1467143"/>
                  </a:moveTo>
                  <a:lnTo>
                    <a:pt x="2526323" y="1542561"/>
                  </a:lnTo>
                  <a:cubicBezTo>
                    <a:pt x="2485553" y="1594534"/>
                    <a:pt x="2429478" y="1648590"/>
                    <a:pt x="2334651" y="1648590"/>
                  </a:cubicBezTo>
                  <a:cubicBezTo>
                    <a:pt x="2203157" y="1648590"/>
                    <a:pt x="2106246" y="1543604"/>
                    <a:pt x="2106246" y="1398823"/>
                  </a:cubicBezTo>
                  <a:cubicBezTo>
                    <a:pt x="2106246" y="1266288"/>
                    <a:pt x="2186810" y="1146973"/>
                    <a:pt x="2336670" y="1146973"/>
                  </a:cubicBezTo>
                  <a:cubicBezTo>
                    <a:pt x="2422314" y="1146973"/>
                    <a:pt x="2481450" y="1185724"/>
                    <a:pt x="2525281" y="1250983"/>
                  </a:cubicBezTo>
                  <a:lnTo>
                    <a:pt x="2443741" y="1333565"/>
                  </a:lnTo>
                  <a:cubicBezTo>
                    <a:pt x="2415215" y="1295856"/>
                    <a:pt x="2384604" y="1266288"/>
                    <a:pt x="2335693" y="1266288"/>
                  </a:cubicBezTo>
                  <a:cubicBezTo>
                    <a:pt x="2269393" y="1266288"/>
                    <a:pt x="2234744" y="1322363"/>
                    <a:pt x="2234744" y="1396804"/>
                  </a:cubicBezTo>
                  <a:cubicBezTo>
                    <a:pt x="2234744" y="1466101"/>
                    <a:pt x="2265355" y="1528299"/>
                    <a:pt x="2336670" y="1528299"/>
                  </a:cubicBezTo>
                  <a:cubicBezTo>
                    <a:pt x="2380501" y="1528299"/>
                    <a:pt x="2417234" y="1504852"/>
                    <a:pt x="2446802" y="1467143"/>
                  </a:cubicBezTo>
                  <a:close/>
                  <a:moveTo>
                    <a:pt x="1803530" y="1638365"/>
                  </a:moveTo>
                  <a:lnTo>
                    <a:pt x="1679135" y="1638365"/>
                  </a:lnTo>
                  <a:lnTo>
                    <a:pt x="1679135" y="1376355"/>
                  </a:lnTo>
                  <a:cubicBezTo>
                    <a:pt x="1679135" y="1309077"/>
                    <a:pt x="1663830" y="1264204"/>
                    <a:pt x="1596553" y="1264204"/>
                  </a:cubicBezTo>
                  <a:cubicBezTo>
                    <a:pt x="1533314" y="1264204"/>
                    <a:pt x="1511951" y="1301913"/>
                    <a:pt x="1511951" y="1373293"/>
                  </a:cubicBezTo>
                  <a:lnTo>
                    <a:pt x="1511951" y="1638365"/>
                  </a:lnTo>
                  <a:lnTo>
                    <a:pt x="1387557" y="1638365"/>
                  </a:lnTo>
                  <a:lnTo>
                    <a:pt x="1387557" y="1031761"/>
                  </a:lnTo>
                  <a:lnTo>
                    <a:pt x="1511951" y="969564"/>
                  </a:lnTo>
                  <a:lnTo>
                    <a:pt x="1511951" y="1189762"/>
                  </a:lnTo>
                  <a:cubicBezTo>
                    <a:pt x="1535398" y="1161236"/>
                    <a:pt x="1584309" y="1146973"/>
                    <a:pt x="1632243" y="1146973"/>
                  </a:cubicBezTo>
                  <a:cubicBezTo>
                    <a:pt x="1758657" y="1146973"/>
                    <a:pt x="1803530" y="1246880"/>
                    <a:pt x="1803530" y="1366195"/>
                  </a:cubicBezTo>
                  <a:lnTo>
                    <a:pt x="1803530" y="1638430"/>
                  </a:lnTo>
                  <a:close/>
                  <a:moveTo>
                    <a:pt x="1311031" y="1493650"/>
                  </a:moveTo>
                  <a:lnTo>
                    <a:pt x="1292665" y="1619022"/>
                  </a:lnTo>
                  <a:cubicBezTo>
                    <a:pt x="1267200" y="1639407"/>
                    <a:pt x="1205979" y="1648590"/>
                    <a:pt x="1173350" y="1648590"/>
                  </a:cubicBezTo>
                  <a:cubicBezTo>
                    <a:pt x="1097931" y="1648590"/>
                    <a:pt x="1043875" y="1588412"/>
                    <a:pt x="1043875" y="1504852"/>
                  </a:cubicBezTo>
                  <a:lnTo>
                    <a:pt x="1043875" y="1273387"/>
                  </a:lnTo>
                  <a:lnTo>
                    <a:pt x="960250" y="1273387"/>
                  </a:lnTo>
                  <a:lnTo>
                    <a:pt x="960250" y="1157133"/>
                  </a:lnTo>
                  <a:lnTo>
                    <a:pt x="1043875" y="1157133"/>
                  </a:lnTo>
                  <a:lnTo>
                    <a:pt x="1043875" y="1031761"/>
                  </a:lnTo>
                  <a:lnTo>
                    <a:pt x="1168270" y="969564"/>
                  </a:lnTo>
                  <a:lnTo>
                    <a:pt x="1168270" y="1157133"/>
                  </a:lnTo>
                  <a:lnTo>
                    <a:pt x="1308947" y="1157133"/>
                  </a:lnTo>
                  <a:lnTo>
                    <a:pt x="1308947" y="1273387"/>
                  </a:lnTo>
                  <a:lnTo>
                    <a:pt x="1168270" y="1273387"/>
                  </a:lnTo>
                  <a:lnTo>
                    <a:pt x="1168270" y="1471181"/>
                  </a:lnTo>
                  <a:cubicBezTo>
                    <a:pt x="1168270" y="1515012"/>
                    <a:pt x="1184552" y="1529275"/>
                    <a:pt x="1214120" y="1529275"/>
                  </a:cubicBezTo>
                  <a:cubicBezTo>
                    <a:pt x="1243688" y="1529275"/>
                    <a:pt x="1289539" y="1513970"/>
                    <a:pt x="1310966" y="1493585"/>
                  </a:cubicBezTo>
                  <a:close/>
                  <a:moveTo>
                    <a:pt x="767666" y="1157198"/>
                  </a:moveTo>
                  <a:lnTo>
                    <a:pt x="767666" y="1638430"/>
                  </a:lnTo>
                  <a:lnTo>
                    <a:pt x="892061" y="1638430"/>
                  </a:lnTo>
                  <a:lnTo>
                    <a:pt x="892061" y="1157198"/>
                  </a:lnTo>
                  <a:lnTo>
                    <a:pt x="767666" y="1157198"/>
                  </a:lnTo>
                  <a:close/>
                  <a:moveTo>
                    <a:pt x="702408" y="1157198"/>
                  </a:moveTo>
                  <a:lnTo>
                    <a:pt x="550529" y="1638430"/>
                  </a:lnTo>
                  <a:lnTo>
                    <a:pt x="436359" y="1638430"/>
                  </a:lnTo>
                  <a:lnTo>
                    <a:pt x="354819" y="1345809"/>
                  </a:lnTo>
                  <a:lnTo>
                    <a:pt x="272236" y="1638430"/>
                  </a:lnTo>
                  <a:lnTo>
                    <a:pt x="158066" y="1638430"/>
                  </a:lnTo>
                  <a:lnTo>
                    <a:pt x="7099" y="1157198"/>
                  </a:lnTo>
                  <a:lnTo>
                    <a:pt x="145757" y="1157198"/>
                  </a:lnTo>
                  <a:lnTo>
                    <a:pt x="218114" y="1436533"/>
                  </a:lnTo>
                  <a:lnTo>
                    <a:pt x="299655" y="1157198"/>
                  </a:lnTo>
                  <a:lnTo>
                    <a:pt x="412848" y="1157198"/>
                  </a:lnTo>
                  <a:lnTo>
                    <a:pt x="494388" y="1436533"/>
                  </a:lnTo>
                  <a:lnTo>
                    <a:pt x="567788" y="1157198"/>
                  </a:lnTo>
                  <a:lnTo>
                    <a:pt x="702343" y="1157198"/>
                  </a:lnTo>
                  <a:close/>
                  <a:moveTo>
                    <a:pt x="4436990" y="16282"/>
                  </a:moveTo>
                  <a:lnTo>
                    <a:pt x="4436990" y="115147"/>
                  </a:lnTo>
                  <a:cubicBezTo>
                    <a:pt x="4409441" y="107983"/>
                    <a:pt x="4391139" y="104921"/>
                    <a:pt x="4374792" y="104921"/>
                  </a:cubicBezTo>
                  <a:cubicBezTo>
                    <a:pt x="4332003" y="104921"/>
                    <a:pt x="4322820" y="120227"/>
                    <a:pt x="4322820" y="144715"/>
                  </a:cubicBezTo>
                  <a:lnTo>
                    <a:pt x="4322820" y="186527"/>
                  </a:lnTo>
                  <a:lnTo>
                    <a:pt x="4404361" y="186527"/>
                  </a:lnTo>
                  <a:lnTo>
                    <a:pt x="4404361" y="302781"/>
                  </a:lnTo>
                  <a:lnTo>
                    <a:pt x="4322820" y="302781"/>
                  </a:lnTo>
                  <a:lnTo>
                    <a:pt x="4322820" y="667759"/>
                  </a:lnTo>
                  <a:lnTo>
                    <a:pt x="4202528" y="667759"/>
                  </a:lnTo>
                  <a:lnTo>
                    <a:pt x="4202528" y="302781"/>
                  </a:lnTo>
                  <a:lnTo>
                    <a:pt x="4143392" y="302781"/>
                  </a:lnTo>
                  <a:lnTo>
                    <a:pt x="4143392" y="186527"/>
                  </a:lnTo>
                  <a:lnTo>
                    <a:pt x="4202528" y="186527"/>
                  </a:lnTo>
                  <a:lnTo>
                    <a:pt x="4202528" y="128433"/>
                  </a:lnTo>
                  <a:cubicBezTo>
                    <a:pt x="4202528" y="44808"/>
                    <a:pt x="4246360" y="2019"/>
                    <a:pt x="4348350" y="2019"/>
                  </a:cubicBezTo>
                  <a:cubicBezTo>
                    <a:pt x="4380980" y="2019"/>
                    <a:pt x="4407487" y="8141"/>
                    <a:pt x="4437055" y="16282"/>
                  </a:cubicBezTo>
                  <a:close/>
                  <a:moveTo>
                    <a:pt x="2957602" y="527083"/>
                  </a:moveTo>
                  <a:lnTo>
                    <a:pt x="2940278" y="649458"/>
                  </a:lnTo>
                  <a:cubicBezTo>
                    <a:pt x="2915790" y="668802"/>
                    <a:pt x="2873001" y="677984"/>
                    <a:pt x="2843433" y="677984"/>
                  </a:cubicBezTo>
                  <a:cubicBezTo>
                    <a:pt x="2770033" y="677984"/>
                    <a:pt x="2712916" y="622951"/>
                    <a:pt x="2712916" y="535224"/>
                  </a:cubicBezTo>
                  <a:lnTo>
                    <a:pt x="2712916" y="301739"/>
                  </a:lnTo>
                  <a:lnTo>
                    <a:pt x="2629291" y="301739"/>
                  </a:lnTo>
                  <a:lnTo>
                    <a:pt x="2629291" y="186527"/>
                  </a:lnTo>
                  <a:lnTo>
                    <a:pt x="2712916" y="186527"/>
                  </a:lnTo>
                  <a:lnTo>
                    <a:pt x="2712916" y="61155"/>
                  </a:lnTo>
                  <a:lnTo>
                    <a:pt x="2833208" y="0"/>
                  </a:lnTo>
                  <a:lnTo>
                    <a:pt x="2833208" y="186592"/>
                  </a:lnTo>
                  <a:lnTo>
                    <a:pt x="2945358" y="186592"/>
                  </a:lnTo>
                  <a:lnTo>
                    <a:pt x="2945358" y="301804"/>
                  </a:lnTo>
                  <a:lnTo>
                    <a:pt x="2833208" y="301804"/>
                  </a:lnTo>
                  <a:lnTo>
                    <a:pt x="2833208" y="503701"/>
                  </a:lnTo>
                  <a:cubicBezTo>
                    <a:pt x="2833208" y="545514"/>
                    <a:pt x="2850532" y="560819"/>
                    <a:pt x="2880100" y="560819"/>
                  </a:cubicBezTo>
                  <a:cubicBezTo>
                    <a:pt x="2909668" y="560819"/>
                    <a:pt x="2938194" y="545514"/>
                    <a:pt x="2957602" y="527148"/>
                  </a:cubicBezTo>
                  <a:close/>
                  <a:moveTo>
                    <a:pt x="2397891" y="426134"/>
                  </a:moveTo>
                  <a:cubicBezTo>
                    <a:pt x="2397891" y="441439"/>
                    <a:pt x="2396849" y="460782"/>
                    <a:pt x="2395872" y="467946"/>
                  </a:cubicBezTo>
                  <a:lnTo>
                    <a:pt x="2114453" y="467946"/>
                  </a:lnTo>
                  <a:cubicBezTo>
                    <a:pt x="2119533" y="535224"/>
                    <a:pt x="2166425" y="562773"/>
                    <a:pt x="2218462" y="562773"/>
                  </a:cubicBezTo>
                  <a:cubicBezTo>
                    <a:pt x="2249073" y="562773"/>
                    <a:pt x="2276557" y="553590"/>
                    <a:pt x="2301045" y="529102"/>
                  </a:cubicBezTo>
                  <a:lnTo>
                    <a:pt x="2386689" y="601459"/>
                  </a:lnTo>
                  <a:cubicBezTo>
                    <a:pt x="2346895" y="654473"/>
                    <a:pt x="2274538" y="677919"/>
                    <a:pt x="2210321" y="677919"/>
                  </a:cubicBezTo>
                  <a:cubicBezTo>
                    <a:pt x="2072705" y="677919"/>
                    <a:pt x="1991100" y="569872"/>
                    <a:pt x="1991100" y="429130"/>
                  </a:cubicBezTo>
                  <a:cubicBezTo>
                    <a:pt x="1991100" y="288388"/>
                    <a:pt x="2079804" y="176302"/>
                    <a:pt x="2205176" y="176302"/>
                  </a:cubicBezTo>
                  <a:cubicBezTo>
                    <a:pt x="2339731" y="176302"/>
                    <a:pt x="2397891" y="298678"/>
                    <a:pt x="2397891" y="426069"/>
                  </a:cubicBezTo>
                  <a:close/>
                  <a:moveTo>
                    <a:pt x="2116472" y="374162"/>
                  </a:moveTo>
                  <a:lnTo>
                    <a:pt x="2287759" y="374162"/>
                  </a:lnTo>
                  <a:cubicBezTo>
                    <a:pt x="2282679" y="320105"/>
                    <a:pt x="2251027" y="283438"/>
                    <a:pt x="2199054" y="283438"/>
                  </a:cubicBezTo>
                  <a:cubicBezTo>
                    <a:pt x="2144021" y="283438"/>
                    <a:pt x="2119533" y="334433"/>
                    <a:pt x="2116472" y="374162"/>
                  </a:cubicBezTo>
                  <a:close/>
                  <a:moveTo>
                    <a:pt x="1933982" y="428218"/>
                  </a:moveTo>
                  <a:cubicBezTo>
                    <a:pt x="1933982" y="551571"/>
                    <a:pt x="1882987" y="677984"/>
                    <a:pt x="1746413" y="677984"/>
                  </a:cubicBezTo>
                  <a:cubicBezTo>
                    <a:pt x="1693399" y="677984"/>
                    <a:pt x="1660769" y="658642"/>
                    <a:pt x="1639342" y="638191"/>
                  </a:cubicBezTo>
                  <a:lnTo>
                    <a:pt x="1639342" y="784990"/>
                  </a:lnTo>
                  <a:lnTo>
                    <a:pt x="1519050" y="845169"/>
                  </a:lnTo>
                  <a:lnTo>
                    <a:pt x="1519050" y="186527"/>
                  </a:lnTo>
                  <a:lnTo>
                    <a:pt x="1639342" y="186527"/>
                  </a:lnTo>
                  <a:lnTo>
                    <a:pt x="1639342" y="219157"/>
                  </a:lnTo>
                  <a:cubicBezTo>
                    <a:pt x="1670929" y="190630"/>
                    <a:pt x="1703559" y="176367"/>
                    <a:pt x="1748432" y="176367"/>
                  </a:cubicBezTo>
                  <a:cubicBezTo>
                    <a:pt x="1877907" y="176367"/>
                    <a:pt x="1933982" y="298743"/>
                    <a:pt x="1933982" y="428218"/>
                  </a:cubicBezTo>
                  <a:close/>
                  <a:moveTo>
                    <a:pt x="1809587" y="434340"/>
                  </a:moveTo>
                  <a:cubicBezTo>
                    <a:pt x="1809587" y="364002"/>
                    <a:pt x="1791221" y="292621"/>
                    <a:pt x="1718864" y="292621"/>
                  </a:cubicBezTo>
                  <a:cubicBezTo>
                    <a:pt x="1685193" y="292621"/>
                    <a:pt x="1658685" y="307926"/>
                    <a:pt x="1639342" y="335410"/>
                  </a:cubicBezTo>
                  <a:lnTo>
                    <a:pt x="1639342" y="518942"/>
                  </a:lnTo>
                  <a:cubicBezTo>
                    <a:pt x="1658685" y="546491"/>
                    <a:pt x="1691315" y="562773"/>
                    <a:pt x="1726028" y="562773"/>
                  </a:cubicBezTo>
                  <a:cubicBezTo>
                    <a:pt x="1793305" y="562773"/>
                    <a:pt x="1809652" y="501618"/>
                    <a:pt x="1809652" y="434340"/>
                  </a:cubicBezTo>
                  <a:close/>
                  <a:moveTo>
                    <a:pt x="1435426" y="667825"/>
                  </a:moveTo>
                  <a:lnTo>
                    <a:pt x="1315134" y="667825"/>
                  </a:lnTo>
                  <a:lnTo>
                    <a:pt x="1315134" y="634153"/>
                  </a:lnTo>
                  <a:cubicBezTo>
                    <a:pt x="1286608" y="662680"/>
                    <a:pt x="1249876" y="677984"/>
                    <a:pt x="1202983" y="677984"/>
                  </a:cubicBezTo>
                  <a:cubicBezTo>
                    <a:pt x="1108157" y="677984"/>
                    <a:pt x="1033715" y="616829"/>
                    <a:pt x="1033715" y="510800"/>
                  </a:cubicBezTo>
                  <a:cubicBezTo>
                    <a:pt x="1033715" y="404772"/>
                    <a:pt x="1106072" y="348696"/>
                    <a:pt x="1221284" y="348696"/>
                  </a:cubicBezTo>
                  <a:cubicBezTo>
                    <a:pt x="1251894" y="348696"/>
                    <a:pt x="1283482" y="352799"/>
                    <a:pt x="1315069" y="368040"/>
                  </a:cubicBezTo>
                  <a:lnTo>
                    <a:pt x="1315069" y="342574"/>
                  </a:lnTo>
                  <a:cubicBezTo>
                    <a:pt x="1315069" y="297701"/>
                    <a:pt x="1285501" y="279335"/>
                    <a:pt x="1232486" y="279335"/>
                  </a:cubicBezTo>
                  <a:cubicBezTo>
                    <a:pt x="1194777" y="279335"/>
                    <a:pt x="1159087" y="288518"/>
                    <a:pt x="1121378" y="310922"/>
                  </a:cubicBezTo>
                  <a:lnTo>
                    <a:pt x="1073443" y="225278"/>
                  </a:lnTo>
                  <a:cubicBezTo>
                    <a:pt x="1125416" y="192649"/>
                    <a:pt x="1175369" y="176367"/>
                    <a:pt x="1239650" y="176367"/>
                  </a:cubicBezTo>
                  <a:cubicBezTo>
                    <a:pt x="1360984" y="176367"/>
                    <a:pt x="1435426" y="235503"/>
                    <a:pt x="1435426" y="344593"/>
                  </a:cubicBezTo>
                  <a:lnTo>
                    <a:pt x="1435426" y="667759"/>
                  </a:lnTo>
                  <a:close/>
                  <a:moveTo>
                    <a:pt x="1315134" y="527083"/>
                  </a:moveTo>
                  <a:lnTo>
                    <a:pt x="1315134" y="465927"/>
                  </a:lnTo>
                  <a:cubicBezTo>
                    <a:pt x="1290646" y="450622"/>
                    <a:pt x="1259059" y="445542"/>
                    <a:pt x="1234570" y="445542"/>
                  </a:cubicBezTo>
                  <a:cubicBezTo>
                    <a:pt x="1181556" y="445542"/>
                    <a:pt x="1156091" y="468988"/>
                    <a:pt x="1156091" y="507740"/>
                  </a:cubicBezTo>
                  <a:cubicBezTo>
                    <a:pt x="1156091" y="544472"/>
                    <a:pt x="1179537" y="574040"/>
                    <a:pt x="1224410" y="574040"/>
                  </a:cubicBezTo>
                  <a:cubicBezTo>
                    <a:pt x="1247857" y="574040"/>
                    <a:pt x="1288627" y="565899"/>
                    <a:pt x="1315134" y="527148"/>
                  </a:cubicBezTo>
                  <a:close/>
                  <a:moveTo>
                    <a:pt x="967480" y="667825"/>
                  </a:moveTo>
                  <a:lnTo>
                    <a:pt x="847188" y="667825"/>
                  </a:lnTo>
                  <a:lnTo>
                    <a:pt x="847188" y="405814"/>
                  </a:lnTo>
                  <a:cubicBezTo>
                    <a:pt x="847188" y="340555"/>
                    <a:pt x="832925" y="292621"/>
                    <a:pt x="765647" y="292621"/>
                  </a:cubicBezTo>
                  <a:cubicBezTo>
                    <a:pt x="698370" y="292621"/>
                    <a:pt x="683065" y="336452"/>
                    <a:pt x="683065" y="402753"/>
                  </a:cubicBezTo>
                  <a:lnTo>
                    <a:pt x="683065" y="667825"/>
                  </a:lnTo>
                  <a:lnTo>
                    <a:pt x="562773" y="667825"/>
                  </a:lnTo>
                  <a:lnTo>
                    <a:pt x="562773" y="61221"/>
                  </a:lnTo>
                  <a:lnTo>
                    <a:pt x="683065" y="65"/>
                  </a:lnTo>
                  <a:lnTo>
                    <a:pt x="683065" y="220264"/>
                  </a:lnTo>
                  <a:cubicBezTo>
                    <a:pt x="709572" y="193756"/>
                    <a:pt x="742201" y="176432"/>
                    <a:pt x="796258" y="176432"/>
                  </a:cubicBezTo>
                  <a:cubicBezTo>
                    <a:pt x="923713" y="176432"/>
                    <a:pt x="967545" y="274320"/>
                    <a:pt x="967545" y="396631"/>
                  </a:cubicBezTo>
                  <a:lnTo>
                    <a:pt x="967545" y="667825"/>
                  </a:lnTo>
                  <a:close/>
                  <a:moveTo>
                    <a:pt x="496472" y="475110"/>
                  </a:moveTo>
                  <a:cubicBezTo>
                    <a:pt x="496472" y="619890"/>
                    <a:pt x="386341" y="677984"/>
                    <a:pt x="255889" y="677984"/>
                  </a:cubicBezTo>
                  <a:cubicBezTo>
                    <a:pt x="162104" y="677984"/>
                    <a:pt x="58094" y="648416"/>
                    <a:pt x="0" y="562773"/>
                  </a:cubicBezTo>
                  <a:lnTo>
                    <a:pt x="89747" y="483251"/>
                  </a:lnTo>
                  <a:cubicBezTo>
                    <a:pt x="131559" y="533205"/>
                    <a:pt x="191672" y="556651"/>
                    <a:pt x="252893" y="556651"/>
                  </a:cubicBezTo>
                  <a:cubicBezTo>
                    <a:pt x="325250" y="556651"/>
                    <a:pt x="367063" y="524022"/>
                    <a:pt x="367063" y="478171"/>
                  </a:cubicBezTo>
                  <a:cubicBezTo>
                    <a:pt x="367063" y="459805"/>
                    <a:pt x="359899" y="441439"/>
                    <a:pt x="329353" y="426199"/>
                  </a:cubicBezTo>
                  <a:cubicBezTo>
                    <a:pt x="306949" y="414997"/>
                    <a:pt x="279400" y="407833"/>
                    <a:pt x="225344" y="394612"/>
                  </a:cubicBezTo>
                  <a:cubicBezTo>
                    <a:pt x="191672" y="386471"/>
                    <a:pt x="122376" y="370124"/>
                    <a:pt x="79522" y="335475"/>
                  </a:cubicBezTo>
                  <a:cubicBezTo>
                    <a:pt x="36732" y="300827"/>
                    <a:pt x="24488" y="250874"/>
                    <a:pt x="24488" y="207042"/>
                  </a:cubicBezTo>
                  <a:cubicBezTo>
                    <a:pt x="24488" y="71445"/>
                    <a:pt x="140742" y="16412"/>
                    <a:pt x="254912" y="16412"/>
                  </a:cubicBezTo>
                  <a:cubicBezTo>
                    <a:pt x="353776" y="16412"/>
                    <a:pt x="425157" y="57182"/>
                    <a:pt x="482274" y="115277"/>
                  </a:cubicBezTo>
                  <a:lnTo>
                    <a:pt x="392528" y="202939"/>
                  </a:lnTo>
                  <a:cubicBezTo>
                    <a:pt x="350715" y="161127"/>
                    <a:pt x="309945" y="137681"/>
                    <a:pt x="246706" y="137681"/>
                  </a:cubicBezTo>
                  <a:cubicBezTo>
                    <a:pt x="192649" y="137681"/>
                    <a:pt x="152921" y="155005"/>
                    <a:pt x="152921" y="199878"/>
                  </a:cubicBezTo>
                  <a:cubicBezTo>
                    <a:pt x="152921" y="219221"/>
                    <a:pt x="160085" y="232508"/>
                    <a:pt x="179428" y="243710"/>
                  </a:cubicBezTo>
                  <a:cubicBezTo>
                    <a:pt x="201832" y="255954"/>
                    <a:pt x="233485" y="265137"/>
                    <a:pt x="282396" y="277381"/>
                  </a:cubicBezTo>
                  <a:cubicBezTo>
                    <a:pt x="340490" y="292686"/>
                    <a:pt x="394547" y="305907"/>
                    <a:pt x="438378" y="341598"/>
                  </a:cubicBezTo>
                  <a:cubicBezTo>
                    <a:pt x="477129" y="373185"/>
                    <a:pt x="496472" y="414997"/>
                    <a:pt x="496472" y="475176"/>
                  </a:cubicBezTo>
                  <a:close/>
                  <a:moveTo>
                    <a:pt x="6100885" y="208996"/>
                  </a:moveTo>
                  <a:lnTo>
                    <a:pt x="6051778" y="329288"/>
                  </a:lnTo>
                  <a:cubicBezTo>
                    <a:pt x="6033413" y="311964"/>
                    <a:pt x="6011985" y="299720"/>
                    <a:pt x="5982482" y="299720"/>
                  </a:cubicBezTo>
                  <a:cubicBezTo>
                    <a:pt x="5925365" y="299720"/>
                    <a:pt x="5911232" y="347654"/>
                    <a:pt x="5911232" y="405749"/>
                  </a:cubicBezTo>
                  <a:lnTo>
                    <a:pt x="5911232" y="667759"/>
                  </a:lnTo>
                  <a:lnTo>
                    <a:pt x="5790940" y="667759"/>
                  </a:lnTo>
                  <a:lnTo>
                    <a:pt x="5790940" y="186527"/>
                  </a:lnTo>
                  <a:lnTo>
                    <a:pt x="5911232" y="186527"/>
                  </a:lnTo>
                  <a:lnTo>
                    <a:pt x="5911232" y="220198"/>
                  </a:lnTo>
                  <a:cubicBezTo>
                    <a:pt x="5938781" y="192649"/>
                    <a:pt x="5973429" y="176367"/>
                    <a:pt x="6012181" y="176367"/>
                  </a:cubicBezTo>
                  <a:cubicBezTo>
                    <a:pt x="6045852" y="176367"/>
                    <a:pt x="6075420" y="186592"/>
                    <a:pt x="6100885" y="208996"/>
                  </a:cubicBezTo>
                  <a:close/>
                </a:path>
              </a:pathLst>
            </a:custGeom>
            <a:solidFill>
              <a:schemeClr val="bg2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926079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ram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CF5E0C7-6CC4-C4E1-946D-4BAC78CCDA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8386354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0"/>
                  <a:alpha val="0"/>
                </a:schemeClr>
              </a:gs>
              <a:gs pos="95000">
                <a:srgbClr val="000000">
                  <a:alpha val="70000"/>
                </a:srgb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n-US" sz="1200" b="1">
              <a:solidFill>
                <a:schemeClr val="tx1"/>
              </a:solidFill>
            </a:endParaRP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632E76BF-46D5-8E94-88AA-4783DD302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89762" y="4436485"/>
            <a:ext cx="4907628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edit master subtitle style</a:t>
            </a:r>
            <a:endParaRPr lang="en-US" dirty="0"/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1F7B1FDC-B90E-6693-A750-B9BA4B535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9762" y="2698751"/>
            <a:ext cx="4906009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" panose="02000503020000020004" pitchFamily="2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0" name="Text Placeholder 288">
            <a:extLst>
              <a:ext uri="{FF2B5EF4-FFF2-40B4-BE49-F238E27FC236}">
                <a16:creationId xmlns:a16="http://schemas.microsoft.com/office/drawing/2014/main" id="{1673B89D-F206-B9D2-CDB7-BDE045C744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89762" y="5047485"/>
            <a:ext cx="4906010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89C7DE68-0AF4-0FBC-E65F-4833641C7EFD}"/>
              </a:ext>
            </a:extLst>
          </p:cNvPr>
          <p:cNvGrpSpPr/>
          <p:nvPr userDrawn="1"/>
        </p:nvGrpSpPr>
        <p:grpSpPr>
          <a:xfrm>
            <a:off x="485774" y="1291008"/>
            <a:ext cx="5706110" cy="4360545"/>
            <a:chOff x="485774" y="1291008"/>
            <a:chExt cx="5706110" cy="4360545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F7E50E80-DFF0-E065-898F-1AFD970459B6}"/>
                </a:ext>
              </a:extLst>
            </p:cNvPr>
            <p:cNvSpPr/>
            <p:nvPr userDrawn="1"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90AAC841-3D56-6842-04D1-F0B7D973D86D}"/>
                </a:ext>
              </a:extLst>
            </p:cNvPr>
            <p:cNvSpPr/>
            <p:nvPr userDrawn="1"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gradFill flip="none" rotWithShape="1">
              <a:gsLst>
                <a:gs pos="39000">
                  <a:srgbClr val="FFE600"/>
                </a:gs>
                <a:gs pos="68000">
                  <a:srgbClr val="FF7D1E"/>
                </a:gs>
                <a:gs pos="100000">
                  <a:srgbClr val="32FFFF"/>
                </a:gs>
              </a:gsLst>
              <a:lin ang="18720000" scaled="0"/>
              <a:tileRect/>
            </a:gradFill>
            <a:ln w="81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3E0BD9D2-8DFC-5B4A-B844-B24A38A6307D}"/>
              </a:ext>
            </a:extLst>
          </p:cNvPr>
          <p:cNvGrpSpPr/>
          <p:nvPr userDrawn="1"/>
        </p:nvGrpSpPr>
        <p:grpSpPr>
          <a:xfrm>
            <a:off x="485775" y="6164633"/>
            <a:ext cx="4940935" cy="318770"/>
            <a:chOff x="485775" y="6164633"/>
            <a:chExt cx="4940935" cy="318770"/>
          </a:xfrm>
        </p:grpSpPr>
        <p:sp>
          <p:nvSpPr>
            <p:cNvPr id="4" name="Freeform 23">
              <a:extLst>
                <a:ext uri="{FF2B5EF4-FFF2-40B4-BE49-F238E27FC236}">
                  <a16:creationId xmlns:a16="http://schemas.microsoft.com/office/drawing/2014/main" id="{6E1C76AD-AD2A-6908-C0E9-04C4C1A81DE1}"/>
                </a:ext>
              </a:extLst>
            </p:cNvPr>
            <p:cNvSpPr/>
            <p:nvPr userDrawn="1"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5" name="Freeform 24">
              <a:extLst>
                <a:ext uri="{FF2B5EF4-FFF2-40B4-BE49-F238E27FC236}">
                  <a16:creationId xmlns:a16="http://schemas.microsoft.com/office/drawing/2014/main" id="{CAE00036-4F0B-1437-BB6F-8AC8C14ABDC6}"/>
                </a:ext>
              </a:extLst>
            </p:cNvPr>
            <p:cNvSpPr/>
            <p:nvPr userDrawn="1"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chemeClr val="bg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2685D981-4029-E7FA-8B11-18D394BA292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562024" y="5167683"/>
            <a:ext cx="1220400" cy="1285398"/>
            <a:chOff x="3913438" y="-99392"/>
            <a:chExt cx="6512821" cy="6859693"/>
          </a:xfrm>
        </p:grpSpPr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ABB284A9-7F86-7F5F-FBFB-890629FF0C7B}"/>
                </a:ext>
              </a:extLst>
            </p:cNvPr>
            <p:cNvSpPr/>
            <p:nvPr/>
          </p:nvSpPr>
          <p:spPr>
            <a:xfrm>
              <a:off x="5319751" y="-99392"/>
              <a:ext cx="4303606" cy="1570696"/>
            </a:xfrm>
            <a:custGeom>
              <a:avLst/>
              <a:gdLst>
                <a:gd name="connsiteX0" fmla="*/ 4303607 w 4303606"/>
                <a:gd name="connsiteY0" fmla="*/ 0 h 1570696"/>
                <a:gd name="connsiteX1" fmla="*/ 0 w 4303606"/>
                <a:gd name="connsiteY1" fmla="*/ 1570697 h 1570696"/>
                <a:gd name="connsiteX2" fmla="*/ 4303607 w 4303606"/>
                <a:gd name="connsiteY2" fmla="*/ 810521 h 1570696"/>
                <a:gd name="connsiteX3" fmla="*/ 4303607 w 4303606"/>
                <a:gd name="connsiteY3" fmla="*/ 0 h 1570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03606" h="1570696">
                  <a:moveTo>
                    <a:pt x="4303607" y="0"/>
                  </a:moveTo>
                  <a:lnTo>
                    <a:pt x="0" y="1570697"/>
                  </a:lnTo>
                  <a:lnTo>
                    <a:pt x="4303607" y="810521"/>
                  </a:lnTo>
                  <a:lnTo>
                    <a:pt x="4303607" y="0"/>
                  </a:lnTo>
                  <a:close/>
                </a:path>
              </a:pathLst>
            </a:custGeom>
            <a:solidFill>
              <a:srgbClr val="FFE600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E0E5AB5A-4698-308F-13D4-76EFF3ED9F4F}"/>
                </a:ext>
              </a:extLst>
            </p:cNvPr>
            <p:cNvSpPr/>
            <p:nvPr/>
          </p:nvSpPr>
          <p:spPr>
            <a:xfrm>
              <a:off x="5357395" y="2124345"/>
              <a:ext cx="3613052" cy="2176910"/>
            </a:xfrm>
            <a:custGeom>
              <a:avLst/>
              <a:gdLst>
                <a:gd name="connsiteX0" fmla="*/ 652845 w 3613052"/>
                <a:gd name="connsiteY0" fmla="*/ 1676205 h 2176910"/>
                <a:gd name="connsiteX1" fmla="*/ 1741463 w 3613052"/>
                <a:gd name="connsiteY1" fmla="*/ 1676205 h 2176910"/>
                <a:gd name="connsiteX2" fmla="*/ 1741463 w 3613052"/>
                <a:gd name="connsiteY2" fmla="*/ 2176910 h 2176910"/>
                <a:gd name="connsiteX3" fmla="*/ 0 w 3613052"/>
                <a:gd name="connsiteY3" fmla="*/ 2176910 h 2176910"/>
                <a:gd name="connsiteX4" fmla="*/ 0 w 3613052"/>
                <a:gd name="connsiteY4" fmla="*/ 0 h 2176910"/>
                <a:gd name="connsiteX5" fmla="*/ 1234766 w 3613052"/>
                <a:gd name="connsiteY5" fmla="*/ 0 h 2176910"/>
                <a:gd name="connsiteX6" fmla="*/ 1523675 w 3613052"/>
                <a:gd name="connsiteY6" fmla="*/ 500706 h 2176910"/>
                <a:gd name="connsiteX7" fmla="*/ 652910 w 3613052"/>
                <a:gd name="connsiteY7" fmla="*/ 500706 h 2176910"/>
                <a:gd name="connsiteX8" fmla="*/ 652910 w 3613052"/>
                <a:gd name="connsiteY8" fmla="*/ 859953 h 2176910"/>
                <a:gd name="connsiteX9" fmla="*/ 1440050 w 3613052"/>
                <a:gd name="connsiteY9" fmla="*/ 859953 h 2176910"/>
                <a:gd name="connsiteX10" fmla="*/ 1440050 w 3613052"/>
                <a:gd name="connsiteY10" fmla="*/ 1317022 h 2176910"/>
                <a:gd name="connsiteX11" fmla="*/ 652910 w 3613052"/>
                <a:gd name="connsiteY11" fmla="*/ 1317022 h 2176910"/>
                <a:gd name="connsiteX12" fmla="*/ 652910 w 3613052"/>
                <a:gd name="connsiteY12" fmla="*/ 1676205 h 2176910"/>
                <a:gd name="connsiteX13" fmla="*/ 2900485 w 3613052"/>
                <a:gd name="connsiteY13" fmla="*/ 0 h 2176910"/>
                <a:gd name="connsiteX14" fmla="*/ 2530687 w 3613052"/>
                <a:gd name="connsiteY14" fmla="*/ 710418 h 2176910"/>
                <a:gd name="connsiteX15" fmla="*/ 2161801 w 3613052"/>
                <a:gd name="connsiteY15" fmla="*/ 0 h 2176910"/>
                <a:gd name="connsiteX16" fmla="*/ 1439985 w 3613052"/>
                <a:gd name="connsiteY16" fmla="*/ 0 h 2176910"/>
                <a:gd name="connsiteX17" fmla="*/ 2200552 w 3613052"/>
                <a:gd name="connsiteY17" fmla="*/ 1317022 h 2176910"/>
                <a:gd name="connsiteX18" fmla="*/ 2200552 w 3613052"/>
                <a:gd name="connsiteY18" fmla="*/ 2176910 h 2176910"/>
                <a:gd name="connsiteX19" fmla="*/ 2851443 w 3613052"/>
                <a:gd name="connsiteY19" fmla="*/ 2176910 h 2176910"/>
                <a:gd name="connsiteX20" fmla="*/ 2851443 w 3613052"/>
                <a:gd name="connsiteY20" fmla="*/ 1317022 h 2176910"/>
                <a:gd name="connsiteX21" fmla="*/ 3613053 w 3613052"/>
                <a:gd name="connsiteY21" fmla="*/ 0 h 2176910"/>
                <a:gd name="connsiteX22" fmla="*/ 2900485 w 3613052"/>
                <a:gd name="connsiteY22" fmla="*/ 0 h 2176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613052" h="2176910">
                  <a:moveTo>
                    <a:pt x="652845" y="1676205"/>
                  </a:moveTo>
                  <a:lnTo>
                    <a:pt x="1741463" y="1676205"/>
                  </a:lnTo>
                  <a:lnTo>
                    <a:pt x="1741463" y="2176910"/>
                  </a:lnTo>
                  <a:lnTo>
                    <a:pt x="0" y="2176910"/>
                  </a:lnTo>
                  <a:lnTo>
                    <a:pt x="0" y="0"/>
                  </a:lnTo>
                  <a:lnTo>
                    <a:pt x="1234766" y="0"/>
                  </a:lnTo>
                  <a:lnTo>
                    <a:pt x="1523675" y="500706"/>
                  </a:lnTo>
                  <a:lnTo>
                    <a:pt x="652910" y="500706"/>
                  </a:lnTo>
                  <a:lnTo>
                    <a:pt x="652910" y="859953"/>
                  </a:lnTo>
                  <a:lnTo>
                    <a:pt x="1440050" y="859953"/>
                  </a:lnTo>
                  <a:lnTo>
                    <a:pt x="1440050" y="1317022"/>
                  </a:lnTo>
                  <a:lnTo>
                    <a:pt x="652910" y="1317022"/>
                  </a:lnTo>
                  <a:lnTo>
                    <a:pt x="652910" y="1676205"/>
                  </a:lnTo>
                  <a:close/>
                  <a:moveTo>
                    <a:pt x="2900485" y="0"/>
                  </a:moveTo>
                  <a:lnTo>
                    <a:pt x="2530687" y="710418"/>
                  </a:lnTo>
                  <a:lnTo>
                    <a:pt x="2161801" y="0"/>
                  </a:lnTo>
                  <a:lnTo>
                    <a:pt x="1439985" y="0"/>
                  </a:lnTo>
                  <a:lnTo>
                    <a:pt x="2200552" y="1317022"/>
                  </a:lnTo>
                  <a:lnTo>
                    <a:pt x="2200552" y="2176910"/>
                  </a:lnTo>
                  <a:lnTo>
                    <a:pt x="2851443" y="2176910"/>
                  </a:lnTo>
                  <a:lnTo>
                    <a:pt x="2851443" y="1317022"/>
                  </a:lnTo>
                  <a:lnTo>
                    <a:pt x="3613053" y="0"/>
                  </a:lnTo>
                  <a:lnTo>
                    <a:pt x="2900485" y="0"/>
                  </a:lnTo>
                  <a:close/>
                </a:path>
              </a:pathLst>
            </a:custGeom>
            <a:solidFill>
              <a:schemeClr val="bg2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769E603B-2DE7-EDE4-E8C7-0840DD22DB35}"/>
                </a:ext>
              </a:extLst>
            </p:cNvPr>
            <p:cNvSpPr/>
            <p:nvPr/>
          </p:nvSpPr>
          <p:spPr>
            <a:xfrm>
              <a:off x="3913438" y="5111711"/>
              <a:ext cx="6512821" cy="1648590"/>
            </a:xfrm>
            <a:custGeom>
              <a:avLst/>
              <a:gdLst>
                <a:gd name="connsiteX0" fmla="*/ 5071143 w 6512821"/>
                <a:gd name="connsiteY0" fmla="*/ 1396740 h 1648590"/>
                <a:gd name="connsiteX1" fmla="*/ 5069124 w 6512821"/>
                <a:gd name="connsiteY1" fmla="*/ 1438552 h 1648590"/>
                <a:gd name="connsiteX2" fmla="*/ 4777545 w 6512821"/>
                <a:gd name="connsiteY2" fmla="*/ 1438552 h 1648590"/>
                <a:gd name="connsiteX3" fmla="*/ 4880513 w 6512821"/>
                <a:gd name="connsiteY3" fmla="*/ 1533378 h 1648590"/>
                <a:gd name="connsiteX4" fmla="*/ 4964137 w 6512821"/>
                <a:gd name="connsiteY4" fmla="*/ 1499707 h 1648590"/>
                <a:gd name="connsiteX5" fmla="*/ 5049781 w 6512821"/>
                <a:gd name="connsiteY5" fmla="*/ 1572065 h 1648590"/>
                <a:gd name="connsiteX6" fmla="*/ 4875433 w 6512821"/>
                <a:gd name="connsiteY6" fmla="*/ 1648525 h 1648590"/>
                <a:gd name="connsiteX7" fmla="*/ 4654192 w 6512821"/>
                <a:gd name="connsiteY7" fmla="*/ 1398759 h 1648590"/>
                <a:gd name="connsiteX8" fmla="*/ 4867292 w 6512821"/>
                <a:gd name="connsiteY8" fmla="*/ 1146908 h 1648590"/>
                <a:gd name="connsiteX9" fmla="*/ 5071208 w 6512821"/>
                <a:gd name="connsiteY9" fmla="*/ 1396675 h 1648590"/>
                <a:gd name="connsiteX10" fmla="*/ 4779564 w 6512821"/>
                <a:gd name="connsiteY10" fmla="*/ 1344767 h 1648590"/>
                <a:gd name="connsiteX11" fmla="*/ 4950851 w 6512821"/>
                <a:gd name="connsiteY11" fmla="*/ 1344767 h 1648590"/>
                <a:gd name="connsiteX12" fmla="*/ 4863189 w 6512821"/>
                <a:gd name="connsiteY12" fmla="*/ 1254044 h 1648590"/>
                <a:gd name="connsiteX13" fmla="*/ 4779564 w 6512821"/>
                <a:gd name="connsiteY13" fmla="*/ 1344767 h 1648590"/>
                <a:gd name="connsiteX14" fmla="*/ 6512756 w 6512821"/>
                <a:gd name="connsiteY14" fmla="*/ 1396740 h 1648590"/>
                <a:gd name="connsiteX15" fmla="*/ 6510737 w 6512821"/>
                <a:gd name="connsiteY15" fmla="*/ 1438552 h 1648590"/>
                <a:gd name="connsiteX16" fmla="*/ 6219158 w 6512821"/>
                <a:gd name="connsiteY16" fmla="*/ 1438552 h 1648590"/>
                <a:gd name="connsiteX17" fmla="*/ 6322126 w 6512821"/>
                <a:gd name="connsiteY17" fmla="*/ 1533378 h 1648590"/>
                <a:gd name="connsiteX18" fmla="*/ 6405751 w 6512821"/>
                <a:gd name="connsiteY18" fmla="*/ 1499707 h 1648590"/>
                <a:gd name="connsiteX19" fmla="*/ 6491394 w 6512821"/>
                <a:gd name="connsiteY19" fmla="*/ 1572065 h 1648590"/>
                <a:gd name="connsiteX20" fmla="*/ 6317046 w 6512821"/>
                <a:gd name="connsiteY20" fmla="*/ 1648525 h 1648590"/>
                <a:gd name="connsiteX21" fmla="*/ 6095805 w 6512821"/>
                <a:gd name="connsiteY21" fmla="*/ 1398759 h 1648590"/>
                <a:gd name="connsiteX22" fmla="*/ 6308905 w 6512821"/>
                <a:gd name="connsiteY22" fmla="*/ 1146908 h 1648590"/>
                <a:gd name="connsiteX23" fmla="*/ 6512821 w 6512821"/>
                <a:gd name="connsiteY23" fmla="*/ 1396675 h 1648590"/>
                <a:gd name="connsiteX24" fmla="*/ 6221177 w 6512821"/>
                <a:gd name="connsiteY24" fmla="*/ 1344767 h 1648590"/>
                <a:gd name="connsiteX25" fmla="*/ 6392465 w 6512821"/>
                <a:gd name="connsiteY25" fmla="*/ 1344767 h 1648590"/>
                <a:gd name="connsiteX26" fmla="*/ 6304802 w 6512821"/>
                <a:gd name="connsiteY26" fmla="*/ 1254044 h 1648590"/>
                <a:gd name="connsiteX27" fmla="*/ 6221177 w 6512821"/>
                <a:gd name="connsiteY27" fmla="*/ 1344767 h 1648590"/>
                <a:gd name="connsiteX28" fmla="*/ 5978509 w 6512821"/>
                <a:gd name="connsiteY28" fmla="*/ 1467143 h 1648590"/>
                <a:gd name="connsiteX29" fmla="*/ 6058031 w 6512821"/>
                <a:gd name="connsiteY29" fmla="*/ 1542561 h 1648590"/>
                <a:gd name="connsiteX30" fmla="*/ 5866359 w 6512821"/>
                <a:gd name="connsiteY30" fmla="*/ 1648590 h 1648590"/>
                <a:gd name="connsiteX31" fmla="*/ 5637954 w 6512821"/>
                <a:gd name="connsiteY31" fmla="*/ 1398823 h 1648590"/>
                <a:gd name="connsiteX32" fmla="*/ 5868378 w 6512821"/>
                <a:gd name="connsiteY32" fmla="*/ 1146973 h 1648590"/>
                <a:gd name="connsiteX33" fmla="*/ 6056989 w 6512821"/>
                <a:gd name="connsiteY33" fmla="*/ 1250983 h 1648590"/>
                <a:gd name="connsiteX34" fmla="*/ 5975448 w 6512821"/>
                <a:gd name="connsiteY34" fmla="*/ 1333565 h 1648590"/>
                <a:gd name="connsiteX35" fmla="*/ 5867401 w 6512821"/>
                <a:gd name="connsiteY35" fmla="*/ 1266288 h 1648590"/>
                <a:gd name="connsiteX36" fmla="*/ 5766452 w 6512821"/>
                <a:gd name="connsiteY36" fmla="*/ 1396804 h 1648590"/>
                <a:gd name="connsiteX37" fmla="*/ 5868378 w 6512821"/>
                <a:gd name="connsiteY37" fmla="*/ 1528299 h 1648590"/>
                <a:gd name="connsiteX38" fmla="*/ 5978509 w 6512821"/>
                <a:gd name="connsiteY38" fmla="*/ 1467143 h 1648590"/>
                <a:gd name="connsiteX39" fmla="*/ 4869246 w 6512821"/>
                <a:gd name="connsiteY39" fmla="*/ 667825 h 1648590"/>
                <a:gd name="connsiteX40" fmla="*/ 4750973 w 6512821"/>
                <a:gd name="connsiteY40" fmla="*/ 667825 h 1648590"/>
                <a:gd name="connsiteX41" fmla="*/ 4750973 w 6512821"/>
                <a:gd name="connsiteY41" fmla="*/ 634153 h 1648590"/>
                <a:gd name="connsiteX42" fmla="*/ 4638822 w 6512821"/>
                <a:gd name="connsiteY42" fmla="*/ 677984 h 1648590"/>
                <a:gd name="connsiteX43" fmla="*/ 4467535 w 6512821"/>
                <a:gd name="connsiteY43" fmla="*/ 458763 h 1648590"/>
                <a:gd name="connsiteX44" fmla="*/ 4467535 w 6512821"/>
                <a:gd name="connsiteY44" fmla="*/ 186527 h 1648590"/>
                <a:gd name="connsiteX45" fmla="*/ 4587827 w 6512821"/>
                <a:gd name="connsiteY45" fmla="*/ 186527 h 1648590"/>
                <a:gd name="connsiteX46" fmla="*/ 4587827 w 6512821"/>
                <a:gd name="connsiteY46" fmla="*/ 448538 h 1648590"/>
                <a:gd name="connsiteX47" fmla="*/ 4668390 w 6512821"/>
                <a:gd name="connsiteY47" fmla="*/ 562708 h 1648590"/>
                <a:gd name="connsiteX48" fmla="*/ 4748954 w 6512821"/>
                <a:gd name="connsiteY48" fmla="*/ 452576 h 1648590"/>
                <a:gd name="connsiteX49" fmla="*/ 4748954 w 6512821"/>
                <a:gd name="connsiteY49" fmla="*/ 186462 h 1648590"/>
                <a:gd name="connsiteX50" fmla="*/ 4869246 w 6512821"/>
                <a:gd name="connsiteY50" fmla="*/ 186462 h 1648590"/>
                <a:gd name="connsiteX51" fmla="*/ 4869246 w 6512821"/>
                <a:gd name="connsiteY51" fmla="*/ 667695 h 1648590"/>
                <a:gd name="connsiteX52" fmla="*/ 5244449 w 6512821"/>
                <a:gd name="connsiteY52" fmla="*/ 527083 h 1648590"/>
                <a:gd name="connsiteX53" fmla="*/ 5227125 w 6512821"/>
                <a:gd name="connsiteY53" fmla="*/ 649458 h 1648590"/>
                <a:gd name="connsiteX54" fmla="*/ 5128261 w 6512821"/>
                <a:gd name="connsiteY54" fmla="*/ 677984 h 1648590"/>
                <a:gd name="connsiteX55" fmla="*/ 4997744 w 6512821"/>
                <a:gd name="connsiteY55" fmla="*/ 535224 h 1648590"/>
                <a:gd name="connsiteX56" fmla="*/ 4997744 w 6512821"/>
                <a:gd name="connsiteY56" fmla="*/ 301739 h 1648590"/>
                <a:gd name="connsiteX57" fmla="*/ 4928447 w 6512821"/>
                <a:gd name="connsiteY57" fmla="*/ 301739 h 1648590"/>
                <a:gd name="connsiteX58" fmla="*/ 4928447 w 6512821"/>
                <a:gd name="connsiteY58" fmla="*/ 186527 h 1648590"/>
                <a:gd name="connsiteX59" fmla="*/ 4997744 w 6512821"/>
                <a:gd name="connsiteY59" fmla="*/ 186527 h 1648590"/>
                <a:gd name="connsiteX60" fmla="*/ 4997744 w 6512821"/>
                <a:gd name="connsiteY60" fmla="*/ 61155 h 1648590"/>
                <a:gd name="connsiteX61" fmla="*/ 5118035 w 6512821"/>
                <a:gd name="connsiteY61" fmla="*/ 0 h 1648590"/>
                <a:gd name="connsiteX62" fmla="*/ 5118035 w 6512821"/>
                <a:gd name="connsiteY62" fmla="*/ 186592 h 1648590"/>
                <a:gd name="connsiteX63" fmla="*/ 5232205 w 6512821"/>
                <a:gd name="connsiteY63" fmla="*/ 186592 h 1648590"/>
                <a:gd name="connsiteX64" fmla="*/ 5232205 w 6512821"/>
                <a:gd name="connsiteY64" fmla="*/ 301804 h 1648590"/>
                <a:gd name="connsiteX65" fmla="*/ 5118035 w 6512821"/>
                <a:gd name="connsiteY65" fmla="*/ 301804 h 1648590"/>
                <a:gd name="connsiteX66" fmla="*/ 5118035 w 6512821"/>
                <a:gd name="connsiteY66" fmla="*/ 503701 h 1648590"/>
                <a:gd name="connsiteX67" fmla="*/ 5164928 w 6512821"/>
                <a:gd name="connsiteY67" fmla="*/ 560819 h 1648590"/>
                <a:gd name="connsiteX68" fmla="*/ 5244449 w 6512821"/>
                <a:gd name="connsiteY68" fmla="*/ 527148 h 1648590"/>
                <a:gd name="connsiteX69" fmla="*/ 3417407 w 6512821"/>
                <a:gd name="connsiteY69" fmla="*/ 667825 h 1648590"/>
                <a:gd name="connsiteX70" fmla="*/ 3297116 w 6512821"/>
                <a:gd name="connsiteY70" fmla="*/ 667825 h 1648590"/>
                <a:gd name="connsiteX71" fmla="*/ 3297116 w 6512821"/>
                <a:gd name="connsiteY71" fmla="*/ 405814 h 1648590"/>
                <a:gd name="connsiteX72" fmla="*/ 3215575 w 6512821"/>
                <a:gd name="connsiteY72" fmla="*/ 292621 h 1648590"/>
                <a:gd name="connsiteX73" fmla="*/ 3132993 w 6512821"/>
                <a:gd name="connsiteY73" fmla="*/ 402753 h 1648590"/>
                <a:gd name="connsiteX74" fmla="*/ 3132993 w 6512821"/>
                <a:gd name="connsiteY74" fmla="*/ 667825 h 1648590"/>
                <a:gd name="connsiteX75" fmla="*/ 3012701 w 6512821"/>
                <a:gd name="connsiteY75" fmla="*/ 667825 h 1648590"/>
                <a:gd name="connsiteX76" fmla="*/ 3012701 w 6512821"/>
                <a:gd name="connsiteY76" fmla="*/ 61221 h 1648590"/>
                <a:gd name="connsiteX77" fmla="*/ 3132993 w 6512821"/>
                <a:gd name="connsiteY77" fmla="*/ 65 h 1648590"/>
                <a:gd name="connsiteX78" fmla="*/ 3132993 w 6512821"/>
                <a:gd name="connsiteY78" fmla="*/ 220264 h 1648590"/>
                <a:gd name="connsiteX79" fmla="*/ 3246186 w 6512821"/>
                <a:gd name="connsiteY79" fmla="*/ 176432 h 1648590"/>
                <a:gd name="connsiteX80" fmla="*/ 3417473 w 6512821"/>
                <a:gd name="connsiteY80" fmla="*/ 396631 h 1648590"/>
                <a:gd name="connsiteX81" fmla="*/ 3417473 w 6512821"/>
                <a:gd name="connsiteY81" fmla="*/ 667825 h 1648590"/>
                <a:gd name="connsiteX82" fmla="*/ 5564554 w 6512821"/>
                <a:gd name="connsiteY82" fmla="*/ 1638365 h 1648590"/>
                <a:gd name="connsiteX83" fmla="*/ 5440160 w 6512821"/>
                <a:gd name="connsiteY83" fmla="*/ 1638365 h 1648590"/>
                <a:gd name="connsiteX84" fmla="*/ 5440160 w 6512821"/>
                <a:gd name="connsiteY84" fmla="*/ 1376355 h 1648590"/>
                <a:gd name="connsiteX85" fmla="*/ 5357577 w 6512821"/>
                <a:gd name="connsiteY85" fmla="*/ 1264204 h 1648590"/>
                <a:gd name="connsiteX86" fmla="*/ 5273952 w 6512821"/>
                <a:gd name="connsiteY86" fmla="*/ 1373293 h 1648590"/>
                <a:gd name="connsiteX87" fmla="*/ 5273952 w 6512821"/>
                <a:gd name="connsiteY87" fmla="*/ 1638365 h 1648590"/>
                <a:gd name="connsiteX88" fmla="*/ 5149558 w 6512821"/>
                <a:gd name="connsiteY88" fmla="*/ 1638365 h 1648590"/>
                <a:gd name="connsiteX89" fmla="*/ 5149558 w 6512821"/>
                <a:gd name="connsiteY89" fmla="*/ 1157133 h 1648590"/>
                <a:gd name="connsiteX90" fmla="*/ 5273952 w 6512821"/>
                <a:gd name="connsiteY90" fmla="*/ 1157133 h 1648590"/>
                <a:gd name="connsiteX91" fmla="*/ 5273952 w 6512821"/>
                <a:gd name="connsiteY91" fmla="*/ 1189762 h 1648590"/>
                <a:gd name="connsiteX92" fmla="*/ 5391183 w 6512821"/>
                <a:gd name="connsiteY92" fmla="*/ 1146973 h 1648590"/>
                <a:gd name="connsiteX93" fmla="*/ 5564490 w 6512821"/>
                <a:gd name="connsiteY93" fmla="*/ 1366195 h 1648590"/>
                <a:gd name="connsiteX94" fmla="*/ 5564490 w 6512821"/>
                <a:gd name="connsiteY94" fmla="*/ 1638430 h 1648590"/>
                <a:gd name="connsiteX95" fmla="*/ 4008772 w 6512821"/>
                <a:gd name="connsiteY95" fmla="*/ 1115386 h 1648590"/>
                <a:gd name="connsiteX96" fmla="*/ 4080152 w 6512821"/>
                <a:gd name="connsiteY96" fmla="*/ 1044005 h 1648590"/>
                <a:gd name="connsiteX97" fmla="*/ 4008772 w 6512821"/>
                <a:gd name="connsiteY97" fmla="*/ 972624 h 1648590"/>
                <a:gd name="connsiteX98" fmla="*/ 3937391 w 6512821"/>
                <a:gd name="connsiteY98" fmla="*/ 1044005 h 1648590"/>
                <a:gd name="connsiteX99" fmla="*/ 4008772 w 6512821"/>
                <a:gd name="connsiteY99" fmla="*/ 1115386 h 1648590"/>
                <a:gd name="connsiteX100" fmla="*/ 829864 w 6512821"/>
                <a:gd name="connsiteY100" fmla="*/ 1115386 h 1648590"/>
                <a:gd name="connsiteX101" fmla="*/ 901244 w 6512821"/>
                <a:gd name="connsiteY101" fmla="*/ 1044005 h 1648590"/>
                <a:gd name="connsiteX102" fmla="*/ 829864 w 6512821"/>
                <a:gd name="connsiteY102" fmla="*/ 972624 h 1648590"/>
                <a:gd name="connsiteX103" fmla="*/ 758483 w 6512821"/>
                <a:gd name="connsiteY103" fmla="*/ 1044005 h 1648590"/>
                <a:gd name="connsiteX104" fmla="*/ 829864 w 6512821"/>
                <a:gd name="connsiteY104" fmla="*/ 1115386 h 1648590"/>
                <a:gd name="connsiteX105" fmla="*/ 6512756 w 6512821"/>
                <a:gd name="connsiteY105" fmla="*/ 426134 h 1648590"/>
                <a:gd name="connsiteX106" fmla="*/ 6510737 w 6512821"/>
                <a:gd name="connsiteY106" fmla="*/ 467946 h 1648590"/>
                <a:gd name="connsiteX107" fmla="*/ 6219158 w 6512821"/>
                <a:gd name="connsiteY107" fmla="*/ 467946 h 1648590"/>
                <a:gd name="connsiteX108" fmla="*/ 6322126 w 6512821"/>
                <a:gd name="connsiteY108" fmla="*/ 562773 h 1648590"/>
                <a:gd name="connsiteX109" fmla="*/ 6405751 w 6512821"/>
                <a:gd name="connsiteY109" fmla="*/ 529102 h 1648590"/>
                <a:gd name="connsiteX110" fmla="*/ 6491394 w 6512821"/>
                <a:gd name="connsiteY110" fmla="*/ 601459 h 1648590"/>
                <a:gd name="connsiteX111" fmla="*/ 6317046 w 6512821"/>
                <a:gd name="connsiteY111" fmla="*/ 677919 h 1648590"/>
                <a:gd name="connsiteX112" fmla="*/ 6095805 w 6512821"/>
                <a:gd name="connsiteY112" fmla="*/ 428153 h 1648590"/>
                <a:gd name="connsiteX113" fmla="*/ 6308905 w 6512821"/>
                <a:gd name="connsiteY113" fmla="*/ 176302 h 1648590"/>
                <a:gd name="connsiteX114" fmla="*/ 6512821 w 6512821"/>
                <a:gd name="connsiteY114" fmla="*/ 426069 h 1648590"/>
                <a:gd name="connsiteX115" fmla="*/ 6221177 w 6512821"/>
                <a:gd name="connsiteY115" fmla="*/ 374162 h 1648590"/>
                <a:gd name="connsiteX116" fmla="*/ 6392465 w 6512821"/>
                <a:gd name="connsiteY116" fmla="*/ 374162 h 1648590"/>
                <a:gd name="connsiteX117" fmla="*/ 6304802 w 6512821"/>
                <a:gd name="connsiteY117" fmla="*/ 283438 h 1648590"/>
                <a:gd name="connsiteX118" fmla="*/ 6221177 w 6512821"/>
                <a:gd name="connsiteY118" fmla="*/ 374162 h 1648590"/>
                <a:gd name="connsiteX119" fmla="*/ 5702235 w 6512821"/>
                <a:gd name="connsiteY119" fmla="*/ 667825 h 1648590"/>
                <a:gd name="connsiteX120" fmla="*/ 5583963 w 6512821"/>
                <a:gd name="connsiteY120" fmla="*/ 667825 h 1648590"/>
                <a:gd name="connsiteX121" fmla="*/ 5583963 w 6512821"/>
                <a:gd name="connsiteY121" fmla="*/ 634153 h 1648590"/>
                <a:gd name="connsiteX122" fmla="*/ 5471812 w 6512821"/>
                <a:gd name="connsiteY122" fmla="*/ 677984 h 1648590"/>
                <a:gd name="connsiteX123" fmla="*/ 5300525 w 6512821"/>
                <a:gd name="connsiteY123" fmla="*/ 458763 h 1648590"/>
                <a:gd name="connsiteX124" fmla="*/ 5300525 w 6512821"/>
                <a:gd name="connsiteY124" fmla="*/ 186527 h 1648590"/>
                <a:gd name="connsiteX125" fmla="*/ 5420817 w 6512821"/>
                <a:gd name="connsiteY125" fmla="*/ 186527 h 1648590"/>
                <a:gd name="connsiteX126" fmla="*/ 5420817 w 6512821"/>
                <a:gd name="connsiteY126" fmla="*/ 448538 h 1648590"/>
                <a:gd name="connsiteX127" fmla="*/ 5501380 w 6512821"/>
                <a:gd name="connsiteY127" fmla="*/ 562708 h 1648590"/>
                <a:gd name="connsiteX128" fmla="*/ 5581944 w 6512821"/>
                <a:gd name="connsiteY128" fmla="*/ 452576 h 1648590"/>
                <a:gd name="connsiteX129" fmla="*/ 5581944 w 6512821"/>
                <a:gd name="connsiteY129" fmla="*/ 186462 h 1648590"/>
                <a:gd name="connsiteX130" fmla="*/ 5702235 w 6512821"/>
                <a:gd name="connsiteY130" fmla="*/ 186462 h 1648590"/>
                <a:gd name="connsiteX131" fmla="*/ 5702235 w 6512821"/>
                <a:gd name="connsiteY131" fmla="*/ 667695 h 1648590"/>
                <a:gd name="connsiteX132" fmla="*/ 3895579 w 6512821"/>
                <a:gd name="connsiteY132" fmla="*/ 426134 h 1648590"/>
                <a:gd name="connsiteX133" fmla="*/ 3893560 w 6512821"/>
                <a:gd name="connsiteY133" fmla="*/ 467946 h 1648590"/>
                <a:gd name="connsiteX134" fmla="*/ 3601981 w 6512821"/>
                <a:gd name="connsiteY134" fmla="*/ 467946 h 1648590"/>
                <a:gd name="connsiteX135" fmla="*/ 3704949 w 6512821"/>
                <a:gd name="connsiteY135" fmla="*/ 562773 h 1648590"/>
                <a:gd name="connsiteX136" fmla="*/ 3788573 w 6512821"/>
                <a:gd name="connsiteY136" fmla="*/ 529102 h 1648590"/>
                <a:gd name="connsiteX137" fmla="*/ 3874217 w 6512821"/>
                <a:gd name="connsiteY137" fmla="*/ 601459 h 1648590"/>
                <a:gd name="connsiteX138" fmla="*/ 3699868 w 6512821"/>
                <a:gd name="connsiteY138" fmla="*/ 677919 h 1648590"/>
                <a:gd name="connsiteX139" fmla="*/ 3478628 w 6512821"/>
                <a:gd name="connsiteY139" fmla="*/ 428153 h 1648590"/>
                <a:gd name="connsiteX140" fmla="*/ 3691727 w 6512821"/>
                <a:gd name="connsiteY140" fmla="*/ 176302 h 1648590"/>
                <a:gd name="connsiteX141" fmla="*/ 3895644 w 6512821"/>
                <a:gd name="connsiteY141" fmla="*/ 426069 h 1648590"/>
                <a:gd name="connsiteX142" fmla="*/ 3604000 w 6512821"/>
                <a:gd name="connsiteY142" fmla="*/ 374162 h 1648590"/>
                <a:gd name="connsiteX143" fmla="*/ 3775287 w 6512821"/>
                <a:gd name="connsiteY143" fmla="*/ 374162 h 1648590"/>
                <a:gd name="connsiteX144" fmla="*/ 3687624 w 6512821"/>
                <a:gd name="connsiteY144" fmla="*/ 283438 h 1648590"/>
                <a:gd name="connsiteX145" fmla="*/ 3604000 w 6512821"/>
                <a:gd name="connsiteY145" fmla="*/ 374162 h 1648590"/>
                <a:gd name="connsiteX146" fmla="*/ 4579686 w 6512821"/>
                <a:gd name="connsiteY146" fmla="*/ 1638365 h 1648590"/>
                <a:gd name="connsiteX147" fmla="*/ 4455291 w 6512821"/>
                <a:gd name="connsiteY147" fmla="*/ 1638365 h 1648590"/>
                <a:gd name="connsiteX148" fmla="*/ 4455291 w 6512821"/>
                <a:gd name="connsiteY148" fmla="*/ 1606778 h 1648590"/>
                <a:gd name="connsiteX149" fmla="*/ 4346201 w 6512821"/>
                <a:gd name="connsiteY149" fmla="*/ 1648590 h 1648590"/>
                <a:gd name="connsiteX150" fmla="*/ 4148406 w 6512821"/>
                <a:gd name="connsiteY150" fmla="*/ 1393678 h 1648590"/>
                <a:gd name="connsiteX151" fmla="*/ 4343140 w 6512821"/>
                <a:gd name="connsiteY151" fmla="*/ 1146973 h 1648590"/>
                <a:gd name="connsiteX152" fmla="*/ 4455291 w 6512821"/>
                <a:gd name="connsiteY152" fmla="*/ 1185724 h 1648590"/>
                <a:gd name="connsiteX153" fmla="*/ 4455291 w 6512821"/>
                <a:gd name="connsiteY153" fmla="*/ 1031761 h 1648590"/>
                <a:gd name="connsiteX154" fmla="*/ 4579686 w 6512821"/>
                <a:gd name="connsiteY154" fmla="*/ 969564 h 1648590"/>
                <a:gd name="connsiteX155" fmla="*/ 4579686 w 6512821"/>
                <a:gd name="connsiteY155" fmla="*/ 1638365 h 1648590"/>
                <a:gd name="connsiteX156" fmla="*/ 4455356 w 6512821"/>
                <a:gd name="connsiteY156" fmla="*/ 1489547 h 1648590"/>
                <a:gd name="connsiteX157" fmla="*/ 4455356 w 6512821"/>
                <a:gd name="connsiteY157" fmla="*/ 1306016 h 1648590"/>
                <a:gd name="connsiteX158" fmla="*/ 4368670 w 6512821"/>
                <a:gd name="connsiteY158" fmla="*/ 1264204 h 1648590"/>
                <a:gd name="connsiteX159" fmla="*/ 4278924 w 6512821"/>
                <a:gd name="connsiteY159" fmla="*/ 1389575 h 1648590"/>
                <a:gd name="connsiteX160" fmla="*/ 4371731 w 6512821"/>
                <a:gd name="connsiteY160" fmla="*/ 1531294 h 1648590"/>
                <a:gd name="connsiteX161" fmla="*/ 4455356 w 6512821"/>
                <a:gd name="connsiteY161" fmla="*/ 1489482 h 1648590"/>
                <a:gd name="connsiteX162" fmla="*/ 3945532 w 6512821"/>
                <a:gd name="connsiteY162" fmla="*/ 1157198 h 1648590"/>
                <a:gd name="connsiteX163" fmla="*/ 3945532 w 6512821"/>
                <a:gd name="connsiteY163" fmla="*/ 1638430 h 1648590"/>
                <a:gd name="connsiteX164" fmla="*/ 4069927 w 6512821"/>
                <a:gd name="connsiteY164" fmla="*/ 1638430 h 1648590"/>
                <a:gd name="connsiteX165" fmla="*/ 4069927 w 6512821"/>
                <a:gd name="connsiteY165" fmla="*/ 1157198 h 1648590"/>
                <a:gd name="connsiteX166" fmla="*/ 3945532 w 6512821"/>
                <a:gd name="connsiteY166" fmla="*/ 1157198 h 1648590"/>
                <a:gd name="connsiteX167" fmla="*/ 3873175 w 6512821"/>
                <a:gd name="connsiteY167" fmla="*/ 985911 h 1648590"/>
                <a:gd name="connsiteX168" fmla="*/ 3873175 w 6512821"/>
                <a:gd name="connsiteY168" fmla="*/ 1085817 h 1648590"/>
                <a:gd name="connsiteX169" fmla="*/ 3812019 w 6512821"/>
                <a:gd name="connsiteY169" fmla="*/ 1076634 h 1648590"/>
                <a:gd name="connsiteX170" fmla="*/ 3760047 w 6512821"/>
                <a:gd name="connsiteY170" fmla="*/ 1118447 h 1648590"/>
                <a:gd name="connsiteX171" fmla="*/ 3760047 w 6512821"/>
                <a:gd name="connsiteY171" fmla="*/ 1157198 h 1648590"/>
                <a:gd name="connsiteX172" fmla="*/ 3863015 w 6512821"/>
                <a:gd name="connsiteY172" fmla="*/ 1157198 h 1648590"/>
                <a:gd name="connsiteX173" fmla="*/ 3863015 w 6512821"/>
                <a:gd name="connsiteY173" fmla="*/ 1273452 h 1648590"/>
                <a:gd name="connsiteX174" fmla="*/ 3760047 w 6512821"/>
                <a:gd name="connsiteY174" fmla="*/ 1273452 h 1648590"/>
                <a:gd name="connsiteX175" fmla="*/ 3760047 w 6512821"/>
                <a:gd name="connsiteY175" fmla="*/ 1638430 h 1648590"/>
                <a:gd name="connsiteX176" fmla="*/ 3635652 w 6512821"/>
                <a:gd name="connsiteY176" fmla="*/ 1638430 h 1648590"/>
                <a:gd name="connsiteX177" fmla="*/ 3635652 w 6512821"/>
                <a:gd name="connsiteY177" fmla="*/ 1273452 h 1648590"/>
                <a:gd name="connsiteX178" fmla="*/ 3568375 w 6512821"/>
                <a:gd name="connsiteY178" fmla="*/ 1273452 h 1648590"/>
                <a:gd name="connsiteX179" fmla="*/ 3568375 w 6512821"/>
                <a:gd name="connsiteY179" fmla="*/ 1157198 h 1648590"/>
                <a:gd name="connsiteX180" fmla="*/ 3635652 w 6512821"/>
                <a:gd name="connsiteY180" fmla="*/ 1157198 h 1648590"/>
                <a:gd name="connsiteX181" fmla="*/ 3635652 w 6512821"/>
                <a:gd name="connsiteY181" fmla="*/ 1099104 h 1648590"/>
                <a:gd name="connsiteX182" fmla="*/ 3782451 w 6512821"/>
                <a:gd name="connsiteY182" fmla="*/ 972690 h 1648590"/>
                <a:gd name="connsiteX183" fmla="*/ 3873175 w 6512821"/>
                <a:gd name="connsiteY183" fmla="*/ 985976 h 1648590"/>
                <a:gd name="connsiteX184" fmla="*/ 3507154 w 6512821"/>
                <a:gd name="connsiteY184" fmla="*/ 1638365 h 1648590"/>
                <a:gd name="connsiteX185" fmla="*/ 3382759 w 6512821"/>
                <a:gd name="connsiteY185" fmla="*/ 1638365 h 1648590"/>
                <a:gd name="connsiteX186" fmla="*/ 3382759 w 6512821"/>
                <a:gd name="connsiteY186" fmla="*/ 1376355 h 1648590"/>
                <a:gd name="connsiteX187" fmla="*/ 3300177 w 6512821"/>
                <a:gd name="connsiteY187" fmla="*/ 1264204 h 1648590"/>
                <a:gd name="connsiteX188" fmla="*/ 3216552 w 6512821"/>
                <a:gd name="connsiteY188" fmla="*/ 1373293 h 1648590"/>
                <a:gd name="connsiteX189" fmla="*/ 3216552 w 6512821"/>
                <a:gd name="connsiteY189" fmla="*/ 1638365 h 1648590"/>
                <a:gd name="connsiteX190" fmla="*/ 3092157 w 6512821"/>
                <a:gd name="connsiteY190" fmla="*/ 1638365 h 1648590"/>
                <a:gd name="connsiteX191" fmla="*/ 3092157 w 6512821"/>
                <a:gd name="connsiteY191" fmla="*/ 1157133 h 1648590"/>
                <a:gd name="connsiteX192" fmla="*/ 3216552 w 6512821"/>
                <a:gd name="connsiteY192" fmla="*/ 1157133 h 1648590"/>
                <a:gd name="connsiteX193" fmla="*/ 3216552 w 6512821"/>
                <a:gd name="connsiteY193" fmla="*/ 1189762 h 1648590"/>
                <a:gd name="connsiteX194" fmla="*/ 3333783 w 6512821"/>
                <a:gd name="connsiteY194" fmla="*/ 1146973 h 1648590"/>
                <a:gd name="connsiteX195" fmla="*/ 3507089 w 6512821"/>
                <a:gd name="connsiteY195" fmla="*/ 1366195 h 1648590"/>
                <a:gd name="connsiteX196" fmla="*/ 3507089 w 6512821"/>
                <a:gd name="connsiteY196" fmla="*/ 1638430 h 1648590"/>
                <a:gd name="connsiteX197" fmla="*/ 2792437 w 6512821"/>
                <a:gd name="connsiteY197" fmla="*/ 1146973 h 1648590"/>
                <a:gd name="connsiteX198" fmla="*/ 2567094 w 6512821"/>
                <a:gd name="connsiteY198" fmla="*/ 1397782 h 1648590"/>
                <a:gd name="connsiteX199" fmla="*/ 2792437 w 6512821"/>
                <a:gd name="connsiteY199" fmla="*/ 1648590 h 1648590"/>
                <a:gd name="connsiteX200" fmla="*/ 3017781 w 6512821"/>
                <a:gd name="connsiteY200" fmla="*/ 1397782 h 1648590"/>
                <a:gd name="connsiteX201" fmla="*/ 2792437 w 6512821"/>
                <a:gd name="connsiteY201" fmla="*/ 1146973 h 1648590"/>
                <a:gd name="connsiteX202" fmla="*/ 2792437 w 6512821"/>
                <a:gd name="connsiteY202" fmla="*/ 1528299 h 1648590"/>
                <a:gd name="connsiteX203" fmla="*/ 2695592 w 6512821"/>
                <a:gd name="connsiteY203" fmla="*/ 1397782 h 1648590"/>
                <a:gd name="connsiteX204" fmla="*/ 2792437 w 6512821"/>
                <a:gd name="connsiteY204" fmla="*/ 1266288 h 1648590"/>
                <a:gd name="connsiteX205" fmla="*/ 2889283 w 6512821"/>
                <a:gd name="connsiteY205" fmla="*/ 1397782 h 1648590"/>
                <a:gd name="connsiteX206" fmla="*/ 2792437 w 6512821"/>
                <a:gd name="connsiteY206" fmla="*/ 1528299 h 1648590"/>
                <a:gd name="connsiteX207" fmla="*/ 2446802 w 6512821"/>
                <a:gd name="connsiteY207" fmla="*/ 1467143 h 1648590"/>
                <a:gd name="connsiteX208" fmla="*/ 2526323 w 6512821"/>
                <a:gd name="connsiteY208" fmla="*/ 1542561 h 1648590"/>
                <a:gd name="connsiteX209" fmla="*/ 2334651 w 6512821"/>
                <a:gd name="connsiteY209" fmla="*/ 1648590 h 1648590"/>
                <a:gd name="connsiteX210" fmla="*/ 2106246 w 6512821"/>
                <a:gd name="connsiteY210" fmla="*/ 1398823 h 1648590"/>
                <a:gd name="connsiteX211" fmla="*/ 2336670 w 6512821"/>
                <a:gd name="connsiteY211" fmla="*/ 1146973 h 1648590"/>
                <a:gd name="connsiteX212" fmla="*/ 2525281 w 6512821"/>
                <a:gd name="connsiteY212" fmla="*/ 1250983 h 1648590"/>
                <a:gd name="connsiteX213" fmla="*/ 2443741 w 6512821"/>
                <a:gd name="connsiteY213" fmla="*/ 1333565 h 1648590"/>
                <a:gd name="connsiteX214" fmla="*/ 2335693 w 6512821"/>
                <a:gd name="connsiteY214" fmla="*/ 1266288 h 1648590"/>
                <a:gd name="connsiteX215" fmla="*/ 2234744 w 6512821"/>
                <a:gd name="connsiteY215" fmla="*/ 1396804 h 1648590"/>
                <a:gd name="connsiteX216" fmla="*/ 2336670 w 6512821"/>
                <a:gd name="connsiteY216" fmla="*/ 1528299 h 1648590"/>
                <a:gd name="connsiteX217" fmla="*/ 2446802 w 6512821"/>
                <a:gd name="connsiteY217" fmla="*/ 1467143 h 1648590"/>
                <a:gd name="connsiteX218" fmla="*/ 1803530 w 6512821"/>
                <a:gd name="connsiteY218" fmla="*/ 1638365 h 1648590"/>
                <a:gd name="connsiteX219" fmla="*/ 1679135 w 6512821"/>
                <a:gd name="connsiteY219" fmla="*/ 1638365 h 1648590"/>
                <a:gd name="connsiteX220" fmla="*/ 1679135 w 6512821"/>
                <a:gd name="connsiteY220" fmla="*/ 1376355 h 1648590"/>
                <a:gd name="connsiteX221" fmla="*/ 1596553 w 6512821"/>
                <a:gd name="connsiteY221" fmla="*/ 1264204 h 1648590"/>
                <a:gd name="connsiteX222" fmla="*/ 1511951 w 6512821"/>
                <a:gd name="connsiteY222" fmla="*/ 1373293 h 1648590"/>
                <a:gd name="connsiteX223" fmla="*/ 1511951 w 6512821"/>
                <a:gd name="connsiteY223" fmla="*/ 1638365 h 1648590"/>
                <a:gd name="connsiteX224" fmla="*/ 1387557 w 6512821"/>
                <a:gd name="connsiteY224" fmla="*/ 1638365 h 1648590"/>
                <a:gd name="connsiteX225" fmla="*/ 1387557 w 6512821"/>
                <a:gd name="connsiteY225" fmla="*/ 1031761 h 1648590"/>
                <a:gd name="connsiteX226" fmla="*/ 1511951 w 6512821"/>
                <a:gd name="connsiteY226" fmla="*/ 969564 h 1648590"/>
                <a:gd name="connsiteX227" fmla="*/ 1511951 w 6512821"/>
                <a:gd name="connsiteY227" fmla="*/ 1189762 h 1648590"/>
                <a:gd name="connsiteX228" fmla="*/ 1632243 w 6512821"/>
                <a:gd name="connsiteY228" fmla="*/ 1146973 h 1648590"/>
                <a:gd name="connsiteX229" fmla="*/ 1803530 w 6512821"/>
                <a:gd name="connsiteY229" fmla="*/ 1366195 h 1648590"/>
                <a:gd name="connsiteX230" fmla="*/ 1803530 w 6512821"/>
                <a:gd name="connsiteY230" fmla="*/ 1638430 h 1648590"/>
                <a:gd name="connsiteX231" fmla="*/ 1311031 w 6512821"/>
                <a:gd name="connsiteY231" fmla="*/ 1493650 h 1648590"/>
                <a:gd name="connsiteX232" fmla="*/ 1292665 w 6512821"/>
                <a:gd name="connsiteY232" fmla="*/ 1619022 h 1648590"/>
                <a:gd name="connsiteX233" fmla="*/ 1173350 w 6512821"/>
                <a:gd name="connsiteY233" fmla="*/ 1648590 h 1648590"/>
                <a:gd name="connsiteX234" fmla="*/ 1043875 w 6512821"/>
                <a:gd name="connsiteY234" fmla="*/ 1504852 h 1648590"/>
                <a:gd name="connsiteX235" fmla="*/ 1043875 w 6512821"/>
                <a:gd name="connsiteY235" fmla="*/ 1273387 h 1648590"/>
                <a:gd name="connsiteX236" fmla="*/ 960250 w 6512821"/>
                <a:gd name="connsiteY236" fmla="*/ 1273387 h 1648590"/>
                <a:gd name="connsiteX237" fmla="*/ 960250 w 6512821"/>
                <a:gd name="connsiteY237" fmla="*/ 1157133 h 1648590"/>
                <a:gd name="connsiteX238" fmla="*/ 1043875 w 6512821"/>
                <a:gd name="connsiteY238" fmla="*/ 1157133 h 1648590"/>
                <a:gd name="connsiteX239" fmla="*/ 1043875 w 6512821"/>
                <a:gd name="connsiteY239" fmla="*/ 1031761 h 1648590"/>
                <a:gd name="connsiteX240" fmla="*/ 1168270 w 6512821"/>
                <a:gd name="connsiteY240" fmla="*/ 969564 h 1648590"/>
                <a:gd name="connsiteX241" fmla="*/ 1168270 w 6512821"/>
                <a:gd name="connsiteY241" fmla="*/ 1157133 h 1648590"/>
                <a:gd name="connsiteX242" fmla="*/ 1308947 w 6512821"/>
                <a:gd name="connsiteY242" fmla="*/ 1157133 h 1648590"/>
                <a:gd name="connsiteX243" fmla="*/ 1308947 w 6512821"/>
                <a:gd name="connsiteY243" fmla="*/ 1273387 h 1648590"/>
                <a:gd name="connsiteX244" fmla="*/ 1168270 w 6512821"/>
                <a:gd name="connsiteY244" fmla="*/ 1273387 h 1648590"/>
                <a:gd name="connsiteX245" fmla="*/ 1168270 w 6512821"/>
                <a:gd name="connsiteY245" fmla="*/ 1471181 h 1648590"/>
                <a:gd name="connsiteX246" fmla="*/ 1214120 w 6512821"/>
                <a:gd name="connsiteY246" fmla="*/ 1529275 h 1648590"/>
                <a:gd name="connsiteX247" fmla="*/ 1310966 w 6512821"/>
                <a:gd name="connsiteY247" fmla="*/ 1493585 h 1648590"/>
                <a:gd name="connsiteX248" fmla="*/ 767666 w 6512821"/>
                <a:gd name="connsiteY248" fmla="*/ 1157198 h 1648590"/>
                <a:gd name="connsiteX249" fmla="*/ 767666 w 6512821"/>
                <a:gd name="connsiteY249" fmla="*/ 1638430 h 1648590"/>
                <a:gd name="connsiteX250" fmla="*/ 892061 w 6512821"/>
                <a:gd name="connsiteY250" fmla="*/ 1638430 h 1648590"/>
                <a:gd name="connsiteX251" fmla="*/ 892061 w 6512821"/>
                <a:gd name="connsiteY251" fmla="*/ 1157198 h 1648590"/>
                <a:gd name="connsiteX252" fmla="*/ 767666 w 6512821"/>
                <a:gd name="connsiteY252" fmla="*/ 1157198 h 1648590"/>
                <a:gd name="connsiteX253" fmla="*/ 702408 w 6512821"/>
                <a:gd name="connsiteY253" fmla="*/ 1157198 h 1648590"/>
                <a:gd name="connsiteX254" fmla="*/ 550529 w 6512821"/>
                <a:gd name="connsiteY254" fmla="*/ 1638430 h 1648590"/>
                <a:gd name="connsiteX255" fmla="*/ 436359 w 6512821"/>
                <a:gd name="connsiteY255" fmla="*/ 1638430 h 1648590"/>
                <a:gd name="connsiteX256" fmla="*/ 354819 w 6512821"/>
                <a:gd name="connsiteY256" fmla="*/ 1345809 h 1648590"/>
                <a:gd name="connsiteX257" fmla="*/ 272236 w 6512821"/>
                <a:gd name="connsiteY257" fmla="*/ 1638430 h 1648590"/>
                <a:gd name="connsiteX258" fmla="*/ 158066 w 6512821"/>
                <a:gd name="connsiteY258" fmla="*/ 1638430 h 1648590"/>
                <a:gd name="connsiteX259" fmla="*/ 7099 w 6512821"/>
                <a:gd name="connsiteY259" fmla="*/ 1157198 h 1648590"/>
                <a:gd name="connsiteX260" fmla="*/ 145757 w 6512821"/>
                <a:gd name="connsiteY260" fmla="*/ 1157198 h 1648590"/>
                <a:gd name="connsiteX261" fmla="*/ 218114 w 6512821"/>
                <a:gd name="connsiteY261" fmla="*/ 1436533 h 1648590"/>
                <a:gd name="connsiteX262" fmla="*/ 299655 w 6512821"/>
                <a:gd name="connsiteY262" fmla="*/ 1157198 h 1648590"/>
                <a:gd name="connsiteX263" fmla="*/ 412848 w 6512821"/>
                <a:gd name="connsiteY263" fmla="*/ 1157198 h 1648590"/>
                <a:gd name="connsiteX264" fmla="*/ 494388 w 6512821"/>
                <a:gd name="connsiteY264" fmla="*/ 1436533 h 1648590"/>
                <a:gd name="connsiteX265" fmla="*/ 567788 w 6512821"/>
                <a:gd name="connsiteY265" fmla="*/ 1157198 h 1648590"/>
                <a:gd name="connsiteX266" fmla="*/ 702343 w 6512821"/>
                <a:gd name="connsiteY266" fmla="*/ 1157198 h 1648590"/>
                <a:gd name="connsiteX267" fmla="*/ 4436990 w 6512821"/>
                <a:gd name="connsiteY267" fmla="*/ 16282 h 1648590"/>
                <a:gd name="connsiteX268" fmla="*/ 4436990 w 6512821"/>
                <a:gd name="connsiteY268" fmla="*/ 115147 h 1648590"/>
                <a:gd name="connsiteX269" fmla="*/ 4374792 w 6512821"/>
                <a:gd name="connsiteY269" fmla="*/ 104921 h 1648590"/>
                <a:gd name="connsiteX270" fmla="*/ 4322820 w 6512821"/>
                <a:gd name="connsiteY270" fmla="*/ 144715 h 1648590"/>
                <a:gd name="connsiteX271" fmla="*/ 4322820 w 6512821"/>
                <a:gd name="connsiteY271" fmla="*/ 186527 h 1648590"/>
                <a:gd name="connsiteX272" fmla="*/ 4404361 w 6512821"/>
                <a:gd name="connsiteY272" fmla="*/ 186527 h 1648590"/>
                <a:gd name="connsiteX273" fmla="*/ 4404361 w 6512821"/>
                <a:gd name="connsiteY273" fmla="*/ 302781 h 1648590"/>
                <a:gd name="connsiteX274" fmla="*/ 4322820 w 6512821"/>
                <a:gd name="connsiteY274" fmla="*/ 302781 h 1648590"/>
                <a:gd name="connsiteX275" fmla="*/ 4322820 w 6512821"/>
                <a:gd name="connsiteY275" fmla="*/ 667759 h 1648590"/>
                <a:gd name="connsiteX276" fmla="*/ 4202528 w 6512821"/>
                <a:gd name="connsiteY276" fmla="*/ 667759 h 1648590"/>
                <a:gd name="connsiteX277" fmla="*/ 4202528 w 6512821"/>
                <a:gd name="connsiteY277" fmla="*/ 302781 h 1648590"/>
                <a:gd name="connsiteX278" fmla="*/ 4143392 w 6512821"/>
                <a:gd name="connsiteY278" fmla="*/ 302781 h 1648590"/>
                <a:gd name="connsiteX279" fmla="*/ 4143392 w 6512821"/>
                <a:gd name="connsiteY279" fmla="*/ 186527 h 1648590"/>
                <a:gd name="connsiteX280" fmla="*/ 4202528 w 6512821"/>
                <a:gd name="connsiteY280" fmla="*/ 186527 h 1648590"/>
                <a:gd name="connsiteX281" fmla="*/ 4202528 w 6512821"/>
                <a:gd name="connsiteY281" fmla="*/ 128433 h 1648590"/>
                <a:gd name="connsiteX282" fmla="*/ 4348350 w 6512821"/>
                <a:gd name="connsiteY282" fmla="*/ 2019 h 1648590"/>
                <a:gd name="connsiteX283" fmla="*/ 4437055 w 6512821"/>
                <a:gd name="connsiteY283" fmla="*/ 16282 h 1648590"/>
                <a:gd name="connsiteX284" fmla="*/ 2957602 w 6512821"/>
                <a:gd name="connsiteY284" fmla="*/ 527083 h 1648590"/>
                <a:gd name="connsiteX285" fmla="*/ 2940278 w 6512821"/>
                <a:gd name="connsiteY285" fmla="*/ 649458 h 1648590"/>
                <a:gd name="connsiteX286" fmla="*/ 2843433 w 6512821"/>
                <a:gd name="connsiteY286" fmla="*/ 677984 h 1648590"/>
                <a:gd name="connsiteX287" fmla="*/ 2712916 w 6512821"/>
                <a:gd name="connsiteY287" fmla="*/ 535224 h 1648590"/>
                <a:gd name="connsiteX288" fmla="*/ 2712916 w 6512821"/>
                <a:gd name="connsiteY288" fmla="*/ 301739 h 1648590"/>
                <a:gd name="connsiteX289" fmla="*/ 2629291 w 6512821"/>
                <a:gd name="connsiteY289" fmla="*/ 301739 h 1648590"/>
                <a:gd name="connsiteX290" fmla="*/ 2629291 w 6512821"/>
                <a:gd name="connsiteY290" fmla="*/ 186527 h 1648590"/>
                <a:gd name="connsiteX291" fmla="*/ 2712916 w 6512821"/>
                <a:gd name="connsiteY291" fmla="*/ 186527 h 1648590"/>
                <a:gd name="connsiteX292" fmla="*/ 2712916 w 6512821"/>
                <a:gd name="connsiteY292" fmla="*/ 61155 h 1648590"/>
                <a:gd name="connsiteX293" fmla="*/ 2833208 w 6512821"/>
                <a:gd name="connsiteY293" fmla="*/ 0 h 1648590"/>
                <a:gd name="connsiteX294" fmla="*/ 2833208 w 6512821"/>
                <a:gd name="connsiteY294" fmla="*/ 186592 h 1648590"/>
                <a:gd name="connsiteX295" fmla="*/ 2945358 w 6512821"/>
                <a:gd name="connsiteY295" fmla="*/ 186592 h 1648590"/>
                <a:gd name="connsiteX296" fmla="*/ 2945358 w 6512821"/>
                <a:gd name="connsiteY296" fmla="*/ 301804 h 1648590"/>
                <a:gd name="connsiteX297" fmla="*/ 2833208 w 6512821"/>
                <a:gd name="connsiteY297" fmla="*/ 301804 h 1648590"/>
                <a:gd name="connsiteX298" fmla="*/ 2833208 w 6512821"/>
                <a:gd name="connsiteY298" fmla="*/ 503701 h 1648590"/>
                <a:gd name="connsiteX299" fmla="*/ 2880100 w 6512821"/>
                <a:gd name="connsiteY299" fmla="*/ 560819 h 1648590"/>
                <a:gd name="connsiteX300" fmla="*/ 2957602 w 6512821"/>
                <a:gd name="connsiteY300" fmla="*/ 527148 h 1648590"/>
                <a:gd name="connsiteX301" fmla="*/ 2397891 w 6512821"/>
                <a:gd name="connsiteY301" fmla="*/ 426134 h 1648590"/>
                <a:gd name="connsiteX302" fmla="*/ 2395872 w 6512821"/>
                <a:gd name="connsiteY302" fmla="*/ 467946 h 1648590"/>
                <a:gd name="connsiteX303" fmla="*/ 2114453 w 6512821"/>
                <a:gd name="connsiteY303" fmla="*/ 467946 h 1648590"/>
                <a:gd name="connsiteX304" fmla="*/ 2218462 w 6512821"/>
                <a:gd name="connsiteY304" fmla="*/ 562773 h 1648590"/>
                <a:gd name="connsiteX305" fmla="*/ 2301045 w 6512821"/>
                <a:gd name="connsiteY305" fmla="*/ 529102 h 1648590"/>
                <a:gd name="connsiteX306" fmla="*/ 2386689 w 6512821"/>
                <a:gd name="connsiteY306" fmla="*/ 601459 h 1648590"/>
                <a:gd name="connsiteX307" fmla="*/ 2210321 w 6512821"/>
                <a:gd name="connsiteY307" fmla="*/ 677919 h 1648590"/>
                <a:gd name="connsiteX308" fmla="*/ 1991100 w 6512821"/>
                <a:gd name="connsiteY308" fmla="*/ 429130 h 1648590"/>
                <a:gd name="connsiteX309" fmla="*/ 2205176 w 6512821"/>
                <a:gd name="connsiteY309" fmla="*/ 176302 h 1648590"/>
                <a:gd name="connsiteX310" fmla="*/ 2397891 w 6512821"/>
                <a:gd name="connsiteY310" fmla="*/ 426069 h 1648590"/>
                <a:gd name="connsiteX311" fmla="*/ 2116472 w 6512821"/>
                <a:gd name="connsiteY311" fmla="*/ 374162 h 1648590"/>
                <a:gd name="connsiteX312" fmla="*/ 2287759 w 6512821"/>
                <a:gd name="connsiteY312" fmla="*/ 374162 h 1648590"/>
                <a:gd name="connsiteX313" fmla="*/ 2199054 w 6512821"/>
                <a:gd name="connsiteY313" fmla="*/ 283438 h 1648590"/>
                <a:gd name="connsiteX314" fmla="*/ 2116472 w 6512821"/>
                <a:gd name="connsiteY314" fmla="*/ 374162 h 1648590"/>
                <a:gd name="connsiteX315" fmla="*/ 1933982 w 6512821"/>
                <a:gd name="connsiteY315" fmla="*/ 428218 h 1648590"/>
                <a:gd name="connsiteX316" fmla="*/ 1746413 w 6512821"/>
                <a:gd name="connsiteY316" fmla="*/ 677984 h 1648590"/>
                <a:gd name="connsiteX317" fmla="*/ 1639342 w 6512821"/>
                <a:gd name="connsiteY317" fmla="*/ 638191 h 1648590"/>
                <a:gd name="connsiteX318" fmla="*/ 1639342 w 6512821"/>
                <a:gd name="connsiteY318" fmla="*/ 784990 h 1648590"/>
                <a:gd name="connsiteX319" fmla="*/ 1519050 w 6512821"/>
                <a:gd name="connsiteY319" fmla="*/ 845169 h 1648590"/>
                <a:gd name="connsiteX320" fmla="*/ 1519050 w 6512821"/>
                <a:gd name="connsiteY320" fmla="*/ 186527 h 1648590"/>
                <a:gd name="connsiteX321" fmla="*/ 1639342 w 6512821"/>
                <a:gd name="connsiteY321" fmla="*/ 186527 h 1648590"/>
                <a:gd name="connsiteX322" fmla="*/ 1639342 w 6512821"/>
                <a:gd name="connsiteY322" fmla="*/ 219157 h 1648590"/>
                <a:gd name="connsiteX323" fmla="*/ 1748432 w 6512821"/>
                <a:gd name="connsiteY323" fmla="*/ 176367 h 1648590"/>
                <a:gd name="connsiteX324" fmla="*/ 1933982 w 6512821"/>
                <a:gd name="connsiteY324" fmla="*/ 428218 h 1648590"/>
                <a:gd name="connsiteX325" fmla="*/ 1809587 w 6512821"/>
                <a:gd name="connsiteY325" fmla="*/ 434340 h 1648590"/>
                <a:gd name="connsiteX326" fmla="*/ 1718864 w 6512821"/>
                <a:gd name="connsiteY326" fmla="*/ 292621 h 1648590"/>
                <a:gd name="connsiteX327" fmla="*/ 1639342 w 6512821"/>
                <a:gd name="connsiteY327" fmla="*/ 335410 h 1648590"/>
                <a:gd name="connsiteX328" fmla="*/ 1639342 w 6512821"/>
                <a:gd name="connsiteY328" fmla="*/ 518942 h 1648590"/>
                <a:gd name="connsiteX329" fmla="*/ 1726028 w 6512821"/>
                <a:gd name="connsiteY329" fmla="*/ 562773 h 1648590"/>
                <a:gd name="connsiteX330" fmla="*/ 1809652 w 6512821"/>
                <a:gd name="connsiteY330" fmla="*/ 434340 h 1648590"/>
                <a:gd name="connsiteX331" fmla="*/ 1435426 w 6512821"/>
                <a:gd name="connsiteY331" fmla="*/ 667825 h 1648590"/>
                <a:gd name="connsiteX332" fmla="*/ 1315134 w 6512821"/>
                <a:gd name="connsiteY332" fmla="*/ 667825 h 1648590"/>
                <a:gd name="connsiteX333" fmla="*/ 1315134 w 6512821"/>
                <a:gd name="connsiteY333" fmla="*/ 634153 h 1648590"/>
                <a:gd name="connsiteX334" fmla="*/ 1202983 w 6512821"/>
                <a:gd name="connsiteY334" fmla="*/ 677984 h 1648590"/>
                <a:gd name="connsiteX335" fmla="*/ 1033715 w 6512821"/>
                <a:gd name="connsiteY335" fmla="*/ 510800 h 1648590"/>
                <a:gd name="connsiteX336" fmla="*/ 1221284 w 6512821"/>
                <a:gd name="connsiteY336" fmla="*/ 348696 h 1648590"/>
                <a:gd name="connsiteX337" fmla="*/ 1315069 w 6512821"/>
                <a:gd name="connsiteY337" fmla="*/ 368040 h 1648590"/>
                <a:gd name="connsiteX338" fmla="*/ 1315069 w 6512821"/>
                <a:gd name="connsiteY338" fmla="*/ 342574 h 1648590"/>
                <a:gd name="connsiteX339" fmla="*/ 1232486 w 6512821"/>
                <a:gd name="connsiteY339" fmla="*/ 279335 h 1648590"/>
                <a:gd name="connsiteX340" fmla="*/ 1121378 w 6512821"/>
                <a:gd name="connsiteY340" fmla="*/ 310922 h 1648590"/>
                <a:gd name="connsiteX341" fmla="*/ 1073443 w 6512821"/>
                <a:gd name="connsiteY341" fmla="*/ 225278 h 1648590"/>
                <a:gd name="connsiteX342" fmla="*/ 1239650 w 6512821"/>
                <a:gd name="connsiteY342" fmla="*/ 176367 h 1648590"/>
                <a:gd name="connsiteX343" fmla="*/ 1435426 w 6512821"/>
                <a:gd name="connsiteY343" fmla="*/ 344593 h 1648590"/>
                <a:gd name="connsiteX344" fmla="*/ 1435426 w 6512821"/>
                <a:gd name="connsiteY344" fmla="*/ 667759 h 1648590"/>
                <a:gd name="connsiteX345" fmla="*/ 1315134 w 6512821"/>
                <a:gd name="connsiteY345" fmla="*/ 527083 h 1648590"/>
                <a:gd name="connsiteX346" fmla="*/ 1315134 w 6512821"/>
                <a:gd name="connsiteY346" fmla="*/ 465927 h 1648590"/>
                <a:gd name="connsiteX347" fmla="*/ 1234570 w 6512821"/>
                <a:gd name="connsiteY347" fmla="*/ 445542 h 1648590"/>
                <a:gd name="connsiteX348" fmla="*/ 1156091 w 6512821"/>
                <a:gd name="connsiteY348" fmla="*/ 507740 h 1648590"/>
                <a:gd name="connsiteX349" fmla="*/ 1224410 w 6512821"/>
                <a:gd name="connsiteY349" fmla="*/ 574040 h 1648590"/>
                <a:gd name="connsiteX350" fmla="*/ 1315134 w 6512821"/>
                <a:gd name="connsiteY350" fmla="*/ 527148 h 1648590"/>
                <a:gd name="connsiteX351" fmla="*/ 967480 w 6512821"/>
                <a:gd name="connsiteY351" fmla="*/ 667825 h 1648590"/>
                <a:gd name="connsiteX352" fmla="*/ 847188 w 6512821"/>
                <a:gd name="connsiteY352" fmla="*/ 667825 h 1648590"/>
                <a:gd name="connsiteX353" fmla="*/ 847188 w 6512821"/>
                <a:gd name="connsiteY353" fmla="*/ 405814 h 1648590"/>
                <a:gd name="connsiteX354" fmla="*/ 765647 w 6512821"/>
                <a:gd name="connsiteY354" fmla="*/ 292621 h 1648590"/>
                <a:gd name="connsiteX355" fmla="*/ 683065 w 6512821"/>
                <a:gd name="connsiteY355" fmla="*/ 402753 h 1648590"/>
                <a:gd name="connsiteX356" fmla="*/ 683065 w 6512821"/>
                <a:gd name="connsiteY356" fmla="*/ 667825 h 1648590"/>
                <a:gd name="connsiteX357" fmla="*/ 562773 w 6512821"/>
                <a:gd name="connsiteY357" fmla="*/ 667825 h 1648590"/>
                <a:gd name="connsiteX358" fmla="*/ 562773 w 6512821"/>
                <a:gd name="connsiteY358" fmla="*/ 61221 h 1648590"/>
                <a:gd name="connsiteX359" fmla="*/ 683065 w 6512821"/>
                <a:gd name="connsiteY359" fmla="*/ 65 h 1648590"/>
                <a:gd name="connsiteX360" fmla="*/ 683065 w 6512821"/>
                <a:gd name="connsiteY360" fmla="*/ 220264 h 1648590"/>
                <a:gd name="connsiteX361" fmla="*/ 796258 w 6512821"/>
                <a:gd name="connsiteY361" fmla="*/ 176432 h 1648590"/>
                <a:gd name="connsiteX362" fmla="*/ 967545 w 6512821"/>
                <a:gd name="connsiteY362" fmla="*/ 396631 h 1648590"/>
                <a:gd name="connsiteX363" fmla="*/ 967545 w 6512821"/>
                <a:gd name="connsiteY363" fmla="*/ 667825 h 1648590"/>
                <a:gd name="connsiteX364" fmla="*/ 496472 w 6512821"/>
                <a:gd name="connsiteY364" fmla="*/ 475110 h 1648590"/>
                <a:gd name="connsiteX365" fmla="*/ 255889 w 6512821"/>
                <a:gd name="connsiteY365" fmla="*/ 677984 h 1648590"/>
                <a:gd name="connsiteX366" fmla="*/ 0 w 6512821"/>
                <a:gd name="connsiteY366" fmla="*/ 562773 h 1648590"/>
                <a:gd name="connsiteX367" fmla="*/ 89747 w 6512821"/>
                <a:gd name="connsiteY367" fmla="*/ 483251 h 1648590"/>
                <a:gd name="connsiteX368" fmla="*/ 252893 w 6512821"/>
                <a:gd name="connsiteY368" fmla="*/ 556651 h 1648590"/>
                <a:gd name="connsiteX369" fmla="*/ 367063 w 6512821"/>
                <a:gd name="connsiteY369" fmla="*/ 478171 h 1648590"/>
                <a:gd name="connsiteX370" fmla="*/ 329353 w 6512821"/>
                <a:gd name="connsiteY370" fmla="*/ 426199 h 1648590"/>
                <a:gd name="connsiteX371" fmla="*/ 225344 w 6512821"/>
                <a:gd name="connsiteY371" fmla="*/ 394612 h 1648590"/>
                <a:gd name="connsiteX372" fmla="*/ 79522 w 6512821"/>
                <a:gd name="connsiteY372" fmla="*/ 335475 h 1648590"/>
                <a:gd name="connsiteX373" fmla="*/ 24488 w 6512821"/>
                <a:gd name="connsiteY373" fmla="*/ 207042 h 1648590"/>
                <a:gd name="connsiteX374" fmla="*/ 254912 w 6512821"/>
                <a:gd name="connsiteY374" fmla="*/ 16412 h 1648590"/>
                <a:gd name="connsiteX375" fmla="*/ 482274 w 6512821"/>
                <a:gd name="connsiteY375" fmla="*/ 115277 h 1648590"/>
                <a:gd name="connsiteX376" fmla="*/ 392528 w 6512821"/>
                <a:gd name="connsiteY376" fmla="*/ 202939 h 1648590"/>
                <a:gd name="connsiteX377" fmla="*/ 246706 w 6512821"/>
                <a:gd name="connsiteY377" fmla="*/ 137681 h 1648590"/>
                <a:gd name="connsiteX378" fmla="*/ 152921 w 6512821"/>
                <a:gd name="connsiteY378" fmla="*/ 199878 h 1648590"/>
                <a:gd name="connsiteX379" fmla="*/ 179428 w 6512821"/>
                <a:gd name="connsiteY379" fmla="*/ 243710 h 1648590"/>
                <a:gd name="connsiteX380" fmla="*/ 282396 w 6512821"/>
                <a:gd name="connsiteY380" fmla="*/ 277381 h 1648590"/>
                <a:gd name="connsiteX381" fmla="*/ 438378 w 6512821"/>
                <a:gd name="connsiteY381" fmla="*/ 341598 h 1648590"/>
                <a:gd name="connsiteX382" fmla="*/ 496472 w 6512821"/>
                <a:gd name="connsiteY382" fmla="*/ 475176 h 1648590"/>
                <a:gd name="connsiteX383" fmla="*/ 6100885 w 6512821"/>
                <a:gd name="connsiteY383" fmla="*/ 208996 h 1648590"/>
                <a:gd name="connsiteX384" fmla="*/ 6051778 w 6512821"/>
                <a:gd name="connsiteY384" fmla="*/ 329288 h 1648590"/>
                <a:gd name="connsiteX385" fmla="*/ 5982482 w 6512821"/>
                <a:gd name="connsiteY385" fmla="*/ 299720 h 1648590"/>
                <a:gd name="connsiteX386" fmla="*/ 5911232 w 6512821"/>
                <a:gd name="connsiteY386" fmla="*/ 405749 h 1648590"/>
                <a:gd name="connsiteX387" fmla="*/ 5911232 w 6512821"/>
                <a:gd name="connsiteY387" fmla="*/ 667759 h 1648590"/>
                <a:gd name="connsiteX388" fmla="*/ 5790940 w 6512821"/>
                <a:gd name="connsiteY388" fmla="*/ 667759 h 1648590"/>
                <a:gd name="connsiteX389" fmla="*/ 5790940 w 6512821"/>
                <a:gd name="connsiteY389" fmla="*/ 186527 h 1648590"/>
                <a:gd name="connsiteX390" fmla="*/ 5911232 w 6512821"/>
                <a:gd name="connsiteY390" fmla="*/ 186527 h 1648590"/>
                <a:gd name="connsiteX391" fmla="*/ 5911232 w 6512821"/>
                <a:gd name="connsiteY391" fmla="*/ 220198 h 1648590"/>
                <a:gd name="connsiteX392" fmla="*/ 6012181 w 6512821"/>
                <a:gd name="connsiteY392" fmla="*/ 176367 h 1648590"/>
                <a:gd name="connsiteX393" fmla="*/ 6100885 w 6512821"/>
                <a:gd name="connsiteY393" fmla="*/ 208996 h 1648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</a:cxnLst>
              <a:rect l="l" t="t" r="r" b="b"/>
              <a:pathLst>
                <a:path w="6512821" h="1648590">
                  <a:moveTo>
                    <a:pt x="5071143" y="1396740"/>
                  </a:moveTo>
                  <a:cubicBezTo>
                    <a:pt x="5071143" y="1412045"/>
                    <a:pt x="5070101" y="1431388"/>
                    <a:pt x="5069124" y="1438552"/>
                  </a:cubicBezTo>
                  <a:lnTo>
                    <a:pt x="4777545" y="1438552"/>
                  </a:lnTo>
                  <a:cubicBezTo>
                    <a:pt x="4782625" y="1505829"/>
                    <a:pt x="4828541" y="1533378"/>
                    <a:pt x="4880513" y="1533378"/>
                  </a:cubicBezTo>
                  <a:cubicBezTo>
                    <a:pt x="4911123" y="1533378"/>
                    <a:pt x="4939649" y="1524196"/>
                    <a:pt x="4964137" y="1499707"/>
                  </a:cubicBezTo>
                  <a:lnTo>
                    <a:pt x="5049781" y="1572065"/>
                  </a:lnTo>
                  <a:cubicBezTo>
                    <a:pt x="5004908" y="1628140"/>
                    <a:pt x="4936588" y="1648525"/>
                    <a:pt x="4875433" y="1648525"/>
                  </a:cubicBezTo>
                  <a:cubicBezTo>
                    <a:pt x="4734756" y="1648525"/>
                    <a:pt x="4654192" y="1540478"/>
                    <a:pt x="4654192" y="1398759"/>
                  </a:cubicBezTo>
                  <a:cubicBezTo>
                    <a:pt x="4654192" y="1244795"/>
                    <a:pt x="4749019" y="1146908"/>
                    <a:pt x="4867292" y="1146908"/>
                  </a:cubicBezTo>
                  <a:cubicBezTo>
                    <a:pt x="4993706" y="1146908"/>
                    <a:pt x="5071208" y="1258016"/>
                    <a:pt x="5071208" y="1396675"/>
                  </a:cubicBezTo>
                  <a:close/>
                  <a:moveTo>
                    <a:pt x="4779564" y="1344767"/>
                  </a:moveTo>
                  <a:lnTo>
                    <a:pt x="4950851" y="1344767"/>
                  </a:lnTo>
                  <a:cubicBezTo>
                    <a:pt x="4946748" y="1290711"/>
                    <a:pt x="4912100" y="1254044"/>
                    <a:pt x="4863189" y="1254044"/>
                  </a:cubicBezTo>
                  <a:cubicBezTo>
                    <a:pt x="4805094" y="1254044"/>
                    <a:pt x="4782625" y="1305039"/>
                    <a:pt x="4779564" y="1344767"/>
                  </a:cubicBezTo>
                  <a:close/>
                  <a:moveTo>
                    <a:pt x="6512756" y="1396740"/>
                  </a:moveTo>
                  <a:cubicBezTo>
                    <a:pt x="6512756" y="1412045"/>
                    <a:pt x="6511714" y="1431388"/>
                    <a:pt x="6510737" y="1438552"/>
                  </a:cubicBezTo>
                  <a:lnTo>
                    <a:pt x="6219158" y="1438552"/>
                  </a:lnTo>
                  <a:cubicBezTo>
                    <a:pt x="6224238" y="1505829"/>
                    <a:pt x="6270154" y="1533378"/>
                    <a:pt x="6322126" y="1533378"/>
                  </a:cubicBezTo>
                  <a:cubicBezTo>
                    <a:pt x="6352736" y="1533378"/>
                    <a:pt x="6381262" y="1524196"/>
                    <a:pt x="6405751" y="1499707"/>
                  </a:cubicBezTo>
                  <a:lnTo>
                    <a:pt x="6491394" y="1572065"/>
                  </a:lnTo>
                  <a:cubicBezTo>
                    <a:pt x="6446521" y="1628140"/>
                    <a:pt x="6378201" y="1648525"/>
                    <a:pt x="6317046" y="1648525"/>
                  </a:cubicBezTo>
                  <a:cubicBezTo>
                    <a:pt x="6176369" y="1648525"/>
                    <a:pt x="6095805" y="1540478"/>
                    <a:pt x="6095805" y="1398759"/>
                  </a:cubicBezTo>
                  <a:cubicBezTo>
                    <a:pt x="6095805" y="1244795"/>
                    <a:pt x="6190632" y="1146908"/>
                    <a:pt x="6308905" y="1146908"/>
                  </a:cubicBezTo>
                  <a:cubicBezTo>
                    <a:pt x="6435319" y="1146908"/>
                    <a:pt x="6512821" y="1258016"/>
                    <a:pt x="6512821" y="1396675"/>
                  </a:cubicBezTo>
                  <a:close/>
                  <a:moveTo>
                    <a:pt x="6221177" y="1344767"/>
                  </a:moveTo>
                  <a:lnTo>
                    <a:pt x="6392465" y="1344767"/>
                  </a:lnTo>
                  <a:cubicBezTo>
                    <a:pt x="6388361" y="1290711"/>
                    <a:pt x="6353713" y="1254044"/>
                    <a:pt x="6304802" y="1254044"/>
                  </a:cubicBezTo>
                  <a:cubicBezTo>
                    <a:pt x="6246708" y="1254044"/>
                    <a:pt x="6224238" y="1305039"/>
                    <a:pt x="6221177" y="1344767"/>
                  </a:cubicBezTo>
                  <a:close/>
                  <a:moveTo>
                    <a:pt x="5978509" y="1467143"/>
                  </a:moveTo>
                  <a:lnTo>
                    <a:pt x="6058031" y="1542561"/>
                  </a:lnTo>
                  <a:cubicBezTo>
                    <a:pt x="6017261" y="1594534"/>
                    <a:pt x="5961185" y="1648590"/>
                    <a:pt x="5866359" y="1648590"/>
                  </a:cubicBezTo>
                  <a:cubicBezTo>
                    <a:pt x="5734865" y="1648590"/>
                    <a:pt x="5637954" y="1543604"/>
                    <a:pt x="5637954" y="1398823"/>
                  </a:cubicBezTo>
                  <a:cubicBezTo>
                    <a:pt x="5637954" y="1266288"/>
                    <a:pt x="5718518" y="1146973"/>
                    <a:pt x="5868378" y="1146973"/>
                  </a:cubicBezTo>
                  <a:cubicBezTo>
                    <a:pt x="5954021" y="1146973"/>
                    <a:pt x="6013157" y="1185724"/>
                    <a:pt x="6056989" y="1250983"/>
                  </a:cubicBezTo>
                  <a:lnTo>
                    <a:pt x="5975448" y="1333565"/>
                  </a:lnTo>
                  <a:cubicBezTo>
                    <a:pt x="5946922" y="1295856"/>
                    <a:pt x="5916312" y="1266288"/>
                    <a:pt x="5867401" y="1266288"/>
                  </a:cubicBezTo>
                  <a:cubicBezTo>
                    <a:pt x="5801100" y="1266288"/>
                    <a:pt x="5766452" y="1322363"/>
                    <a:pt x="5766452" y="1396804"/>
                  </a:cubicBezTo>
                  <a:cubicBezTo>
                    <a:pt x="5766452" y="1466101"/>
                    <a:pt x="5797062" y="1528299"/>
                    <a:pt x="5868378" y="1528299"/>
                  </a:cubicBezTo>
                  <a:cubicBezTo>
                    <a:pt x="5912209" y="1528299"/>
                    <a:pt x="5948941" y="1504852"/>
                    <a:pt x="5978509" y="1467143"/>
                  </a:cubicBezTo>
                  <a:close/>
                  <a:moveTo>
                    <a:pt x="4869246" y="667825"/>
                  </a:moveTo>
                  <a:lnTo>
                    <a:pt x="4750973" y="667825"/>
                  </a:lnTo>
                  <a:lnTo>
                    <a:pt x="4750973" y="634153"/>
                  </a:lnTo>
                  <a:cubicBezTo>
                    <a:pt x="4724466" y="663721"/>
                    <a:pt x="4681676" y="677984"/>
                    <a:pt x="4638822" y="677984"/>
                  </a:cubicBezTo>
                  <a:cubicBezTo>
                    <a:pt x="4514427" y="677984"/>
                    <a:pt x="4467535" y="588238"/>
                    <a:pt x="4467535" y="458763"/>
                  </a:cubicBezTo>
                  <a:lnTo>
                    <a:pt x="4467535" y="186527"/>
                  </a:lnTo>
                  <a:lnTo>
                    <a:pt x="4587827" y="186527"/>
                  </a:lnTo>
                  <a:lnTo>
                    <a:pt x="4587827" y="448538"/>
                  </a:lnTo>
                  <a:cubicBezTo>
                    <a:pt x="4587827" y="513797"/>
                    <a:pt x="4601113" y="562708"/>
                    <a:pt x="4668390" y="562708"/>
                  </a:cubicBezTo>
                  <a:cubicBezTo>
                    <a:pt x="4735668" y="562708"/>
                    <a:pt x="4748954" y="511712"/>
                    <a:pt x="4748954" y="452576"/>
                  </a:cubicBezTo>
                  <a:lnTo>
                    <a:pt x="4748954" y="186462"/>
                  </a:lnTo>
                  <a:lnTo>
                    <a:pt x="4869246" y="186462"/>
                  </a:lnTo>
                  <a:lnTo>
                    <a:pt x="4869246" y="667695"/>
                  </a:lnTo>
                  <a:close/>
                  <a:moveTo>
                    <a:pt x="5244449" y="527083"/>
                  </a:moveTo>
                  <a:lnTo>
                    <a:pt x="5227125" y="649458"/>
                  </a:lnTo>
                  <a:cubicBezTo>
                    <a:pt x="5202637" y="668802"/>
                    <a:pt x="5157829" y="677984"/>
                    <a:pt x="5128261" y="677984"/>
                  </a:cubicBezTo>
                  <a:cubicBezTo>
                    <a:pt x="5054861" y="677984"/>
                    <a:pt x="4997744" y="622951"/>
                    <a:pt x="4997744" y="535224"/>
                  </a:cubicBezTo>
                  <a:lnTo>
                    <a:pt x="4997744" y="301739"/>
                  </a:lnTo>
                  <a:lnTo>
                    <a:pt x="4928447" y="301739"/>
                  </a:lnTo>
                  <a:lnTo>
                    <a:pt x="4928447" y="186527"/>
                  </a:lnTo>
                  <a:lnTo>
                    <a:pt x="4997744" y="186527"/>
                  </a:lnTo>
                  <a:lnTo>
                    <a:pt x="4997744" y="61155"/>
                  </a:lnTo>
                  <a:lnTo>
                    <a:pt x="5118035" y="0"/>
                  </a:lnTo>
                  <a:lnTo>
                    <a:pt x="5118035" y="186592"/>
                  </a:lnTo>
                  <a:lnTo>
                    <a:pt x="5232205" y="186592"/>
                  </a:lnTo>
                  <a:lnTo>
                    <a:pt x="5232205" y="301804"/>
                  </a:lnTo>
                  <a:lnTo>
                    <a:pt x="5118035" y="301804"/>
                  </a:lnTo>
                  <a:lnTo>
                    <a:pt x="5118035" y="503701"/>
                  </a:lnTo>
                  <a:cubicBezTo>
                    <a:pt x="5118035" y="545514"/>
                    <a:pt x="5135360" y="560819"/>
                    <a:pt x="5164928" y="560819"/>
                  </a:cubicBezTo>
                  <a:cubicBezTo>
                    <a:pt x="5194496" y="560819"/>
                    <a:pt x="5225106" y="545514"/>
                    <a:pt x="5244449" y="527148"/>
                  </a:cubicBezTo>
                  <a:close/>
                  <a:moveTo>
                    <a:pt x="3417407" y="667825"/>
                  </a:moveTo>
                  <a:lnTo>
                    <a:pt x="3297116" y="667825"/>
                  </a:lnTo>
                  <a:lnTo>
                    <a:pt x="3297116" y="405814"/>
                  </a:lnTo>
                  <a:cubicBezTo>
                    <a:pt x="3297116" y="340555"/>
                    <a:pt x="3282853" y="292621"/>
                    <a:pt x="3215575" y="292621"/>
                  </a:cubicBezTo>
                  <a:cubicBezTo>
                    <a:pt x="3148298" y="292621"/>
                    <a:pt x="3132993" y="336452"/>
                    <a:pt x="3132993" y="402753"/>
                  </a:cubicBezTo>
                  <a:lnTo>
                    <a:pt x="3132993" y="667825"/>
                  </a:lnTo>
                  <a:lnTo>
                    <a:pt x="3012701" y="667825"/>
                  </a:lnTo>
                  <a:lnTo>
                    <a:pt x="3012701" y="61221"/>
                  </a:lnTo>
                  <a:lnTo>
                    <a:pt x="3132993" y="65"/>
                  </a:lnTo>
                  <a:lnTo>
                    <a:pt x="3132993" y="220264"/>
                  </a:lnTo>
                  <a:cubicBezTo>
                    <a:pt x="3159500" y="193756"/>
                    <a:pt x="3192129" y="176432"/>
                    <a:pt x="3246186" y="176432"/>
                  </a:cubicBezTo>
                  <a:cubicBezTo>
                    <a:pt x="3373641" y="176432"/>
                    <a:pt x="3417473" y="274320"/>
                    <a:pt x="3417473" y="396631"/>
                  </a:cubicBezTo>
                  <a:lnTo>
                    <a:pt x="3417473" y="667825"/>
                  </a:lnTo>
                  <a:close/>
                  <a:moveTo>
                    <a:pt x="5564554" y="1638365"/>
                  </a:moveTo>
                  <a:lnTo>
                    <a:pt x="5440160" y="1638365"/>
                  </a:lnTo>
                  <a:lnTo>
                    <a:pt x="5440160" y="1376355"/>
                  </a:lnTo>
                  <a:cubicBezTo>
                    <a:pt x="5440160" y="1309077"/>
                    <a:pt x="5424855" y="1264204"/>
                    <a:pt x="5357577" y="1264204"/>
                  </a:cubicBezTo>
                  <a:cubicBezTo>
                    <a:pt x="5294337" y="1264204"/>
                    <a:pt x="5273952" y="1301913"/>
                    <a:pt x="5273952" y="1373293"/>
                  </a:cubicBezTo>
                  <a:lnTo>
                    <a:pt x="5273952" y="1638365"/>
                  </a:lnTo>
                  <a:lnTo>
                    <a:pt x="5149558" y="1638365"/>
                  </a:lnTo>
                  <a:lnTo>
                    <a:pt x="5149558" y="1157133"/>
                  </a:lnTo>
                  <a:lnTo>
                    <a:pt x="5273952" y="1157133"/>
                  </a:lnTo>
                  <a:lnTo>
                    <a:pt x="5273952" y="1189762"/>
                  </a:lnTo>
                  <a:cubicBezTo>
                    <a:pt x="5299418" y="1164297"/>
                    <a:pt x="5337192" y="1146973"/>
                    <a:pt x="5391183" y="1146973"/>
                  </a:cubicBezTo>
                  <a:cubicBezTo>
                    <a:pt x="5521700" y="1146973"/>
                    <a:pt x="5564490" y="1247922"/>
                    <a:pt x="5564490" y="1366195"/>
                  </a:cubicBezTo>
                  <a:lnTo>
                    <a:pt x="5564490" y="1638430"/>
                  </a:lnTo>
                  <a:close/>
                  <a:moveTo>
                    <a:pt x="4008772" y="1115386"/>
                  </a:moveTo>
                  <a:cubicBezTo>
                    <a:pt x="4048565" y="1115386"/>
                    <a:pt x="4080152" y="1083798"/>
                    <a:pt x="4080152" y="1044005"/>
                  </a:cubicBezTo>
                  <a:cubicBezTo>
                    <a:pt x="4080152" y="1004212"/>
                    <a:pt x="4048565" y="972624"/>
                    <a:pt x="4008772" y="972624"/>
                  </a:cubicBezTo>
                  <a:cubicBezTo>
                    <a:pt x="3968978" y="972624"/>
                    <a:pt x="3937391" y="1004212"/>
                    <a:pt x="3937391" y="1044005"/>
                  </a:cubicBezTo>
                  <a:cubicBezTo>
                    <a:pt x="3937391" y="1083798"/>
                    <a:pt x="3968978" y="1115386"/>
                    <a:pt x="4008772" y="1115386"/>
                  </a:cubicBezTo>
                  <a:close/>
                  <a:moveTo>
                    <a:pt x="829864" y="1115386"/>
                  </a:moveTo>
                  <a:cubicBezTo>
                    <a:pt x="869657" y="1115386"/>
                    <a:pt x="901244" y="1083798"/>
                    <a:pt x="901244" y="1044005"/>
                  </a:cubicBezTo>
                  <a:cubicBezTo>
                    <a:pt x="901244" y="1004212"/>
                    <a:pt x="869657" y="972624"/>
                    <a:pt x="829864" y="972624"/>
                  </a:cubicBezTo>
                  <a:cubicBezTo>
                    <a:pt x="790070" y="972624"/>
                    <a:pt x="758483" y="1004212"/>
                    <a:pt x="758483" y="1044005"/>
                  </a:cubicBezTo>
                  <a:cubicBezTo>
                    <a:pt x="758483" y="1083798"/>
                    <a:pt x="790070" y="1115386"/>
                    <a:pt x="829864" y="1115386"/>
                  </a:cubicBezTo>
                  <a:close/>
                  <a:moveTo>
                    <a:pt x="6512756" y="426134"/>
                  </a:moveTo>
                  <a:cubicBezTo>
                    <a:pt x="6512756" y="441439"/>
                    <a:pt x="6511714" y="460782"/>
                    <a:pt x="6510737" y="467946"/>
                  </a:cubicBezTo>
                  <a:lnTo>
                    <a:pt x="6219158" y="467946"/>
                  </a:lnTo>
                  <a:cubicBezTo>
                    <a:pt x="6224238" y="535224"/>
                    <a:pt x="6270154" y="562773"/>
                    <a:pt x="6322126" y="562773"/>
                  </a:cubicBezTo>
                  <a:cubicBezTo>
                    <a:pt x="6352736" y="562773"/>
                    <a:pt x="6381262" y="553590"/>
                    <a:pt x="6405751" y="529102"/>
                  </a:cubicBezTo>
                  <a:lnTo>
                    <a:pt x="6491394" y="601459"/>
                  </a:lnTo>
                  <a:cubicBezTo>
                    <a:pt x="6446521" y="657535"/>
                    <a:pt x="6378201" y="677919"/>
                    <a:pt x="6317046" y="677919"/>
                  </a:cubicBezTo>
                  <a:cubicBezTo>
                    <a:pt x="6176369" y="677919"/>
                    <a:pt x="6095805" y="569872"/>
                    <a:pt x="6095805" y="428153"/>
                  </a:cubicBezTo>
                  <a:cubicBezTo>
                    <a:pt x="6095805" y="274190"/>
                    <a:pt x="6190632" y="176302"/>
                    <a:pt x="6308905" y="176302"/>
                  </a:cubicBezTo>
                  <a:cubicBezTo>
                    <a:pt x="6435319" y="176302"/>
                    <a:pt x="6512821" y="287411"/>
                    <a:pt x="6512821" y="426069"/>
                  </a:cubicBezTo>
                  <a:close/>
                  <a:moveTo>
                    <a:pt x="6221177" y="374162"/>
                  </a:moveTo>
                  <a:lnTo>
                    <a:pt x="6392465" y="374162"/>
                  </a:lnTo>
                  <a:cubicBezTo>
                    <a:pt x="6388361" y="320105"/>
                    <a:pt x="6353713" y="283438"/>
                    <a:pt x="6304802" y="283438"/>
                  </a:cubicBezTo>
                  <a:cubicBezTo>
                    <a:pt x="6246708" y="283438"/>
                    <a:pt x="6224238" y="334433"/>
                    <a:pt x="6221177" y="374162"/>
                  </a:cubicBezTo>
                  <a:close/>
                  <a:moveTo>
                    <a:pt x="5702235" y="667825"/>
                  </a:moveTo>
                  <a:lnTo>
                    <a:pt x="5583963" y="667825"/>
                  </a:lnTo>
                  <a:lnTo>
                    <a:pt x="5583963" y="634153"/>
                  </a:lnTo>
                  <a:cubicBezTo>
                    <a:pt x="5557456" y="663721"/>
                    <a:pt x="5514666" y="677984"/>
                    <a:pt x="5471812" y="677984"/>
                  </a:cubicBezTo>
                  <a:cubicBezTo>
                    <a:pt x="5347417" y="677984"/>
                    <a:pt x="5300525" y="588238"/>
                    <a:pt x="5300525" y="458763"/>
                  </a:cubicBezTo>
                  <a:lnTo>
                    <a:pt x="5300525" y="186527"/>
                  </a:lnTo>
                  <a:lnTo>
                    <a:pt x="5420817" y="186527"/>
                  </a:lnTo>
                  <a:lnTo>
                    <a:pt x="5420817" y="448538"/>
                  </a:lnTo>
                  <a:cubicBezTo>
                    <a:pt x="5420817" y="513797"/>
                    <a:pt x="5434103" y="562708"/>
                    <a:pt x="5501380" y="562708"/>
                  </a:cubicBezTo>
                  <a:cubicBezTo>
                    <a:pt x="5568657" y="562708"/>
                    <a:pt x="5581944" y="511712"/>
                    <a:pt x="5581944" y="452576"/>
                  </a:cubicBezTo>
                  <a:lnTo>
                    <a:pt x="5581944" y="186462"/>
                  </a:lnTo>
                  <a:lnTo>
                    <a:pt x="5702235" y="186462"/>
                  </a:lnTo>
                  <a:lnTo>
                    <a:pt x="5702235" y="667695"/>
                  </a:lnTo>
                  <a:close/>
                  <a:moveTo>
                    <a:pt x="3895579" y="426134"/>
                  </a:moveTo>
                  <a:cubicBezTo>
                    <a:pt x="3895579" y="441439"/>
                    <a:pt x="3894537" y="460782"/>
                    <a:pt x="3893560" y="467946"/>
                  </a:cubicBezTo>
                  <a:lnTo>
                    <a:pt x="3601981" y="467946"/>
                  </a:lnTo>
                  <a:cubicBezTo>
                    <a:pt x="3607061" y="535224"/>
                    <a:pt x="3652976" y="562773"/>
                    <a:pt x="3704949" y="562773"/>
                  </a:cubicBezTo>
                  <a:cubicBezTo>
                    <a:pt x="3735559" y="562773"/>
                    <a:pt x="3764085" y="553590"/>
                    <a:pt x="3788573" y="529102"/>
                  </a:cubicBezTo>
                  <a:lnTo>
                    <a:pt x="3874217" y="601459"/>
                  </a:lnTo>
                  <a:cubicBezTo>
                    <a:pt x="3829343" y="657535"/>
                    <a:pt x="3761024" y="677919"/>
                    <a:pt x="3699868" y="677919"/>
                  </a:cubicBezTo>
                  <a:cubicBezTo>
                    <a:pt x="3559192" y="677919"/>
                    <a:pt x="3478628" y="569872"/>
                    <a:pt x="3478628" y="428153"/>
                  </a:cubicBezTo>
                  <a:cubicBezTo>
                    <a:pt x="3478628" y="274190"/>
                    <a:pt x="3573455" y="176302"/>
                    <a:pt x="3691727" y="176302"/>
                  </a:cubicBezTo>
                  <a:cubicBezTo>
                    <a:pt x="3818141" y="176302"/>
                    <a:pt x="3895644" y="287411"/>
                    <a:pt x="3895644" y="426069"/>
                  </a:cubicBezTo>
                  <a:close/>
                  <a:moveTo>
                    <a:pt x="3604000" y="374162"/>
                  </a:moveTo>
                  <a:lnTo>
                    <a:pt x="3775287" y="374162"/>
                  </a:lnTo>
                  <a:cubicBezTo>
                    <a:pt x="3771184" y="320105"/>
                    <a:pt x="3736536" y="283438"/>
                    <a:pt x="3687624" y="283438"/>
                  </a:cubicBezTo>
                  <a:cubicBezTo>
                    <a:pt x="3629530" y="283438"/>
                    <a:pt x="3607061" y="334433"/>
                    <a:pt x="3604000" y="374162"/>
                  </a:cubicBezTo>
                  <a:close/>
                  <a:moveTo>
                    <a:pt x="4579686" y="1638365"/>
                  </a:moveTo>
                  <a:lnTo>
                    <a:pt x="4455291" y="1638365"/>
                  </a:lnTo>
                  <a:lnTo>
                    <a:pt x="4455291" y="1606778"/>
                  </a:lnTo>
                  <a:cubicBezTo>
                    <a:pt x="4414521" y="1636346"/>
                    <a:pt x="4390032" y="1648590"/>
                    <a:pt x="4346201" y="1648590"/>
                  </a:cubicBezTo>
                  <a:cubicBezTo>
                    <a:pt x="4207543" y="1648590"/>
                    <a:pt x="4148406" y="1528299"/>
                    <a:pt x="4148406" y="1393678"/>
                  </a:cubicBezTo>
                  <a:cubicBezTo>
                    <a:pt x="4148406" y="1247856"/>
                    <a:pt x="4217703" y="1146973"/>
                    <a:pt x="4343140" y="1146973"/>
                  </a:cubicBezTo>
                  <a:cubicBezTo>
                    <a:pt x="4384952" y="1146973"/>
                    <a:pt x="4424681" y="1158175"/>
                    <a:pt x="4455291" y="1185724"/>
                  </a:cubicBezTo>
                  <a:lnTo>
                    <a:pt x="4455291" y="1031761"/>
                  </a:lnTo>
                  <a:lnTo>
                    <a:pt x="4579686" y="969564"/>
                  </a:lnTo>
                  <a:lnTo>
                    <a:pt x="4579686" y="1638365"/>
                  </a:lnTo>
                  <a:close/>
                  <a:moveTo>
                    <a:pt x="4455356" y="1489547"/>
                  </a:moveTo>
                  <a:lnTo>
                    <a:pt x="4455356" y="1306016"/>
                  </a:lnTo>
                  <a:cubicBezTo>
                    <a:pt x="4428849" y="1277490"/>
                    <a:pt x="4403384" y="1264204"/>
                    <a:pt x="4368670" y="1264204"/>
                  </a:cubicBezTo>
                  <a:cubicBezTo>
                    <a:pt x="4296313" y="1264204"/>
                    <a:pt x="4278924" y="1321321"/>
                    <a:pt x="4278924" y="1389575"/>
                  </a:cubicBezTo>
                  <a:cubicBezTo>
                    <a:pt x="4278924" y="1467078"/>
                    <a:pt x="4301328" y="1531294"/>
                    <a:pt x="4371731" y="1531294"/>
                  </a:cubicBezTo>
                  <a:cubicBezTo>
                    <a:pt x="4406380" y="1531294"/>
                    <a:pt x="4430868" y="1515989"/>
                    <a:pt x="4455356" y="1489482"/>
                  </a:cubicBezTo>
                  <a:close/>
                  <a:moveTo>
                    <a:pt x="3945532" y="1157198"/>
                  </a:moveTo>
                  <a:lnTo>
                    <a:pt x="3945532" y="1638430"/>
                  </a:lnTo>
                  <a:lnTo>
                    <a:pt x="4069927" y="1638430"/>
                  </a:lnTo>
                  <a:lnTo>
                    <a:pt x="4069927" y="1157198"/>
                  </a:lnTo>
                  <a:lnTo>
                    <a:pt x="3945532" y="1157198"/>
                  </a:lnTo>
                  <a:close/>
                  <a:moveTo>
                    <a:pt x="3873175" y="985911"/>
                  </a:moveTo>
                  <a:lnTo>
                    <a:pt x="3873175" y="1085817"/>
                  </a:lnTo>
                  <a:cubicBezTo>
                    <a:pt x="3854809" y="1079695"/>
                    <a:pt x="3830386" y="1076634"/>
                    <a:pt x="3812019" y="1076634"/>
                  </a:cubicBezTo>
                  <a:cubicBezTo>
                    <a:pt x="3776329" y="1076634"/>
                    <a:pt x="3760047" y="1087836"/>
                    <a:pt x="3760047" y="1118447"/>
                  </a:cubicBezTo>
                  <a:lnTo>
                    <a:pt x="3760047" y="1157198"/>
                  </a:lnTo>
                  <a:lnTo>
                    <a:pt x="3863015" y="1157198"/>
                  </a:lnTo>
                  <a:lnTo>
                    <a:pt x="3863015" y="1273452"/>
                  </a:lnTo>
                  <a:lnTo>
                    <a:pt x="3760047" y="1273452"/>
                  </a:lnTo>
                  <a:lnTo>
                    <a:pt x="3760047" y="1638430"/>
                  </a:lnTo>
                  <a:lnTo>
                    <a:pt x="3635652" y="1638430"/>
                  </a:lnTo>
                  <a:lnTo>
                    <a:pt x="3635652" y="1273452"/>
                  </a:lnTo>
                  <a:lnTo>
                    <a:pt x="3568375" y="1273452"/>
                  </a:lnTo>
                  <a:lnTo>
                    <a:pt x="3568375" y="1157198"/>
                  </a:lnTo>
                  <a:lnTo>
                    <a:pt x="3635652" y="1157198"/>
                  </a:lnTo>
                  <a:lnTo>
                    <a:pt x="3635652" y="1099104"/>
                  </a:lnTo>
                  <a:cubicBezTo>
                    <a:pt x="3635652" y="1009357"/>
                    <a:pt x="3691727" y="972690"/>
                    <a:pt x="3782451" y="972690"/>
                  </a:cubicBezTo>
                  <a:cubicBezTo>
                    <a:pt x="3808958" y="972690"/>
                    <a:pt x="3847710" y="975751"/>
                    <a:pt x="3873175" y="985976"/>
                  </a:cubicBezTo>
                  <a:close/>
                  <a:moveTo>
                    <a:pt x="3507154" y="1638365"/>
                  </a:moveTo>
                  <a:lnTo>
                    <a:pt x="3382759" y="1638365"/>
                  </a:lnTo>
                  <a:lnTo>
                    <a:pt x="3382759" y="1376355"/>
                  </a:lnTo>
                  <a:cubicBezTo>
                    <a:pt x="3382759" y="1309077"/>
                    <a:pt x="3367454" y="1264204"/>
                    <a:pt x="3300177" y="1264204"/>
                  </a:cubicBezTo>
                  <a:cubicBezTo>
                    <a:pt x="3236937" y="1264204"/>
                    <a:pt x="3216552" y="1301913"/>
                    <a:pt x="3216552" y="1373293"/>
                  </a:cubicBezTo>
                  <a:lnTo>
                    <a:pt x="3216552" y="1638365"/>
                  </a:lnTo>
                  <a:lnTo>
                    <a:pt x="3092157" y="1638365"/>
                  </a:lnTo>
                  <a:lnTo>
                    <a:pt x="3092157" y="1157133"/>
                  </a:lnTo>
                  <a:lnTo>
                    <a:pt x="3216552" y="1157133"/>
                  </a:lnTo>
                  <a:lnTo>
                    <a:pt x="3216552" y="1189762"/>
                  </a:lnTo>
                  <a:cubicBezTo>
                    <a:pt x="3242017" y="1164297"/>
                    <a:pt x="3279792" y="1146973"/>
                    <a:pt x="3333783" y="1146973"/>
                  </a:cubicBezTo>
                  <a:cubicBezTo>
                    <a:pt x="3464300" y="1146973"/>
                    <a:pt x="3507089" y="1247922"/>
                    <a:pt x="3507089" y="1366195"/>
                  </a:cubicBezTo>
                  <a:lnTo>
                    <a:pt x="3507089" y="1638430"/>
                  </a:lnTo>
                  <a:close/>
                  <a:moveTo>
                    <a:pt x="2792437" y="1146973"/>
                  </a:moveTo>
                  <a:cubicBezTo>
                    <a:pt x="2653779" y="1146973"/>
                    <a:pt x="2567094" y="1256063"/>
                    <a:pt x="2567094" y="1397782"/>
                  </a:cubicBezTo>
                  <a:cubicBezTo>
                    <a:pt x="2567094" y="1546665"/>
                    <a:pt x="2661920" y="1648590"/>
                    <a:pt x="2792437" y="1648590"/>
                  </a:cubicBezTo>
                  <a:cubicBezTo>
                    <a:pt x="2922954" y="1648590"/>
                    <a:pt x="3017781" y="1546665"/>
                    <a:pt x="3017781" y="1397782"/>
                  </a:cubicBezTo>
                  <a:cubicBezTo>
                    <a:pt x="3017781" y="1248899"/>
                    <a:pt x="2931095" y="1146973"/>
                    <a:pt x="2792437" y="1146973"/>
                  </a:cubicBezTo>
                  <a:close/>
                  <a:moveTo>
                    <a:pt x="2792437" y="1528299"/>
                  </a:moveTo>
                  <a:cubicBezTo>
                    <a:pt x="2712916" y="1528299"/>
                    <a:pt x="2695592" y="1451838"/>
                    <a:pt x="2695592" y="1397782"/>
                  </a:cubicBezTo>
                  <a:cubicBezTo>
                    <a:pt x="2695592" y="1323340"/>
                    <a:pt x="2726202" y="1266288"/>
                    <a:pt x="2792437" y="1266288"/>
                  </a:cubicBezTo>
                  <a:cubicBezTo>
                    <a:pt x="2858673" y="1266288"/>
                    <a:pt x="2889283" y="1323405"/>
                    <a:pt x="2889283" y="1397782"/>
                  </a:cubicBezTo>
                  <a:cubicBezTo>
                    <a:pt x="2889283" y="1451838"/>
                    <a:pt x="2871959" y="1528299"/>
                    <a:pt x="2792437" y="1528299"/>
                  </a:cubicBezTo>
                  <a:close/>
                  <a:moveTo>
                    <a:pt x="2446802" y="1467143"/>
                  </a:moveTo>
                  <a:lnTo>
                    <a:pt x="2526323" y="1542561"/>
                  </a:lnTo>
                  <a:cubicBezTo>
                    <a:pt x="2485553" y="1594534"/>
                    <a:pt x="2429478" y="1648590"/>
                    <a:pt x="2334651" y="1648590"/>
                  </a:cubicBezTo>
                  <a:cubicBezTo>
                    <a:pt x="2203157" y="1648590"/>
                    <a:pt x="2106246" y="1543604"/>
                    <a:pt x="2106246" y="1398823"/>
                  </a:cubicBezTo>
                  <a:cubicBezTo>
                    <a:pt x="2106246" y="1266288"/>
                    <a:pt x="2186810" y="1146973"/>
                    <a:pt x="2336670" y="1146973"/>
                  </a:cubicBezTo>
                  <a:cubicBezTo>
                    <a:pt x="2422314" y="1146973"/>
                    <a:pt x="2481450" y="1185724"/>
                    <a:pt x="2525281" y="1250983"/>
                  </a:cubicBezTo>
                  <a:lnTo>
                    <a:pt x="2443741" y="1333565"/>
                  </a:lnTo>
                  <a:cubicBezTo>
                    <a:pt x="2415215" y="1295856"/>
                    <a:pt x="2384604" y="1266288"/>
                    <a:pt x="2335693" y="1266288"/>
                  </a:cubicBezTo>
                  <a:cubicBezTo>
                    <a:pt x="2269393" y="1266288"/>
                    <a:pt x="2234744" y="1322363"/>
                    <a:pt x="2234744" y="1396804"/>
                  </a:cubicBezTo>
                  <a:cubicBezTo>
                    <a:pt x="2234744" y="1466101"/>
                    <a:pt x="2265355" y="1528299"/>
                    <a:pt x="2336670" y="1528299"/>
                  </a:cubicBezTo>
                  <a:cubicBezTo>
                    <a:pt x="2380501" y="1528299"/>
                    <a:pt x="2417234" y="1504852"/>
                    <a:pt x="2446802" y="1467143"/>
                  </a:cubicBezTo>
                  <a:close/>
                  <a:moveTo>
                    <a:pt x="1803530" y="1638365"/>
                  </a:moveTo>
                  <a:lnTo>
                    <a:pt x="1679135" y="1638365"/>
                  </a:lnTo>
                  <a:lnTo>
                    <a:pt x="1679135" y="1376355"/>
                  </a:lnTo>
                  <a:cubicBezTo>
                    <a:pt x="1679135" y="1309077"/>
                    <a:pt x="1663830" y="1264204"/>
                    <a:pt x="1596553" y="1264204"/>
                  </a:cubicBezTo>
                  <a:cubicBezTo>
                    <a:pt x="1533314" y="1264204"/>
                    <a:pt x="1511951" y="1301913"/>
                    <a:pt x="1511951" y="1373293"/>
                  </a:cubicBezTo>
                  <a:lnTo>
                    <a:pt x="1511951" y="1638365"/>
                  </a:lnTo>
                  <a:lnTo>
                    <a:pt x="1387557" y="1638365"/>
                  </a:lnTo>
                  <a:lnTo>
                    <a:pt x="1387557" y="1031761"/>
                  </a:lnTo>
                  <a:lnTo>
                    <a:pt x="1511951" y="969564"/>
                  </a:lnTo>
                  <a:lnTo>
                    <a:pt x="1511951" y="1189762"/>
                  </a:lnTo>
                  <a:cubicBezTo>
                    <a:pt x="1535398" y="1161236"/>
                    <a:pt x="1584309" y="1146973"/>
                    <a:pt x="1632243" y="1146973"/>
                  </a:cubicBezTo>
                  <a:cubicBezTo>
                    <a:pt x="1758657" y="1146973"/>
                    <a:pt x="1803530" y="1246880"/>
                    <a:pt x="1803530" y="1366195"/>
                  </a:cubicBezTo>
                  <a:lnTo>
                    <a:pt x="1803530" y="1638430"/>
                  </a:lnTo>
                  <a:close/>
                  <a:moveTo>
                    <a:pt x="1311031" y="1493650"/>
                  </a:moveTo>
                  <a:lnTo>
                    <a:pt x="1292665" y="1619022"/>
                  </a:lnTo>
                  <a:cubicBezTo>
                    <a:pt x="1267200" y="1639407"/>
                    <a:pt x="1205979" y="1648590"/>
                    <a:pt x="1173350" y="1648590"/>
                  </a:cubicBezTo>
                  <a:cubicBezTo>
                    <a:pt x="1097931" y="1648590"/>
                    <a:pt x="1043875" y="1588412"/>
                    <a:pt x="1043875" y="1504852"/>
                  </a:cubicBezTo>
                  <a:lnTo>
                    <a:pt x="1043875" y="1273387"/>
                  </a:lnTo>
                  <a:lnTo>
                    <a:pt x="960250" y="1273387"/>
                  </a:lnTo>
                  <a:lnTo>
                    <a:pt x="960250" y="1157133"/>
                  </a:lnTo>
                  <a:lnTo>
                    <a:pt x="1043875" y="1157133"/>
                  </a:lnTo>
                  <a:lnTo>
                    <a:pt x="1043875" y="1031761"/>
                  </a:lnTo>
                  <a:lnTo>
                    <a:pt x="1168270" y="969564"/>
                  </a:lnTo>
                  <a:lnTo>
                    <a:pt x="1168270" y="1157133"/>
                  </a:lnTo>
                  <a:lnTo>
                    <a:pt x="1308947" y="1157133"/>
                  </a:lnTo>
                  <a:lnTo>
                    <a:pt x="1308947" y="1273387"/>
                  </a:lnTo>
                  <a:lnTo>
                    <a:pt x="1168270" y="1273387"/>
                  </a:lnTo>
                  <a:lnTo>
                    <a:pt x="1168270" y="1471181"/>
                  </a:lnTo>
                  <a:cubicBezTo>
                    <a:pt x="1168270" y="1515012"/>
                    <a:pt x="1184552" y="1529275"/>
                    <a:pt x="1214120" y="1529275"/>
                  </a:cubicBezTo>
                  <a:cubicBezTo>
                    <a:pt x="1243688" y="1529275"/>
                    <a:pt x="1289539" y="1513970"/>
                    <a:pt x="1310966" y="1493585"/>
                  </a:cubicBezTo>
                  <a:close/>
                  <a:moveTo>
                    <a:pt x="767666" y="1157198"/>
                  </a:moveTo>
                  <a:lnTo>
                    <a:pt x="767666" y="1638430"/>
                  </a:lnTo>
                  <a:lnTo>
                    <a:pt x="892061" y="1638430"/>
                  </a:lnTo>
                  <a:lnTo>
                    <a:pt x="892061" y="1157198"/>
                  </a:lnTo>
                  <a:lnTo>
                    <a:pt x="767666" y="1157198"/>
                  </a:lnTo>
                  <a:close/>
                  <a:moveTo>
                    <a:pt x="702408" y="1157198"/>
                  </a:moveTo>
                  <a:lnTo>
                    <a:pt x="550529" y="1638430"/>
                  </a:lnTo>
                  <a:lnTo>
                    <a:pt x="436359" y="1638430"/>
                  </a:lnTo>
                  <a:lnTo>
                    <a:pt x="354819" y="1345809"/>
                  </a:lnTo>
                  <a:lnTo>
                    <a:pt x="272236" y="1638430"/>
                  </a:lnTo>
                  <a:lnTo>
                    <a:pt x="158066" y="1638430"/>
                  </a:lnTo>
                  <a:lnTo>
                    <a:pt x="7099" y="1157198"/>
                  </a:lnTo>
                  <a:lnTo>
                    <a:pt x="145757" y="1157198"/>
                  </a:lnTo>
                  <a:lnTo>
                    <a:pt x="218114" y="1436533"/>
                  </a:lnTo>
                  <a:lnTo>
                    <a:pt x="299655" y="1157198"/>
                  </a:lnTo>
                  <a:lnTo>
                    <a:pt x="412848" y="1157198"/>
                  </a:lnTo>
                  <a:lnTo>
                    <a:pt x="494388" y="1436533"/>
                  </a:lnTo>
                  <a:lnTo>
                    <a:pt x="567788" y="1157198"/>
                  </a:lnTo>
                  <a:lnTo>
                    <a:pt x="702343" y="1157198"/>
                  </a:lnTo>
                  <a:close/>
                  <a:moveTo>
                    <a:pt x="4436990" y="16282"/>
                  </a:moveTo>
                  <a:lnTo>
                    <a:pt x="4436990" y="115147"/>
                  </a:lnTo>
                  <a:cubicBezTo>
                    <a:pt x="4409441" y="107983"/>
                    <a:pt x="4391139" y="104921"/>
                    <a:pt x="4374792" y="104921"/>
                  </a:cubicBezTo>
                  <a:cubicBezTo>
                    <a:pt x="4332003" y="104921"/>
                    <a:pt x="4322820" y="120227"/>
                    <a:pt x="4322820" y="144715"/>
                  </a:cubicBezTo>
                  <a:lnTo>
                    <a:pt x="4322820" y="186527"/>
                  </a:lnTo>
                  <a:lnTo>
                    <a:pt x="4404361" y="186527"/>
                  </a:lnTo>
                  <a:lnTo>
                    <a:pt x="4404361" y="302781"/>
                  </a:lnTo>
                  <a:lnTo>
                    <a:pt x="4322820" y="302781"/>
                  </a:lnTo>
                  <a:lnTo>
                    <a:pt x="4322820" y="667759"/>
                  </a:lnTo>
                  <a:lnTo>
                    <a:pt x="4202528" y="667759"/>
                  </a:lnTo>
                  <a:lnTo>
                    <a:pt x="4202528" y="302781"/>
                  </a:lnTo>
                  <a:lnTo>
                    <a:pt x="4143392" y="302781"/>
                  </a:lnTo>
                  <a:lnTo>
                    <a:pt x="4143392" y="186527"/>
                  </a:lnTo>
                  <a:lnTo>
                    <a:pt x="4202528" y="186527"/>
                  </a:lnTo>
                  <a:lnTo>
                    <a:pt x="4202528" y="128433"/>
                  </a:lnTo>
                  <a:cubicBezTo>
                    <a:pt x="4202528" y="44808"/>
                    <a:pt x="4246360" y="2019"/>
                    <a:pt x="4348350" y="2019"/>
                  </a:cubicBezTo>
                  <a:cubicBezTo>
                    <a:pt x="4380980" y="2019"/>
                    <a:pt x="4407487" y="8141"/>
                    <a:pt x="4437055" y="16282"/>
                  </a:cubicBezTo>
                  <a:close/>
                  <a:moveTo>
                    <a:pt x="2957602" y="527083"/>
                  </a:moveTo>
                  <a:lnTo>
                    <a:pt x="2940278" y="649458"/>
                  </a:lnTo>
                  <a:cubicBezTo>
                    <a:pt x="2915790" y="668802"/>
                    <a:pt x="2873001" y="677984"/>
                    <a:pt x="2843433" y="677984"/>
                  </a:cubicBezTo>
                  <a:cubicBezTo>
                    <a:pt x="2770033" y="677984"/>
                    <a:pt x="2712916" y="622951"/>
                    <a:pt x="2712916" y="535224"/>
                  </a:cubicBezTo>
                  <a:lnTo>
                    <a:pt x="2712916" y="301739"/>
                  </a:lnTo>
                  <a:lnTo>
                    <a:pt x="2629291" y="301739"/>
                  </a:lnTo>
                  <a:lnTo>
                    <a:pt x="2629291" y="186527"/>
                  </a:lnTo>
                  <a:lnTo>
                    <a:pt x="2712916" y="186527"/>
                  </a:lnTo>
                  <a:lnTo>
                    <a:pt x="2712916" y="61155"/>
                  </a:lnTo>
                  <a:lnTo>
                    <a:pt x="2833208" y="0"/>
                  </a:lnTo>
                  <a:lnTo>
                    <a:pt x="2833208" y="186592"/>
                  </a:lnTo>
                  <a:lnTo>
                    <a:pt x="2945358" y="186592"/>
                  </a:lnTo>
                  <a:lnTo>
                    <a:pt x="2945358" y="301804"/>
                  </a:lnTo>
                  <a:lnTo>
                    <a:pt x="2833208" y="301804"/>
                  </a:lnTo>
                  <a:lnTo>
                    <a:pt x="2833208" y="503701"/>
                  </a:lnTo>
                  <a:cubicBezTo>
                    <a:pt x="2833208" y="545514"/>
                    <a:pt x="2850532" y="560819"/>
                    <a:pt x="2880100" y="560819"/>
                  </a:cubicBezTo>
                  <a:cubicBezTo>
                    <a:pt x="2909668" y="560819"/>
                    <a:pt x="2938194" y="545514"/>
                    <a:pt x="2957602" y="527148"/>
                  </a:cubicBezTo>
                  <a:close/>
                  <a:moveTo>
                    <a:pt x="2397891" y="426134"/>
                  </a:moveTo>
                  <a:cubicBezTo>
                    <a:pt x="2397891" y="441439"/>
                    <a:pt x="2396849" y="460782"/>
                    <a:pt x="2395872" y="467946"/>
                  </a:cubicBezTo>
                  <a:lnTo>
                    <a:pt x="2114453" y="467946"/>
                  </a:lnTo>
                  <a:cubicBezTo>
                    <a:pt x="2119533" y="535224"/>
                    <a:pt x="2166425" y="562773"/>
                    <a:pt x="2218462" y="562773"/>
                  </a:cubicBezTo>
                  <a:cubicBezTo>
                    <a:pt x="2249073" y="562773"/>
                    <a:pt x="2276557" y="553590"/>
                    <a:pt x="2301045" y="529102"/>
                  </a:cubicBezTo>
                  <a:lnTo>
                    <a:pt x="2386689" y="601459"/>
                  </a:lnTo>
                  <a:cubicBezTo>
                    <a:pt x="2346895" y="654473"/>
                    <a:pt x="2274538" y="677919"/>
                    <a:pt x="2210321" y="677919"/>
                  </a:cubicBezTo>
                  <a:cubicBezTo>
                    <a:pt x="2072705" y="677919"/>
                    <a:pt x="1991100" y="569872"/>
                    <a:pt x="1991100" y="429130"/>
                  </a:cubicBezTo>
                  <a:cubicBezTo>
                    <a:pt x="1991100" y="288388"/>
                    <a:pt x="2079804" y="176302"/>
                    <a:pt x="2205176" y="176302"/>
                  </a:cubicBezTo>
                  <a:cubicBezTo>
                    <a:pt x="2339731" y="176302"/>
                    <a:pt x="2397891" y="298678"/>
                    <a:pt x="2397891" y="426069"/>
                  </a:cubicBezTo>
                  <a:close/>
                  <a:moveTo>
                    <a:pt x="2116472" y="374162"/>
                  </a:moveTo>
                  <a:lnTo>
                    <a:pt x="2287759" y="374162"/>
                  </a:lnTo>
                  <a:cubicBezTo>
                    <a:pt x="2282679" y="320105"/>
                    <a:pt x="2251027" y="283438"/>
                    <a:pt x="2199054" y="283438"/>
                  </a:cubicBezTo>
                  <a:cubicBezTo>
                    <a:pt x="2144021" y="283438"/>
                    <a:pt x="2119533" y="334433"/>
                    <a:pt x="2116472" y="374162"/>
                  </a:cubicBezTo>
                  <a:close/>
                  <a:moveTo>
                    <a:pt x="1933982" y="428218"/>
                  </a:moveTo>
                  <a:cubicBezTo>
                    <a:pt x="1933982" y="551571"/>
                    <a:pt x="1882987" y="677984"/>
                    <a:pt x="1746413" y="677984"/>
                  </a:cubicBezTo>
                  <a:cubicBezTo>
                    <a:pt x="1693399" y="677984"/>
                    <a:pt x="1660769" y="658642"/>
                    <a:pt x="1639342" y="638191"/>
                  </a:cubicBezTo>
                  <a:lnTo>
                    <a:pt x="1639342" y="784990"/>
                  </a:lnTo>
                  <a:lnTo>
                    <a:pt x="1519050" y="845169"/>
                  </a:lnTo>
                  <a:lnTo>
                    <a:pt x="1519050" y="186527"/>
                  </a:lnTo>
                  <a:lnTo>
                    <a:pt x="1639342" y="186527"/>
                  </a:lnTo>
                  <a:lnTo>
                    <a:pt x="1639342" y="219157"/>
                  </a:lnTo>
                  <a:cubicBezTo>
                    <a:pt x="1670929" y="190630"/>
                    <a:pt x="1703559" y="176367"/>
                    <a:pt x="1748432" y="176367"/>
                  </a:cubicBezTo>
                  <a:cubicBezTo>
                    <a:pt x="1877907" y="176367"/>
                    <a:pt x="1933982" y="298743"/>
                    <a:pt x="1933982" y="428218"/>
                  </a:cubicBezTo>
                  <a:close/>
                  <a:moveTo>
                    <a:pt x="1809587" y="434340"/>
                  </a:moveTo>
                  <a:cubicBezTo>
                    <a:pt x="1809587" y="364002"/>
                    <a:pt x="1791221" y="292621"/>
                    <a:pt x="1718864" y="292621"/>
                  </a:cubicBezTo>
                  <a:cubicBezTo>
                    <a:pt x="1685193" y="292621"/>
                    <a:pt x="1658685" y="307926"/>
                    <a:pt x="1639342" y="335410"/>
                  </a:cubicBezTo>
                  <a:lnTo>
                    <a:pt x="1639342" y="518942"/>
                  </a:lnTo>
                  <a:cubicBezTo>
                    <a:pt x="1658685" y="546491"/>
                    <a:pt x="1691315" y="562773"/>
                    <a:pt x="1726028" y="562773"/>
                  </a:cubicBezTo>
                  <a:cubicBezTo>
                    <a:pt x="1793305" y="562773"/>
                    <a:pt x="1809652" y="501618"/>
                    <a:pt x="1809652" y="434340"/>
                  </a:cubicBezTo>
                  <a:close/>
                  <a:moveTo>
                    <a:pt x="1435426" y="667825"/>
                  </a:moveTo>
                  <a:lnTo>
                    <a:pt x="1315134" y="667825"/>
                  </a:lnTo>
                  <a:lnTo>
                    <a:pt x="1315134" y="634153"/>
                  </a:lnTo>
                  <a:cubicBezTo>
                    <a:pt x="1286608" y="662680"/>
                    <a:pt x="1249876" y="677984"/>
                    <a:pt x="1202983" y="677984"/>
                  </a:cubicBezTo>
                  <a:cubicBezTo>
                    <a:pt x="1108157" y="677984"/>
                    <a:pt x="1033715" y="616829"/>
                    <a:pt x="1033715" y="510800"/>
                  </a:cubicBezTo>
                  <a:cubicBezTo>
                    <a:pt x="1033715" y="404772"/>
                    <a:pt x="1106072" y="348696"/>
                    <a:pt x="1221284" y="348696"/>
                  </a:cubicBezTo>
                  <a:cubicBezTo>
                    <a:pt x="1251894" y="348696"/>
                    <a:pt x="1283482" y="352799"/>
                    <a:pt x="1315069" y="368040"/>
                  </a:cubicBezTo>
                  <a:lnTo>
                    <a:pt x="1315069" y="342574"/>
                  </a:lnTo>
                  <a:cubicBezTo>
                    <a:pt x="1315069" y="297701"/>
                    <a:pt x="1285501" y="279335"/>
                    <a:pt x="1232486" y="279335"/>
                  </a:cubicBezTo>
                  <a:cubicBezTo>
                    <a:pt x="1194777" y="279335"/>
                    <a:pt x="1159087" y="288518"/>
                    <a:pt x="1121378" y="310922"/>
                  </a:cubicBezTo>
                  <a:lnTo>
                    <a:pt x="1073443" y="225278"/>
                  </a:lnTo>
                  <a:cubicBezTo>
                    <a:pt x="1125416" y="192649"/>
                    <a:pt x="1175369" y="176367"/>
                    <a:pt x="1239650" y="176367"/>
                  </a:cubicBezTo>
                  <a:cubicBezTo>
                    <a:pt x="1360984" y="176367"/>
                    <a:pt x="1435426" y="235503"/>
                    <a:pt x="1435426" y="344593"/>
                  </a:cubicBezTo>
                  <a:lnTo>
                    <a:pt x="1435426" y="667759"/>
                  </a:lnTo>
                  <a:close/>
                  <a:moveTo>
                    <a:pt x="1315134" y="527083"/>
                  </a:moveTo>
                  <a:lnTo>
                    <a:pt x="1315134" y="465927"/>
                  </a:lnTo>
                  <a:cubicBezTo>
                    <a:pt x="1290646" y="450622"/>
                    <a:pt x="1259059" y="445542"/>
                    <a:pt x="1234570" y="445542"/>
                  </a:cubicBezTo>
                  <a:cubicBezTo>
                    <a:pt x="1181556" y="445542"/>
                    <a:pt x="1156091" y="468988"/>
                    <a:pt x="1156091" y="507740"/>
                  </a:cubicBezTo>
                  <a:cubicBezTo>
                    <a:pt x="1156091" y="544472"/>
                    <a:pt x="1179537" y="574040"/>
                    <a:pt x="1224410" y="574040"/>
                  </a:cubicBezTo>
                  <a:cubicBezTo>
                    <a:pt x="1247857" y="574040"/>
                    <a:pt x="1288627" y="565899"/>
                    <a:pt x="1315134" y="527148"/>
                  </a:cubicBezTo>
                  <a:close/>
                  <a:moveTo>
                    <a:pt x="967480" y="667825"/>
                  </a:moveTo>
                  <a:lnTo>
                    <a:pt x="847188" y="667825"/>
                  </a:lnTo>
                  <a:lnTo>
                    <a:pt x="847188" y="405814"/>
                  </a:lnTo>
                  <a:cubicBezTo>
                    <a:pt x="847188" y="340555"/>
                    <a:pt x="832925" y="292621"/>
                    <a:pt x="765647" y="292621"/>
                  </a:cubicBezTo>
                  <a:cubicBezTo>
                    <a:pt x="698370" y="292621"/>
                    <a:pt x="683065" y="336452"/>
                    <a:pt x="683065" y="402753"/>
                  </a:cubicBezTo>
                  <a:lnTo>
                    <a:pt x="683065" y="667825"/>
                  </a:lnTo>
                  <a:lnTo>
                    <a:pt x="562773" y="667825"/>
                  </a:lnTo>
                  <a:lnTo>
                    <a:pt x="562773" y="61221"/>
                  </a:lnTo>
                  <a:lnTo>
                    <a:pt x="683065" y="65"/>
                  </a:lnTo>
                  <a:lnTo>
                    <a:pt x="683065" y="220264"/>
                  </a:lnTo>
                  <a:cubicBezTo>
                    <a:pt x="709572" y="193756"/>
                    <a:pt x="742201" y="176432"/>
                    <a:pt x="796258" y="176432"/>
                  </a:cubicBezTo>
                  <a:cubicBezTo>
                    <a:pt x="923713" y="176432"/>
                    <a:pt x="967545" y="274320"/>
                    <a:pt x="967545" y="396631"/>
                  </a:cubicBezTo>
                  <a:lnTo>
                    <a:pt x="967545" y="667825"/>
                  </a:lnTo>
                  <a:close/>
                  <a:moveTo>
                    <a:pt x="496472" y="475110"/>
                  </a:moveTo>
                  <a:cubicBezTo>
                    <a:pt x="496472" y="619890"/>
                    <a:pt x="386341" y="677984"/>
                    <a:pt x="255889" y="677984"/>
                  </a:cubicBezTo>
                  <a:cubicBezTo>
                    <a:pt x="162104" y="677984"/>
                    <a:pt x="58094" y="648416"/>
                    <a:pt x="0" y="562773"/>
                  </a:cubicBezTo>
                  <a:lnTo>
                    <a:pt x="89747" y="483251"/>
                  </a:lnTo>
                  <a:cubicBezTo>
                    <a:pt x="131559" y="533205"/>
                    <a:pt x="191672" y="556651"/>
                    <a:pt x="252893" y="556651"/>
                  </a:cubicBezTo>
                  <a:cubicBezTo>
                    <a:pt x="325250" y="556651"/>
                    <a:pt x="367063" y="524022"/>
                    <a:pt x="367063" y="478171"/>
                  </a:cubicBezTo>
                  <a:cubicBezTo>
                    <a:pt x="367063" y="459805"/>
                    <a:pt x="359899" y="441439"/>
                    <a:pt x="329353" y="426199"/>
                  </a:cubicBezTo>
                  <a:cubicBezTo>
                    <a:pt x="306949" y="414997"/>
                    <a:pt x="279400" y="407833"/>
                    <a:pt x="225344" y="394612"/>
                  </a:cubicBezTo>
                  <a:cubicBezTo>
                    <a:pt x="191672" y="386471"/>
                    <a:pt x="122376" y="370124"/>
                    <a:pt x="79522" y="335475"/>
                  </a:cubicBezTo>
                  <a:cubicBezTo>
                    <a:pt x="36732" y="300827"/>
                    <a:pt x="24488" y="250874"/>
                    <a:pt x="24488" y="207042"/>
                  </a:cubicBezTo>
                  <a:cubicBezTo>
                    <a:pt x="24488" y="71445"/>
                    <a:pt x="140742" y="16412"/>
                    <a:pt x="254912" y="16412"/>
                  </a:cubicBezTo>
                  <a:cubicBezTo>
                    <a:pt x="353776" y="16412"/>
                    <a:pt x="425157" y="57182"/>
                    <a:pt x="482274" y="115277"/>
                  </a:cubicBezTo>
                  <a:lnTo>
                    <a:pt x="392528" y="202939"/>
                  </a:lnTo>
                  <a:cubicBezTo>
                    <a:pt x="350715" y="161127"/>
                    <a:pt x="309945" y="137681"/>
                    <a:pt x="246706" y="137681"/>
                  </a:cubicBezTo>
                  <a:cubicBezTo>
                    <a:pt x="192649" y="137681"/>
                    <a:pt x="152921" y="155005"/>
                    <a:pt x="152921" y="199878"/>
                  </a:cubicBezTo>
                  <a:cubicBezTo>
                    <a:pt x="152921" y="219221"/>
                    <a:pt x="160085" y="232508"/>
                    <a:pt x="179428" y="243710"/>
                  </a:cubicBezTo>
                  <a:cubicBezTo>
                    <a:pt x="201832" y="255954"/>
                    <a:pt x="233485" y="265137"/>
                    <a:pt x="282396" y="277381"/>
                  </a:cubicBezTo>
                  <a:cubicBezTo>
                    <a:pt x="340490" y="292686"/>
                    <a:pt x="394547" y="305907"/>
                    <a:pt x="438378" y="341598"/>
                  </a:cubicBezTo>
                  <a:cubicBezTo>
                    <a:pt x="477129" y="373185"/>
                    <a:pt x="496472" y="414997"/>
                    <a:pt x="496472" y="475176"/>
                  </a:cubicBezTo>
                  <a:close/>
                  <a:moveTo>
                    <a:pt x="6100885" y="208996"/>
                  </a:moveTo>
                  <a:lnTo>
                    <a:pt x="6051778" y="329288"/>
                  </a:lnTo>
                  <a:cubicBezTo>
                    <a:pt x="6033413" y="311964"/>
                    <a:pt x="6011985" y="299720"/>
                    <a:pt x="5982482" y="299720"/>
                  </a:cubicBezTo>
                  <a:cubicBezTo>
                    <a:pt x="5925365" y="299720"/>
                    <a:pt x="5911232" y="347654"/>
                    <a:pt x="5911232" y="405749"/>
                  </a:cubicBezTo>
                  <a:lnTo>
                    <a:pt x="5911232" y="667759"/>
                  </a:lnTo>
                  <a:lnTo>
                    <a:pt x="5790940" y="667759"/>
                  </a:lnTo>
                  <a:lnTo>
                    <a:pt x="5790940" y="186527"/>
                  </a:lnTo>
                  <a:lnTo>
                    <a:pt x="5911232" y="186527"/>
                  </a:lnTo>
                  <a:lnTo>
                    <a:pt x="5911232" y="220198"/>
                  </a:lnTo>
                  <a:cubicBezTo>
                    <a:pt x="5938781" y="192649"/>
                    <a:pt x="5973429" y="176367"/>
                    <a:pt x="6012181" y="176367"/>
                  </a:cubicBezTo>
                  <a:cubicBezTo>
                    <a:pt x="6045852" y="176367"/>
                    <a:pt x="6075420" y="186592"/>
                    <a:pt x="6100885" y="208996"/>
                  </a:cubicBezTo>
                  <a:close/>
                </a:path>
              </a:pathLst>
            </a:custGeom>
            <a:solidFill>
              <a:schemeClr val="bg2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724054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ram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D71B9AAE-F698-5F49-FF7D-DB273B1EE18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8386354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0"/>
                  <a:alpha val="0"/>
                </a:schemeClr>
              </a:gs>
              <a:gs pos="95000">
                <a:srgbClr val="000000">
                  <a:alpha val="70000"/>
                </a:srgb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n-US" sz="1200" b="1">
              <a:solidFill>
                <a:schemeClr val="tx1"/>
              </a:solidFill>
            </a:endParaRP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632E76BF-46D5-8E94-88AA-4783DD302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89762" y="4436485"/>
            <a:ext cx="4907628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edit master subtitle style</a:t>
            </a:r>
            <a:endParaRPr lang="en-US" dirty="0"/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1F7B1FDC-B90E-6693-A750-B9BA4B535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9762" y="2698751"/>
            <a:ext cx="4906009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" panose="02000503020000020004" pitchFamily="2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0" name="Text Placeholder 288">
            <a:extLst>
              <a:ext uri="{FF2B5EF4-FFF2-40B4-BE49-F238E27FC236}">
                <a16:creationId xmlns:a16="http://schemas.microsoft.com/office/drawing/2014/main" id="{1673B89D-F206-B9D2-CDB7-BDE045C744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89762" y="5047485"/>
            <a:ext cx="4906010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DA2147BC-BA53-072F-B27C-857DCB3CC434}"/>
              </a:ext>
            </a:extLst>
          </p:cNvPr>
          <p:cNvGrpSpPr/>
          <p:nvPr userDrawn="1"/>
        </p:nvGrpSpPr>
        <p:grpSpPr>
          <a:xfrm>
            <a:off x="485774" y="1291008"/>
            <a:ext cx="5706110" cy="4360545"/>
            <a:chOff x="485774" y="1291008"/>
            <a:chExt cx="5706110" cy="4360545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F7E50E80-DFF0-E065-898F-1AFD970459B6}"/>
                </a:ext>
              </a:extLst>
            </p:cNvPr>
            <p:cNvSpPr/>
            <p:nvPr userDrawn="1"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90AAC841-3D56-6842-04D1-F0B7D973D86D}"/>
                </a:ext>
              </a:extLst>
            </p:cNvPr>
            <p:cNvSpPr/>
            <p:nvPr userDrawn="1"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gradFill flip="none" rotWithShape="1">
              <a:gsLst>
                <a:gs pos="39000">
                  <a:srgbClr val="FFE600"/>
                </a:gs>
                <a:gs pos="68000">
                  <a:srgbClr val="FF32FF"/>
                </a:gs>
                <a:gs pos="100000">
                  <a:srgbClr val="E95023"/>
                </a:gs>
              </a:gsLst>
              <a:lin ang="18720000" scaled="0"/>
              <a:tileRect/>
            </a:gradFill>
            <a:ln w="81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CDBCF8F7-16B2-8025-2163-4CF53707228D}"/>
              </a:ext>
            </a:extLst>
          </p:cNvPr>
          <p:cNvGrpSpPr/>
          <p:nvPr userDrawn="1"/>
        </p:nvGrpSpPr>
        <p:grpSpPr>
          <a:xfrm>
            <a:off x="485775" y="6164633"/>
            <a:ext cx="4940935" cy="318770"/>
            <a:chOff x="485775" y="6164633"/>
            <a:chExt cx="4940935" cy="318770"/>
          </a:xfrm>
        </p:grpSpPr>
        <p:sp>
          <p:nvSpPr>
            <p:cNvPr id="4" name="Freeform 23">
              <a:extLst>
                <a:ext uri="{FF2B5EF4-FFF2-40B4-BE49-F238E27FC236}">
                  <a16:creationId xmlns:a16="http://schemas.microsoft.com/office/drawing/2014/main" id="{6426E6F1-6C8E-DD12-2CA8-4211518D079A}"/>
                </a:ext>
              </a:extLst>
            </p:cNvPr>
            <p:cNvSpPr/>
            <p:nvPr userDrawn="1"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5" name="Freeform 24">
              <a:extLst>
                <a:ext uri="{FF2B5EF4-FFF2-40B4-BE49-F238E27FC236}">
                  <a16:creationId xmlns:a16="http://schemas.microsoft.com/office/drawing/2014/main" id="{4A734034-5634-67CA-4626-075282D87716}"/>
                </a:ext>
              </a:extLst>
            </p:cNvPr>
            <p:cNvSpPr/>
            <p:nvPr userDrawn="1"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chemeClr val="bg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9BCC4E4E-DB60-AAA2-30B8-85FB27793E5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562024" y="5167683"/>
            <a:ext cx="1220400" cy="1285398"/>
            <a:chOff x="3913438" y="-99392"/>
            <a:chExt cx="6512821" cy="6859693"/>
          </a:xfrm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9754C697-8757-DBD8-0F47-66719448588D}"/>
                </a:ext>
              </a:extLst>
            </p:cNvPr>
            <p:cNvSpPr/>
            <p:nvPr/>
          </p:nvSpPr>
          <p:spPr>
            <a:xfrm>
              <a:off x="5319751" y="-99392"/>
              <a:ext cx="4303606" cy="1570696"/>
            </a:xfrm>
            <a:custGeom>
              <a:avLst/>
              <a:gdLst>
                <a:gd name="connsiteX0" fmla="*/ 4303607 w 4303606"/>
                <a:gd name="connsiteY0" fmla="*/ 0 h 1570696"/>
                <a:gd name="connsiteX1" fmla="*/ 0 w 4303606"/>
                <a:gd name="connsiteY1" fmla="*/ 1570697 h 1570696"/>
                <a:gd name="connsiteX2" fmla="*/ 4303607 w 4303606"/>
                <a:gd name="connsiteY2" fmla="*/ 810521 h 1570696"/>
                <a:gd name="connsiteX3" fmla="*/ 4303607 w 4303606"/>
                <a:gd name="connsiteY3" fmla="*/ 0 h 1570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03606" h="1570696">
                  <a:moveTo>
                    <a:pt x="4303607" y="0"/>
                  </a:moveTo>
                  <a:lnTo>
                    <a:pt x="0" y="1570697"/>
                  </a:lnTo>
                  <a:lnTo>
                    <a:pt x="4303607" y="810521"/>
                  </a:lnTo>
                  <a:lnTo>
                    <a:pt x="4303607" y="0"/>
                  </a:lnTo>
                  <a:close/>
                </a:path>
              </a:pathLst>
            </a:custGeom>
            <a:solidFill>
              <a:srgbClr val="FFE600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87170ED6-7576-7DC6-7CD2-493AB81FDB32}"/>
                </a:ext>
              </a:extLst>
            </p:cNvPr>
            <p:cNvSpPr/>
            <p:nvPr/>
          </p:nvSpPr>
          <p:spPr>
            <a:xfrm>
              <a:off x="5357395" y="2124345"/>
              <a:ext cx="3613052" cy="2176910"/>
            </a:xfrm>
            <a:custGeom>
              <a:avLst/>
              <a:gdLst>
                <a:gd name="connsiteX0" fmla="*/ 652845 w 3613052"/>
                <a:gd name="connsiteY0" fmla="*/ 1676205 h 2176910"/>
                <a:gd name="connsiteX1" fmla="*/ 1741463 w 3613052"/>
                <a:gd name="connsiteY1" fmla="*/ 1676205 h 2176910"/>
                <a:gd name="connsiteX2" fmla="*/ 1741463 w 3613052"/>
                <a:gd name="connsiteY2" fmla="*/ 2176910 h 2176910"/>
                <a:gd name="connsiteX3" fmla="*/ 0 w 3613052"/>
                <a:gd name="connsiteY3" fmla="*/ 2176910 h 2176910"/>
                <a:gd name="connsiteX4" fmla="*/ 0 w 3613052"/>
                <a:gd name="connsiteY4" fmla="*/ 0 h 2176910"/>
                <a:gd name="connsiteX5" fmla="*/ 1234766 w 3613052"/>
                <a:gd name="connsiteY5" fmla="*/ 0 h 2176910"/>
                <a:gd name="connsiteX6" fmla="*/ 1523675 w 3613052"/>
                <a:gd name="connsiteY6" fmla="*/ 500706 h 2176910"/>
                <a:gd name="connsiteX7" fmla="*/ 652910 w 3613052"/>
                <a:gd name="connsiteY7" fmla="*/ 500706 h 2176910"/>
                <a:gd name="connsiteX8" fmla="*/ 652910 w 3613052"/>
                <a:gd name="connsiteY8" fmla="*/ 859953 h 2176910"/>
                <a:gd name="connsiteX9" fmla="*/ 1440050 w 3613052"/>
                <a:gd name="connsiteY9" fmla="*/ 859953 h 2176910"/>
                <a:gd name="connsiteX10" fmla="*/ 1440050 w 3613052"/>
                <a:gd name="connsiteY10" fmla="*/ 1317022 h 2176910"/>
                <a:gd name="connsiteX11" fmla="*/ 652910 w 3613052"/>
                <a:gd name="connsiteY11" fmla="*/ 1317022 h 2176910"/>
                <a:gd name="connsiteX12" fmla="*/ 652910 w 3613052"/>
                <a:gd name="connsiteY12" fmla="*/ 1676205 h 2176910"/>
                <a:gd name="connsiteX13" fmla="*/ 2900485 w 3613052"/>
                <a:gd name="connsiteY13" fmla="*/ 0 h 2176910"/>
                <a:gd name="connsiteX14" fmla="*/ 2530687 w 3613052"/>
                <a:gd name="connsiteY14" fmla="*/ 710418 h 2176910"/>
                <a:gd name="connsiteX15" fmla="*/ 2161801 w 3613052"/>
                <a:gd name="connsiteY15" fmla="*/ 0 h 2176910"/>
                <a:gd name="connsiteX16" fmla="*/ 1439985 w 3613052"/>
                <a:gd name="connsiteY16" fmla="*/ 0 h 2176910"/>
                <a:gd name="connsiteX17" fmla="*/ 2200552 w 3613052"/>
                <a:gd name="connsiteY17" fmla="*/ 1317022 h 2176910"/>
                <a:gd name="connsiteX18" fmla="*/ 2200552 w 3613052"/>
                <a:gd name="connsiteY18" fmla="*/ 2176910 h 2176910"/>
                <a:gd name="connsiteX19" fmla="*/ 2851443 w 3613052"/>
                <a:gd name="connsiteY19" fmla="*/ 2176910 h 2176910"/>
                <a:gd name="connsiteX20" fmla="*/ 2851443 w 3613052"/>
                <a:gd name="connsiteY20" fmla="*/ 1317022 h 2176910"/>
                <a:gd name="connsiteX21" fmla="*/ 3613053 w 3613052"/>
                <a:gd name="connsiteY21" fmla="*/ 0 h 2176910"/>
                <a:gd name="connsiteX22" fmla="*/ 2900485 w 3613052"/>
                <a:gd name="connsiteY22" fmla="*/ 0 h 2176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613052" h="2176910">
                  <a:moveTo>
                    <a:pt x="652845" y="1676205"/>
                  </a:moveTo>
                  <a:lnTo>
                    <a:pt x="1741463" y="1676205"/>
                  </a:lnTo>
                  <a:lnTo>
                    <a:pt x="1741463" y="2176910"/>
                  </a:lnTo>
                  <a:lnTo>
                    <a:pt x="0" y="2176910"/>
                  </a:lnTo>
                  <a:lnTo>
                    <a:pt x="0" y="0"/>
                  </a:lnTo>
                  <a:lnTo>
                    <a:pt x="1234766" y="0"/>
                  </a:lnTo>
                  <a:lnTo>
                    <a:pt x="1523675" y="500706"/>
                  </a:lnTo>
                  <a:lnTo>
                    <a:pt x="652910" y="500706"/>
                  </a:lnTo>
                  <a:lnTo>
                    <a:pt x="652910" y="859953"/>
                  </a:lnTo>
                  <a:lnTo>
                    <a:pt x="1440050" y="859953"/>
                  </a:lnTo>
                  <a:lnTo>
                    <a:pt x="1440050" y="1317022"/>
                  </a:lnTo>
                  <a:lnTo>
                    <a:pt x="652910" y="1317022"/>
                  </a:lnTo>
                  <a:lnTo>
                    <a:pt x="652910" y="1676205"/>
                  </a:lnTo>
                  <a:close/>
                  <a:moveTo>
                    <a:pt x="2900485" y="0"/>
                  </a:moveTo>
                  <a:lnTo>
                    <a:pt x="2530687" y="710418"/>
                  </a:lnTo>
                  <a:lnTo>
                    <a:pt x="2161801" y="0"/>
                  </a:lnTo>
                  <a:lnTo>
                    <a:pt x="1439985" y="0"/>
                  </a:lnTo>
                  <a:lnTo>
                    <a:pt x="2200552" y="1317022"/>
                  </a:lnTo>
                  <a:lnTo>
                    <a:pt x="2200552" y="2176910"/>
                  </a:lnTo>
                  <a:lnTo>
                    <a:pt x="2851443" y="2176910"/>
                  </a:lnTo>
                  <a:lnTo>
                    <a:pt x="2851443" y="1317022"/>
                  </a:lnTo>
                  <a:lnTo>
                    <a:pt x="3613053" y="0"/>
                  </a:lnTo>
                  <a:lnTo>
                    <a:pt x="2900485" y="0"/>
                  </a:lnTo>
                  <a:close/>
                </a:path>
              </a:pathLst>
            </a:custGeom>
            <a:solidFill>
              <a:schemeClr val="bg2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76BDFD37-5DF4-83FC-13C7-1622C7EA37EB}"/>
                </a:ext>
              </a:extLst>
            </p:cNvPr>
            <p:cNvSpPr/>
            <p:nvPr/>
          </p:nvSpPr>
          <p:spPr>
            <a:xfrm>
              <a:off x="3913438" y="5111711"/>
              <a:ext cx="6512821" cy="1648590"/>
            </a:xfrm>
            <a:custGeom>
              <a:avLst/>
              <a:gdLst>
                <a:gd name="connsiteX0" fmla="*/ 5071143 w 6512821"/>
                <a:gd name="connsiteY0" fmla="*/ 1396740 h 1648590"/>
                <a:gd name="connsiteX1" fmla="*/ 5069124 w 6512821"/>
                <a:gd name="connsiteY1" fmla="*/ 1438552 h 1648590"/>
                <a:gd name="connsiteX2" fmla="*/ 4777545 w 6512821"/>
                <a:gd name="connsiteY2" fmla="*/ 1438552 h 1648590"/>
                <a:gd name="connsiteX3" fmla="*/ 4880513 w 6512821"/>
                <a:gd name="connsiteY3" fmla="*/ 1533378 h 1648590"/>
                <a:gd name="connsiteX4" fmla="*/ 4964137 w 6512821"/>
                <a:gd name="connsiteY4" fmla="*/ 1499707 h 1648590"/>
                <a:gd name="connsiteX5" fmla="*/ 5049781 w 6512821"/>
                <a:gd name="connsiteY5" fmla="*/ 1572065 h 1648590"/>
                <a:gd name="connsiteX6" fmla="*/ 4875433 w 6512821"/>
                <a:gd name="connsiteY6" fmla="*/ 1648525 h 1648590"/>
                <a:gd name="connsiteX7" fmla="*/ 4654192 w 6512821"/>
                <a:gd name="connsiteY7" fmla="*/ 1398759 h 1648590"/>
                <a:gd name="connsiteX8" fmla="*/ 4867292 w 6512821"/>
                <a:gd name="connsiteY8" fmla="*/ 1146908 h 1648590"/>
                <a:gd name="connsiteX9" fmla="*/ 5071208 w 6512821"/>
                <a:gd name="connsiteY9" fmla="*/ 1396675 h 1648590"/>
                <a:gd name="connsiteX10" fmla="*/ 4779564 w 6512821"/>
                <a:gd name="connsiteY10" fmla="*/ 1344767 h 1648590"/>
                <a:gd name="connsiteX11" fmla="*/ 4950851 w 6512821"/>
                <a:gd name="connsiteY11" fmla="*/ 1344767 h 1648590"/>
                <a:gd name="connsiteX12" fmla="*/ 4863189 w 6512821"/>
                <a:gd name="connsiteY12" fmla="*/ 1254044 h 1648590"/>
                <a:gd name="connsiteX13" fmla="*/ 4779564 w 6512821"/>
                <a:gd name="connsiteY13" fmla="*/ 1344767 h 1648590"/>
                <a:gd name="connsiteX14" fmla="*/ 6512756 w 6512821"/>
                <a:gd name="connsiteY14" fmla="*/ 1396740 h 1648590"/>
                <a:gd name="connsiteX15" fmla="*/ 6510737 w 6512821"/>
                <a:gd name="connsiteY15" fmla="*/ 1438552 h 1648590"/>
                <a:gd name="connsiteX16" fmla="*/ 6219158 w 6512821"/>
                <a:gd name="connsiteY16" fmla="*/ 1438552 h 1648590"/>
                <a:gd name="connsiteX17" fmla="*/ 6322126 w 6512821"/>
                <a:gd name="connsiteY17" fmla="*/ 1533378 h 1648590"/>
                <a:gd name="connsiteX18" fmla="*/ 6405751 w 6512821"/>
                <a:gd name="connsiteY18" fmla="*/ 1499707 h 1648590"/>
                <a:gd name="connsiteX19" fmla="*/ 6491394 w 6512821"/>
                <a:gd name="connsiteY19" fmla="*/ 1572065 h 1648590"/>
                <a:gd name="connsiteX20" fmla="*/ 6317046 w 6512821"/>
                <a:gd name="connsiteY20" fmla="*/ 1648525 h 1648590"/>
                <a:gd name="connsiteX21" fmla="*/ 6095805 w 6512821"/>
                <a:gd name="connsiteY21" fmla="*/ 1398759 h 1648590"/>
                <a:gd name="connsiteX22" fmla="*/ 6308905 w 6512821"/>
                <a:gd name="connsiteY22" fmla="*/ 1146908 h 1648590"/>
                <a:gd name="connsiteX23" fmla="*/ 6512821 w 6512821"/>
                <a:gd name="connsiteY23" fmla="*/ 1396675 h 1648590"/>
                <a:gd name="connsiteX24" fmla="*/ 6221177 w 6512821"/>
                <a:gd name="connsiteY24" fmla="*/ 1344767 h 1648590"/>
                <a:gd name="connsiteX25" fmla="*/ 6392465 w 6512821"/>
                <a:gd name="connsiteY25" fmla="*/ 1344767 h 1648590"/>
                <a:gd name="connsiteX26" fmla="*/ 6304802 w 6512821"/>
                <a:gd name="connsiteY26" fmla="*/ 1254044 h 1648590"/>
                <a:gd name="connsiteX27" fmla="*/ 6221177 w 6512821"/>
                <a:gd name="connsiteY27" fmla="*/ 1344767 h 1648590"/>
                <a:gd name="connsiteX28" fmla="*/ 5978509 w 6512821"/>
                <a:gd name="connsiteY28" fmla="*/ 1467143 h 1648590"/>
                <a:gd name="connsiteX29" fmla="*/ 6058031 w 6512821"/>
                <a:gd name="connsiteY29" fmla="*/ 1542561 h 1648590"/>
                <a:gd name="connsiteX30" fmla="*/ 5866359 w 6512821"/>
                <a:gd name="connsiteY30" fmla="*/ 1648590 h 1648590"/>
                <a:gd name="connsiteX31" fmla="*/ 5637954 w 6512821"/>
                <a:gd name="connsiteY31" fmla="*/ 1398823 h 1648590"/>
                <a:gd name="connsiteX32" fmla="*/ 5868378 w 6512821"/>
                <a:gd name="connsiteY32" fmla="*/ 1146973 h 1648590"/>
                <a:gd name="connsiteX33" fmla="*/ 6056989 w 6512821"/>
                <a:gd name="connsiteY33" fmla="*/ 1250983 h 1648590"/>
                <a:gd name="connsiteX34" fmla="*/ 5975448 w 6512821"/>
                <a:gd name="connsiteY34" fmla="*/ 1333565 h 1648590"/>
                <a:gd name="connsiteX35" fmla="*/ 5867401 w 6512821"/>
                <a:gd name="connsiteY35" fmla="*/ 1266288 h 1648590"/>
                <a:gd name="connsiteX36" fmla="*/ 5766452 w 6512821"/>
                <a:gd name="connsiteY36" fmla="*/ 1396804 h 1648590"/>
                <a:gd name="connsiteX37" fmla="*/ 5868378 w 6512821"/>
                <a:gd name="connsiteY37" fmla="*/ 1528299 h 1648590"/>
                <a:gd name="connsiteX38" fmla="*/ 5978509 w 6512821"/>
                <a:gd name="connsiteY38" fmla="*/ 1467143 h 1648590"/>
                <a:gd name="connsiteX39" fmla="*/ 4869246 w 6512821"/>
                <a:gd name="connsiteY39" fmla="*/ 667825 h 1648590"/>
                <a:gd name="connsiteX40" fmla="*/ 4750973 w 6512821"/>
                <a:gd name="connsiteY40" fmla="*/ 667825 h 1648590"/>
                <a:gd name="connsiteX41" fmla="*/ 4750973 w 6512821"/>
                <a:gd name="connsiteY41" fmla="*/ 634153 h 1648590"/>
                <a:gd name="connsiteX42" fmla="*/ 4638822 w 6512821"/>
                <a:gd name="connsiteY42" fmla="*/ 677984 h 1648590"/>
                <a:gd name="connsiteX43" fmla="*/ 4467535 w 6512821"/>
                <a:gd name="connsiteY43" fmla="*/ 458763 h 1648590"/>
                <a:gd name="connsiteX44" fmla="*/ 4467535 w 6512821"/>
                <a:gd name="connsiteY44" fmla="*/ 186527 h 1648590"/>
                <a:gd name="connsiteX45" fmla="*/ 4587827 w 6512821"/>
                <a:gd name="connsiteY45" fmla="*/ 186527 h 1648590"/>
                <a:gd name="connsiteX46" fmla="*/ 4587827 w 6512821"/>
                <a:gd name="connsiteY46" fmla="*/ 448538 h 1648590"/>
                <a:gd name="connsiteX47" fmla="*/ 4668390 w 6512821"/>
                <a:gd name="connsiteY47" fmla="*/ 562708 h 1648590"/>
                <a:gd name="connsiteX48" fmla="*/ 4748954 w 6512821"/>
                <a:gd name="connsiteY48" fmla="*/ 452576 h 1648590"/>
                <a:gd name="connsiteX49" fmla="*/ 4748954 w 6512821"/>
                <a:gd name="connsiteY49" fmla="*/ 186462 h 1648590"/>
                <a:gd name="connsiteX50" fmla="*/ 4869246 w 6512821"/>
                <a:gd name="connsiteY50" fmla="*/ 186462 h 1648590"/>
                <a:gd name="connsiteX51" fmla="*/ 4869246 w 6512821"/>
                <a:gd name="connsiteY51" fmla="*/ 667695 h 1648590"/>
                <a:gd name="connsiteX52" fmla="*/ 5244449 w 6512821"/>
                <a:gd name="connsiteY52" fmla="*/ 527083 h 1648590"/>
                <a:gd name="connsiteX53" fmla="*/ 5227125 w 6512821"/>
                <a:gd name="connsiteY53" fmla="*/ 649458 h 1648590"/>
                <a:gd name="connsiteX54" fmla="*/ 5128261 w 6512821"/>
                <a:gd name="connsiteY54" fmla="*/ 677984 h 1648590"/>
                <a:gd name="connsiteX55" fmla="*/ 4997744 w 6512821"/>
                <a:gd name="connsiteY55" fmla="*/ 535224 h 1648590"/>
                <a:gd name="connsiteX56" fmla="*/ 4997744 w 6512821"/>
                <a:gd name="connsiteY56" fmla="*/ 301739 h 1648590"/>
                <a:gd name="connsiteX57" fmla="*/ 4928447 w 6512821"/>
                <a:gd name="connsiteY57" fmla="*/ 301739 h 1648590"/>
                <a:gd name="connsiteX58" fmla="*/ 4928447 w 6512821"/>
                <a:gd name="connsiteY58" fmla="*/ 186527 h 1648590"/>
                <a:gd name="connsiteX59" fmla="*/ 4997744 w 6512821"/>
                <a:gd name="connsiteY59" fmla="*/ 186527 h 1648590"/>
                <a:gd name="connsiteX60" fmla="*/ 4997744 w 6512821"/>
                <a:gd name="connsiteY60" fmla="*/ 61155 h 1648590"/>
                <a:gd name="connsiteX61" fmla="*/ 5118035 w 6512821"/>
                <a:gd name="connsiteY61" fmla="*/ 0 h 1648590"/>
                <a:gd name="connsiteX62" fmla="*/ 5118035 w 6512821"/>
                <a:gd name="connsiteY62" fmla="*/ 186592 h 1648590"/>
                <a:gd name="connsiteX63" fmla="*/ 5232205 w 6512821"/>
                <a:gd name="connsiteY63" fmla="*/ 186592 h 1648590"/>
                <a:gd name="connsiteX64" fmla="*/ 5232205 w 6512821"/>
                <a:gd name="connsiteY64" fmla="*/ 301804 h 1648590"/>
                <a:gd name="connsiteX65" fmla="*/ 5118035 w 6512821"/>
                <a:gd name="connsiteY65" fmla="*/ 301804 h 1648590"/>
                <a:gd name="connsiteX66" fmla="*/ 5118035 w 6512821"/>
                <a:gd name="connsiteY66" fmla="*/ 503701 h 1648590"/>
                <a:gd name="connsiteX67" fmla="*/ 5164928 w 6512821"/>
                <a:gd name="connsiteY67" fmla="*/ 560819 h 1648590"/>
                <a:gd name="connsiteX68" fmla="*/ 5244449 w 6512821"/>
                <a:gd name="connsiteY68" fmla="*/ 527148 h 1648590"/>
                <a:gd name="connsiteX69" fmla="*/ 3417407 w 6512821"/>
                <a:gd name="connsiteY69" fmla="*/ 667825 h 1648590"/>
                <a:gd name="connsiteX70" fmla="*/ 3297116 w 6512821"/>
                <a:gd name="connsiteY70" fmla="*/ 667825 h 1648590"/>
                <a:gd name="connsiteX71" fmla="*/ 3297116 w 6512821"/>
                <a:gd name="connsiteY71" fmla="*/ 405814 h 1648590"/>
                <a:gd name="connsiteX72" fmla="*/ 3215575 w 6512821"/>
                <a:gd name="connsiteY72" fmla="*/ 292621 h 1648590"/>
                <a:gd name="connsiteX73" fmla="*/ 3132993 w 6512821"/>
                <a:gd name="connsiteY73" fmla="*/ 402753 h 1648590"/>
                <a:gd name="connsiteX74" fmla="*/ 3132993 w 6512821"/>
                <a:gd name="connsiteY74" fmla="*/ 667825 h 1648590"/>
                <a:gd name="connsiteX75" fmla="*/ 3012701 w 6512821"/>
                <a:gd name="connsiteY75" fmla="*/ 667825 h 1648590"/>
                <a:gd name="connsiteX76" fmla="*/ 3012701 w 6512821"/>
                <a:gd name="connsiteY76" fmla="*/ 61221 h 1648590"/>
                <a:gd name="connsiteX77" fmla="*/ 3132993 w 6512821"/>
                <a:gd name="connsiteY77" fmla="*/ 65 h 1648590"/>
                <a:gd name="connsiteX78" fmla="*/ 3132993 w 6512821"/>
                <a:gd name="connsiteY78" fmla="*/ 220264 h 1648590"/>
                <a:gd name="connsiteX79" fmla="*/ 3246186 w 6512821"/>
                <a:gd name="connsiteY79" fmla="*/ 176432 h 1648590"/>
                <a:gd name="connsiteX80" fmla="*/ 3417473 w 6512821"/>
                <a:gd name="connsiteY80" fmla="*/ 396631 h 1648590"/>
                <a:gd name="connsiteX81" fmla="*/ 3417473 w 6512821"/>
                <a:gd name="connsiteY81" fmla="*/ 667825 h 1648590"/>
                <a:gd name="connsiteX82" fmla="*/ 5564554 w 6512821"/>
                <a:gd name="connsiteY82" fmla="*/ 1638365 h 1648590"/>
                <a:gd name="connsiteX83" fmla="*/ 5440160 w 6512821"/>
                <a:gd name="connsiteY83" fmla="*/ 1638365 h 1648590"/>
                <a:gd name="connsiteX84" fmla="*/ 5440160 w 6512821"/>
                <a:gd name="connsiteY84" fmla="*/ 1376355 h 1648590"/>
                <a:gd name="connsiteX85" fmla="*/ 5357577 w 6512821"/>
                <a:gd name="connsiteY85" fmla="*/ 1264204 h 1648590"/>
                <a:gd name="connsiteX86" fmla="*/ 5273952 w 6512821"/>
                <a:gd name="connsiteY86" fmla="*/ 1373293 h 1648590"/>
                <a:gd name="connsiteX87" fmla="*/ 5273952 w 6512821"/>
                <a:gd name="connsiteY87" fmla="*/ 1638365 h 1648590"/>
                <a:gd name="connsiteX88" fmla="*/ 5149558 w 6512821"/>
                <a:gd name="connsiteY88" fmla="*/ 1638365 h 1648590"/>
                <a:gd name="connsiteX89" fmla="*/ 5149558 w 6512821"/>
                <a:gd name="connsiteY89" fmla="*/ 1157133 h 1648590"/>
                <a:gd name="connsiteX90" fmla="*/ 5273952 w 6512821"/>
                <a:gd name="connsiteY90" fmla="*/ 1157133 h 1648590"/>
                <a:gd name="connsiteX91" fmla="*/ 5273952 w 6512821"/>
                <a:gd name="connsiteY91" fmla="*/ 1189762 h 1648590"/>
                <a:gd name="connsiteX92" fmla="*/ 5391183 w 6512821"/>
                <a:gd name="connsiteY92" fmla="*/ 1146973 h 1648590"/>
                <a:gd name="connsiteX93" fmla="*/ 5564490 w 6512821"/>
                <a:gd name="connsiteY93" fmla="*/ 1366195 h 1648590"/>
                <a:gd name="connsiteX94" fmla="*/ 5564490 w 6512821"/>
                <a:gd name="connsiteY94" fmla="*/ 1638430 h 1648590"/>
                <a:gd name="connsiteX95" fmla="*/ 4008772 w 6512821"/>
                <a:gd name="connsiteY95" fmla="*/ 1115386 h 1648590"/>
                <a:gd name="connsiteX96" fmla="*/ 4080152 w 6512821"/>
                <a:gd name="connsiteY96" fmla="*/ 1044005 h 1648590"/>
                <a:gd name="connsiteX97" fmla="*/ 4008772 w 6512821"/>
                <a:gd name="connsiteY97" fmla="*/ 972624 h 1648590"/>
                <a:gd name="connsiteX98" fmla="*/ 3937391 w 6512821"/>
                <a:gd name="connsiteY98" fmla="*/ 1044005 h 1648590"/>
                <a:gd name="connsiteX99" fmla="*/ 4008772 w 6512821"/>
                <a:gd name="connsiteY99" fmla="*/ 1115386 h 1648590"/>
                <a:gd name="connsiteX100" fmla="*/ 829864 w 6512821"/>
                <a:gd name="connsiteY100" fmla="*/ 1115386 h 1648590"/>
                <a:gd name="connsiteX101" fmla="*/ 901244 w 6512821"/>
                <a:gd name="connsiteY101" fmla="*/ 1044005 h 1648590"/>
                <a:gd name="connsiteX102" fmla="*/ 829864 w 6512821"/>
                <a:gd name="connsiteY102" fmla="*/ 972624 h 1648590"/>
                <a:gd name="connsiteX103" fmla="*/ 758483 w 6512821"/>
                <a:gd name="connsiteY103" fmla="*/ 1044005 h 1648590"/>
                <a:gd name="connsiteX104" fmla="*/ 829864 w 6512821"/>
                <a:gd name="connsiteY104" fmla="*/ 1115386 h 1648590"/>
                <a:gd name="connsiteX105" fmla="*/ 6512756 w 6512821"/>
                <a:gd name="connsiteY105" fmla="*/ 426134 h 1648590"/>
                <a:gd name="connsiteX106" fmla="*/ 6510737 w 6512821"/>
                <a:gd name="connsiteY106" fmla="*/ 467946 h 1648590"/>
                <a:gd name="connsiteX107" fmla="*/ 6219158 w 6512821"/>
                <a:gd name="connsiteY107" fmla="*/ 467946 h 1648590"/>
                <a:gd name="connsiteX108" fmla="*/ 6322126 w 6512821"/>
                <a:gd name="connsiteY108" fmla="*/ 562773 h 1648590"/>
                <a:gd name="connsiteX109" fmla="*/ 6405751 w 6512821"/>
                <a:gd name="connsiteY109" fmla="*/ 529102 h 1648590"/>
                <a:gd name="connsiteX110" fmla="*/ 6491394 w 6512821"/>
                <a:gd name="connsiteY110" fmla="*/ 601459 h 1648590"/>
                <a:gd name="connsiteX111" fmla="*/ 6317046 w 6512821"/>
                <a:gd name="connsiteY111" fmla="*/ 677919 h 1648590"/>
                <a:gd name="connsiteX112" fmla="*/ 6095805 w 6512821"/>
                <a:gd name="connsiteY112" fmla="*/ 428153 h 1648590"/>
                <a:gd name="connsiteX113" fmla="*/ 6308905 w 6512821"/>
                <a:gd name="connsiteY113" fmla="*/ 176302 h 1648590"/>
                <a:gd name="connsiteX114" fmla="*/ 6512821 w 6512821"/>
                <a:gd name="connsiteY114" fmla="*/ 426069 h 1648590"/>
                <a:gd name="connsiteX115" fmla="*/ 6221177 w 6512821"/>
                <a:gd name="connsiteY115" fmla="*/ 374162 h 1648590"/>
                <a:gd name="connsiteX116" fmla="*/ 6392465 w 6512821"/>
                <a:gd name="connsiteY116" fmla="*/ 374162 h 1648590"/>
                <a:gd name="connsiteX117" fmla="*/ 6304802 w 6512821"/>
                <a:gd name="connsiteY117" fmla="*/ 283438 h 1648590"/>
                <a:gd name="connsiteX118" fmla="*/ 6221177 w 6512821"/>
                <a:gd name="connsiteY118" fmla="*/ 374162 h 1648590"/>
                <a:gd name="connsiteX119" fmla="*/ 5702235 w 6512821"/>
                <a:gd name="connsiteY119" fmla="*/ 667825 h 1648590"/>
                <a:gd name="connsiteX120" fmla="*/ 5583963 w 6512821"/>
                <a:gd name="connsiteY120" fmla="*/ 667825 h 1648590"/>
                <a:gd name="connsiteX121" fmla="*/ 5583963 w 6512821"/>
                <a:gd name="connsiteY121" fmla="*/ 634153 h 1648590"/>
                <a:gd name="connsiteX122" fmla="*/ 5471812 w 6512821"/>
                <a:gd name="connsiteY122" fmla="*/ 677984 h 1648590"/>
                <a:gd name="connsiteX123" fmla="*/ 5300525 w 6512821"/>
                <a:gd name="connsiteY123" fmla="*/ 458763 h 1648590"/>
                <a:gd name="connsiteX124" fmla="*/ 5300525 w 6512821"/>
                <a:gd name="connsiteY124" fmla="*/ 186527 h 1648590"/>
                <a:gd name="connsiteX125" fmla="*/ 5420817 w 6512821"/>
                <a:gd name="connsiteY125" fmla="*/ 186527 h 1648590"/>
                <a:gd name="connsiteX126" fmla="*/ 5420817 w 6512821"/>
                <a:gd name="connsiteY126" fmla="*/ 448538 h 1648590"/>
                <a:gd name="connsiteX127" fmla="*/ 5501380 w 6512821"/>
                <a:gd name="connsiteY127" fmla="*/ 562708 h 1648590"/>
                <a:gd name="connsiteX128" fmla="*/ 5581944 w 6512821"/>
                <a:gd name="connsiteY128" fmla="*/ 452576 h 1648590"/>
                <a:gd name="connsiteX129" fmla="*/ 5581944 w 6512821"/>
                <a:gd name="connsiteY129" fmla="*/ 186462 h 1648590"/>
                <a:gd name="connsiteX130" fmla="*/ 5702235 w 6512821"/>
                <a:gd name="connsiteY130" fmla="*/ 186462 h 1648590"/>
                <a:gd name="connsiteX131" fmla="*/ 5702235 w 6512821"/>
                <a:gd name="connsiteY131" fmla="*/ 667695 h 1648590"/>
                <a:gd name="connsiteX132" fmla="*/ 3895579 w 6512821"/>
                <a:gd name="connsiteY132" fmla="*/ 426134 h 1648590"/>
                <a:gd name="connsiteX133" fmla="*/ 3893560 w 6512821"/>
                <a:gd name="connsiteY133" fmla="*/ 467946 h 1648590"/>
                <a:gd name="connsiteX134" fmla="*/ 3601981 w 6512821"/>
                <a:gd name="connsiteY134" fmla="*/ 467946 h 1648590"/>
                <a:gd name="connsiteX135" fmla="*/ 3704949 w 6512821"/>
                <a:gd name="connsiteY135" fmla="*/ 562773 h 1648590"/>
                <a:gd name="connsiteX136" fmla="*/ 3788573 w 6512821"/>
                <a:gd name="connsiteY136" fmla="*/ 529102 h 1648590"/>
                <a:gd name="connsiteX137" fmla="*/ 3874217 w 6512821"/>
                <a:gd name="connsiteY137" fmla="*/ 601459 h 1648590"/>
                <a:gd name="connsiteX138" fmla="*/ 3699868 w 6512821"/>
                <a:gd name="connsiteY138" fmla="*/ 677919 h 1648590"/>
                <a:gd name="connsiteX139" fmla="*/ 3478628 w 6512821"/>
                <a:gd name="connsiteY139" fmla="*/ 428153 h 1648590"/>
                <a:gd name="connsiteX140" fmla="*/ 3691727 w 6512821"/>
                <a:gd name="connsiteY140" fmla="*/ 176302 h 1648590"/>
                <a:gd name="connsiteX141" fmla="*/ 3895644 w 6512821"/>
                <a:gd name="connsiteY141" fmla="*/ 426069 h 1648590"/>
                <a:gd name="connsiteX142" fmla="*/ 3604000 w 6512821"/>
                <a:gd name="connsiteY142" fmla="*/ 374162 h 1648590"/>
                <a:gd name="connsiteX143" fmla="*/ 3775287 w 6512821"/>
                <a:gd name="connsiteY143" fmla="*/ 374162 h 1648590"/>
                <a:gd name="connsiteX144" fmla="*/ 3687624 w 6512821"/>
                <a:gd name="connsiteY144" fmla="*/ 283438 h 1648590"/>
                <a:gd name="connsiteX145" fmla="*/ 3604000 w 6512821"/>
                <a:gd name="connsiteY145" fmla="*/ 374162 h 1648590"/>
                <a:gd name="connsiteX146" fmla="*/ 4579686 w 6512821"/>
                <a:gd name="connsiteY146" fmla="*/ 1638365 h 1648590"/>
                <a:gd name="connsiteX147" fmla="*/ 4455291 w 6512821"/>
                <a:gd name="connsiteY147" fmla="*/ 1638365 h 1648590"/>
                <a:gd name="connsiteX148" fmla="*/ 4455291 w 6512821"/>
                <a:gd name="connsiteY148" fmla="*/ 1606778 h 1648590"/>
                <a:gd name="connsiteX149" fmla="*/ 4346201 w 6512821"/>
                <a:gd name="connsiteY149" fmla="*/ 1648590 h 1648590"/>
                <a:gd name="connsiteX150" fmla="*/ 4148406 w 6512821"/>
                <a:gd name="connsiteY150" fmla="*/ 1393678 h 1648590"/>
                <a:gd name="connsiteX151" fmla="*/ 4343140 w 6512821"/>
                <a:gd name="connsiteY151" fmla="*/ 1146973 h 1648590"/>
                <a:gd name="connsiteX152" fmla="*/ 4455291 w 6512821"/>
                <a:gd name="connsiteY152" fmla="*/ 1185724 h 1648590"/>
                <a:gd name="connsiteX153" fmla="*/ 4455291 w 6512821"/>
                <a:gd name="connsiteY153" fmla="*/ 1031761 h 1648590"/>
                <a:gd name="connsiteX154" fmla="*/ 4579686 w 6512821"/>
                <a:gd name="connsiteY154" fmla="*/ 969564 h 1648590"/>
                <a:gd name="connsiteX155" fmla="*/ 4579686 w 6512821"/>
                <a:gd name="connsiteY155" fmla="*/ 1638365 h 1648590"/>
                <a:gd name="connsiteX156" fmla="*/ 4455356 w 6512821"/>
                <a:gd name="connsiteY156" fmla="*/ 1489547 h 1648590"/>
                <a:gd name="connsiteX157" fmla="*/ 4455356 w 6512821"/>
                <a:gd name="connsiteY157" fmla="*/ 1306016 h 1648590"/>
                <a:gd name="connsiteX158" fmla="*/ 4368670 w 6512821"/>
                <a:gd name="connsiteY158" fmla="*/ 1264204 h 1648590"/>
                <a:gd name="connsiteX159" fmla="*/ 4278924 w 6512821"/>
                <a:gd name="connsiteY159" fmla="*/ 1389575 h 1648590"/>
                <a:gd name="connsiteX160" fmla="*/ 4371731 w 6512821"/>
                <a:gd name="connsiteY160" fmla="*/ 1531294 h 1648590"/>
                <a:gd name="connsiteX161" fmla="*/ 4455356 w 6512821"/>
                <a:gd name="connsiteY161" fmla="*/ 1489482 h 1648590"/>
                <a:gd name="connsiteX162" fmla="*/ 3945532 w 6512821"/>
                <a:gd name="connsiteY162" fmla="*/ 1157198 h 1648590"/>
                <a:gd name="connsiteX163" fmla="*/ 3945532 w 6512821"/>
                <a:gd name="connsiteY163" fmla="*/ 1638430 h 1648590"/>
                <a:gd name="connsiteX164" fmla="*/ 4069927 w 6512821"/>
                <a:gd name="connsiteY164" fmla="*/ 1638430 h 1648590"/>
                <a:gd name="connsiteX165" fmla="*/ 4069927 w 6512821"/>
                <a:gd name="connsiteY165" fmla="*/ 1157198 h 1648590"/>
                <a:gd name="connsiteX166" fmla="*/ 3945532 w 6512821"/>
                <a:gd name="connsiteY166" fmla="*/ 1157198 h 1648590"/>
                <a:gd name="connsiteX167" fmla="*/ 3873175 w 6512821"/>
                <a:gd name="connsiteY167" fmla="*/ 985911 h 1648590"/>
                <a:gd name="connsiteX168" fmla="*/ 3873175 w 6512821"/>
                <a:gd name="connsiteY168" fmla="*/ 1085817 h 1648590"/>
                <a:gd name="connsiteX169" fmla="*/ 3812019 w 6512821"/>
                <a:gd name="connsiteY169" fmla="*/ 1076634 h 1648590"/>
                <a:gd name="connsiteX170" fmla="*/ 3760047 w 6512821"/>
                <a:gd name="connsiteY170" fmla="*/ 1118447 h 1648590"/>
                <a:gd name="connsiteX171" fmla="*/ 3760047 w 6512821"/>
                <a:gd name="connsiteY171" fmla="*/ 1157198 h 1648590"/>
                <a:gd name="connsiteX172" fmla="*/ 3863015 w 6512821"/>
                <a:gd name="connsiteY172" fmla="*/ 1157198 h 1648590"/>
                <a:gd name="connsiteX173" fmla="*/ 3863015 w 6512821"/>
                <a:gd name="connsiteY173" fmla="*/ 1273452 h 1648590"/>
                <a:gd name="connsiteX174" fmla="*/ 3760047 w 6512821"/>
                <a:gd name="connsiteY174" fmla="*/ 1273452 h 1648590"/>
                <a:gd name="connsiteX175" fmla="*/ 3760047 w 6512821"/>
                <a:gd name="connsiteY175" fmla="*/ 1638430 h 1648590"/>
                <a:gd name="connsiteX176" fmla="*/ 3635652 w 6512821"/>
                <a:gd name="connsiteY176" fmla="*/ 1638430 h 1648590"/>
                <a:gd name="connsiteX177" fmla="*/ 3635652 w 6512821"/>
                <a:gd name="connsiteY177" fmla="*/ 1273452 h 1648590"/>
                <a:gd name="connsiteX178" fmla="*/ 3568375 w 6512821"/>
                <a:gd name="connsiteY178" fmla="*/ 1273452 h 1648590"/>
                <a:gd name="connsiteX179" fmla="*/ 3568375 w 6512821"/>
                <a:gd name="connsiteY179" fmla="*/ 1157198 h 1648590"/>
                <a:gd name="connsiteX180" fmla="*/ 3635652 w 6512821"/>
                <a:gd name="connsiteY180" fmla="*/ 1157198 h 1648590"/>
                <a:gd name="connsiteX181" fmla="*/ 3635652 w 6512821"/>
                <a:gd name="connsiteY181" fmla="*/ 1099104 h 1648590"/>
                <a:gd name="connsiteX182" fmla="*/ 3782451 w 6512821"/>
                <a:gd name="connsiteY182" fmla="*/ 972690 h 1648590"/>
                <a:gd name="connsiteX183" fmla="*/ 3873175 w 6512821"/>
                <a:gd name="connsiteY183" fmla="*/ 985976 h 1648590"/>
                <a:gd name="connsiteX184" fmla="*/ 3507154 w 6512821"/>
                <a:gd name="connsiteY184" fmla="*/ 1638365 h 1648590"/>
                <a:gd name="connsiteX185" fmla="*/ 3382759 w 6512821"/>
                <a:gd name="connsiteY185" fmla="*/ 1638365 h 1648590"/>
                <a:gd name="connsiteX186" fmla="*/ 3382759 w 6512821"/>
                <a:gd name="connsiteY186" fmla="*/ 1376355 h 1648590"/>
                <a:gd name="connsiteX187" fmla="*/ 3300177 w 6512821"/>
                <a:gd name="connsiteY187" fmla="*/ 1264204 h 1648590"/>
                <a:gd name="connsiteX188" fmla="*/ 3216552 w 6512821"/>
                <a:gd name="connsiteY188" fmla="*/ 1373293 h 1648590"/>
                <a:gd name="connsiteX189" fmla="*/ 3216552 w 6512821"/>
                <a:gd name="connsiteY189" fmla="*/ 1638365 h 1648590"/>
                <a:gd name="connsiteX190" fmla="*/ 3092157 w 6512821"/>
                <a:gd name="connsiteY190" fmla="*/ 1638365 h 1648590"/>
                <a:gd name="connsiteX191" fmla="*/ 3092157 w 6512821"/>
                <a:gd name="connsiteY191" fmla="*/ 1157133 h 1648590"/>
                <a:gd name="connsiteX192" fmla="*/ 3216552 w 6512821"/>
                <a:gd name="connsiteY192" fmla="*/ 1157133 h 1648590"/>
                <a:gd name="connsiteX193" fmla="*/ 3216552 w 6512821"/>
                <a:gd name="connsiteY193" fmla="*/ 1189762 h 1648590"/>
                <a:gd name="connsiteX194" fmla="*/ 3333783 w 6512821"/>
                <a:gd name="connsiteY194" fmla="*/ 1146973 h 1648590"/>
                <a:gd name="connsiteX195" fmla="*/ 3507089 w 6512821"/>
                <a:gd name="connsiteY195" fmla="*/ 1366195 h 1648590"/>
                <a:gd name="connsiteX196" fmla="*/ 3507089 w 6512821"/>
                <a:gd name="connsiteY196" fmla="*/ 1638430 h 1648590"/>
                <a:gd name="connsiteX197" fmla="*/ 2792437 w 6512821"/>
                <a:gd name="connsiteY197" fmla="*/ 1146973 h 1648590"/>
                <a:gd name="connsiteX198" fmla="*/ 2567094 w 6512821"/>
                <a:gd name="connsiteY198" fmla="*/ 1397782 h 1648590"/>
                <a:gd name="connsiteX199" fmla="*/ 2792437 w 6512821"/>
                <a:gd name="connsiteY199" fmla="*/ 1648590 h 1648590"/>
                <a:gd name="connsiteX200" fmla="*/ 3017781 w 6512821"/>
                <a:gd name="connsiteY200" fmla="*/ 1397782 h 1648590"/>
                <a:gd name="connsiteX201" fmla="*/ 2792437 w 6512821"/>
                <a:gd name="connsiteY201" fmla="*/ 1146973 h 1648590"/>
                <a:gd name="connsiteX202" fmla="*/ 2792437 w 6512821"/>
                <a:gd name="connsiteY202" fmla="*/ 1528299 h 1648590"/>
                <a:gd name="connsiteX203" fmla="*/ 2695592 w 6512821"/>
                <a:gd name="connsiteY203" fmla="*/ 1397782 h 1648590"/>
                <a:gd name="connsiteX204" fmla="*/ 2792437 w 6512821"/>
                <a:gd name="connsiteY204" fmla="*/ 1266288 h 1648590"/>
                <a:gd name="connsiteX205" fmla="*/ 2889283 w 6512821"/>
                <a:gd name="connsiteY205" fmla="*/ 1397782 h 1648590"/>
                <a:gd name="connsiteX206" fmla="*/ 2792437 w 6512821"/>
                <a:gd name="connsiteY206" fmla="*/ 1528299 h 1648590"/>
                <a:gd name="connsiteX207" fmla="*/ 2446802 w 6512821"/>
                <a:gd name="connsiteY207" fmla="*/ 1467143 h 1648590"/>
                <a:gd name="connsiteX208" fmla="*/ 2526323 w 6512821"/>
                <a:gd name="connsiteY208" fmla="*/ 1542561 h 1648590"/>
                <a:gd name="connsiteX209" fmla="*/ 2334651 w 6512821"/>
                <a:gd name="connsiteY209" fmla="*/ 1648590 h 1648590"/>
                <a:gd name="connsiteX210" fmla="*/ 2106246 w 6512821"/>
                <a:gd name="connsiteY210" fmla="*/ 1398823 h 1648590"/>
                <a:gd name="connsiteX211" fmla="*/ 2336670 w 6512821"/>
                <a:gd name="connsiteY211" fmla="*/ 1146973 h 1648590"/>
                <a:gd name="connsiteX212" fmla="*/ 2525281 w 6512821"/>
                <a:gd name="connsiteY212" fmla="*/ 1250983 h 1648590"/>
                <a:gd name="connsiteX213" fmla="*/ 2443741 w 6512821"/>
                <a:gd name="connsiteY213" fmla="*/ 1333565 h 1648590"/>
                <a:gd name="connsiteX214" fmla="*/ 2335693 w 6512821"/>
                <a:gd name="connsiteY214" fmla="*/ 1266288 h 1648590"/>
                <a:gd name="connsiteX215" fmla="*/ 2234744 w 6512821"/>
                <a:gd name="connsiteY215" fmla="*/ 1396804 h 1648590"/>
                <a:gd name="connsiteX216" fmla="*/ 2336670 w 6512821"/>
                <a:gd name="connsiteY216" fmla="*/ 1528299 h 1648590"/>
                <a:gd name="connsiteX217" fmla="*/ 2446802 w 6512821"/>
                <a:gd name="connsiteY217" fmla="*/ 1467143 h 1648590"/>
                <a:gd name="connsiteX218" fmla="*/ 1803530 w 6512821"/>
                <a:gd name="connsiteY218" fmla="*/ 1638365 h 1648590"/>
                <a:gd name="connsiteX219" fmla="*/ 1679135 w 6512821"/>
                <a:gd name="connsiteY219" fmla="*/ 1638365 h 1648590"/>
                <a:gd name="connsiteX220" fmla="*/ 1679135 w 6512821"/>
                <a:gd name="connsiteY220" fmla="*/ 1376355 h 1648590"/>
                <a:gd name="connsiteX221" fmla="*/ 1596553 w 6512821"/>
                <a:gd name="connsiteY221" fmla="*/ 1264204 h 1648590"/>
                <a:gd name="connsiteX222" fmla="*/ 1511951 w 6512821"/>
                <a:gd name="connsiteY222" fmla="*/ 1373293 h 1648590"/>
                <a:gd name="connsiteX223" fmla="*/ 1511951 w 6512821"/>
                <a:gd name="connsiteY223" fmla="*/ 1638365 h 1648590"/>
                <a:gd name="connsiteX224" fmla="*/ 1387557 w 6512821"/>
                <a:gd name="connsiteY224" fmla="*/ 1638365 h 1648590"/>
                <a:gd name="connsiteX225" fmla="*/ 1387557 w 6512821"/>
                <a:gd name="connsiteY225" fmla="*/ 1031761 h 1648590"/>
                <a:gd name="connsiteX226" fmla="*/ 1511951 w 6512821"/>
                <a:gd name="connsiteY226" fmla="*/ 969564 h 1648590"/>
                <a:gd name="connsiteX227" fmla="*/ 1511951 w 6512821"/>
                <a:gd name="connsiteY227" fmla="*/ 1189762 h 1648590"/>
                <a:gd name="connsiteX228" fmla="*/ 1632243 w 6512821"/>
                <a:gd name="connsiteY228" fmla="*/ 1146973 h 1648590"/>
                <a:gd name="connsiteX229" fmla="*/ 1803530 w 6512821"/>
                <a:gd name="connsiteY229" fmla="*/ 1366195 h 1648590"/>
                <a:gd name="connsiteX230" fmla="*/ 1803530 w 6512821"/>
                <a:gd name="connsiteY230" fmla="*/ 1638430 h 1648590"/>
                <a:gd name="connsiteX231" fmla="*/ 1311031 w 6512821"/>
                <a:gd name="connsiteY231" fmla="*/ 1493650 h 1648590"/>
                <a:gd name="connsiteX232" fmla="*/ 1292665 w 6512821"/>
                <a:gd name="connsiteY232" fmla="*/ 1619022 h 1648590"/>
                <a:gd name="connsiteX233" fmla="*/ 1173350 w 6512821"/>
                <a:gd name="connsiteY233" fmla="*/ 1648590 h 1648590"/>
                <a:gd name="connsiteX234" fmla="*/ 1043875 w 6512821"/>
                <a:gd name="connsiteY234" fmla="*/ 1504852 h 1648590"/>
                <a:gd name="connsiteX235" fmla="*/ 1043875 w 6512821"/>
                <a:gd name="connsiteY235" fmla="*/ 1273387 h 1648590"/>
                <a:gd name="connsiteX236" fmla="*/ 960250 w 6512821"/>
                <a:gd name="connsiteY236" fmla="*/ 1273387 h 1648590"/>
                <a:gd name="connsiteX237" fmla="*/ 960250 w 6512821"/>
                <a:gd name="connsiteY237" fmla="*/ 1157133 h 1648590"/>
                <a:gd name="connsiteX238" fmla="*/ 1043875 w 6512821"/>
                <a:gd name="connsiteY238" fmla="*/ 1157133 h 1648590"/>
                <a:gd name="connsiteX239" fmla="*/ 1043875 w 6512821"/>
                <a:gd name="connsiteY239" fmla="*/ 1031761 h 1648590"/>
                <a:gd name="connsiteX240" fmla="*/ 1168270 w 6512821"/>
                <a:gd name="connsiteY240" fmla="*/ 969564 h 1648590"/>
                <a:gd name="connsiteX241" fmla="*/ 1168270 w 6512821"/>
                <a:gd name="connsiteY241" fmla="*/ 1157133 h 1648590"/>
                <a:gd name="connsiteX242" fmla="*/ 1308947 w 6512821"/>
                <a:gd name="connsiteY242" fmla="*/ 1157133 h 1648590"/>
                <a:gd name="connsiteX243" fmla="*/ 1308947 w 6512821"/>
                <a:gd name="connsiteY243" fmla="*/ 1273387 h 1648590"/>
                <a:gd name="connsiteX244" fmla="*/ 1168270 w 6512821"/>
                <a:gd name="connsiteY244" fmla="*/ 1273387 h 1648590"/>
                <a:gd name="connsiteX245" fmla="*/ 1168270 w 6512821"/>
                <a:gd name="connsiteY245" fmla="*/ 1471181 h 1648590"/>
                <a:gd name="connsiteX246" fmla="*/ 1214120 w 6512821"/>
                <a:gd name="connsiteY246" fmla="*/ 1529275 h 1648590"/>
                <a:gd name="connsiteX247" fmla="*/ 1310966 w 6512821"/>
                <a:gd name="connsiteY247" fmla="*/ 1493585 h 1648590"/>
                <a:gd name="connsiteX248" fmla="*/ 767666 w 6512821"/>
                <a:gd name="connsiteY248" fmla="*/ 1157198 h 1648590"/>
                <a:gd name="connsiteX249" fmla="*/ 767666 w 6512821"/>
                <a:gd name="connsiteY249" fmla="*/ 1638430 h 1648590"/>
                <a:gd name="connsiteX250" fmla="*/ 892061 w 6512821"/>
                <a:gd name="connsiteY250" fmla="*/ 1638430 h 1648590"/>
                <a:gd name="connsiteX251" fmla="*/ 892061 w 6512821"/>
                <a:gd name="connsiteY251" fmla="*/ 1157198 h 1648590"/>
                <a:gd name="connsiteX252" fmla="*/ 767666 w 6512821"/>
                <a:gd name="connsiteY252" fmla="*/ 1157198 h 1648590"/>
                <a:gd name="connsiteX253" fmla="*/ 702408 w 6512821"/>
                <a:gd name="connsiteY253" fmla="*/ 1157198 h 1648590"/>
                <a:gd name="connsiteX254" fmla="*/ 550529 w 6512821"/>
                <a:gd name="connsiteY254" fmla="*/ 1638430 h 1648590"/>
                <a:gd name="connsiteX255" fmla="*/ 436359 w 6512821"/>
                <a:gd name="connsiteY255" fmla="*/ 1638430 h 1648590"/>
                <a:gd name="connsiteX256" fmla="*/ 354819 w 6512821"/>
                <a:gd name="connsiteY256" fmla="*/ 1345809 h 1648590"/>
                <a:gd name="connsiteX257" fmla="*/ 272236 w 6512821"/>
                <a:gd name="connsiteY257" fmla="*/ 1638430 h 1648590"/>
                <a:gd name="connsiteX258" fmla="*/ 158066 w 6512821"/>
                <a:gd name="connsiteY258" fmla="*/ 1638430 h 1648590"/>
                <a:gd name="connsiteX259" fmla="*/ 7099 w 6512821"/>
                <a:gd name="connsiteY259" fmla="*/ 1157198 h 1648590"/>
                <a:gd name="connsiteX260" fmla="*/ 145757 w 6512821"/>
                <a:gd name="connsiteY260" fmla="*/ 1157198 h 1648590"/>
                <a:gd name="connsiteX261" fmla="*/ 218114 w 6512821"/>
                <a:gd name="connsiteY261" fmla="*/ 1436533 h 1648590"/>
                <a:gd name="connsiteX262" fmla="*/ 299655 w 6512821"/>
                <a:gd name="connsiteY262" fmla="*/ 1157198 h 1648590"/>
                <a:gd name="connsiteX263" fmla="*/ 412848 w 6512821"/>
                <a:gd name="connsiteY263" fmla="*/ 1157198 h 1648590"/>
                <a:gd name="connsiteX264" fmla="*/ 494388 w 6512821"/>
                <a:gd name="connsiteY264" fmla="*/ 1436533 h 1648590"/>
                <a:gd name="connsiteX265" fmla="*/ 567788 w 6512821"/>
                <a:gd name="connsiteY265" fmla="*/ 1157198 h 1648590"/>
                <a:gd name="connsiteX266" fmla="*/ 702343 w 6512821"/>
                <a:gd name="connsiteY266" fmla="*/ 1157198 h 1648590"/>
                <a:gd name="connsiteX267" fmla="*/ 4436990 w 6512821"/>
                <a:gd name="connsiteY267" fmla="*/ 16282 h 1648590"/>
                <a:gd name="connsiteX268" fmla="*/ 4436990 w 6512821"/>
                <a:gd name="connsiteY268" fmla="*/ 115147 h 1648590"/>
                <a:gd name="connsiteX269" fmla="*/ 4374792 w 6512821"/>
                <a:gd name="connsiteY269" fmla="*/ 104921 h 1648590"/>
                <a:gd name="connsiteX270" fmla="*/ 4322820 w 6512821"/>
                <a:gd name="connsiteY270" fmla="*/ 144715 h 1648590"/>
                <a:gd name="connsiteX271" fmla="*/ 4322820 w 6512821"/>
                <a:gd name="connsiteY271" fmla="*/ 186527 h 1648590"/>
                <a:gd name="connsiteX272" fmla="*/ 4404361 w 6512821"/>
                <a:gd name="connsiteY272" fmla="*/ 186527 h 1648590"/>
                <a:gd name="connsiteX273" fmla="*/ 4404361 w 6512821"/>
                <a:gd name="connsiteY273" fmla="*/ 302781 h 1648590"/>
                <a:gd name="connsiteX274" fmla="*/ 4322820 w 6512821"/>
                <a:gd name="connsiteY274" fmla="*/ 302781 h 1648590"/>
                <a:gd name="connsiteX275" fmla="*/ 4322820 w 6512821"/>
                <a:gd name="connsiteY275" fmla="*/ 667759 h 1648590"/>
                <a:gd name="connsiteX276" fmla="*/ 4202528 w 6512821"/>
                <a:gd name="connsiteY276" fmla="*/ 667759 h 1648590"/>
                <a:gd name="connsiteX277" fmla="*/ 4202528 w 6512821"/>
                <a:gd name="connsiteY277" fmla="*/ 302781 h 1648590"/>
                <a:gd name="connsiteX278" fmla="*/ 4143392 w 6512821"/>
                <a:gd name="connsiteY278" fmla="*/ 302781 h 1648590"/>
                <a:gd name="connsiteX279" fmla="*/ 4143392 w 6512821"/>
                <a:gd name="connsiteY279" fmla="*/ 186527 h 1648590"/>
                <a:gd name="connsiteX280" fmla="*/ 4202528 w 6512821"/>
                <a:gd name="connsiteY280" fmla="*/ 186527 h 1648590"/>
                <a:gd name="connsiteX281" fmla="*/ 4202528 w 6512821"/>
                <a:gd name="connsiteY281" fmla="*/ 128433 h 1648590"/>
                <a:gd name="connsiteX282" fmla="*/ 4348350 w 6512821"/>
                <a:gd name="connsiteY282" fmla="*/ 2019 h 1648590"/>
                <a:gd name="connsiteX283" fmla="*/ 4437055 w 6512821"/>
                <a:gd name="connsiteY283" fmla="*/ 16282 h 1648590"/>
                <a:gd name="connsiteX284" fmla="*/ 2957602 w 6512821"/>
                <a:gd name="connsiteY284" fmla="*/ 527083 h 1648590"/>
                <a:gd name="connsiteX285" fmla="*/ 2940278 w 6512821"/>
                <a:gd name="connsiteY285" fmla="*/ 649458 h 1648590"/>
                <a:gd name="connsiteX286" fmla="*/ 2843433 w 6512821"/>
                <a:gd name="connsiteY286" fmla="*/ 677984 h 1648590"/>
                <a:gd name="connsiteX287" fmla="*/ 2712916 w 6512821"/>
                <a:gd name="connsiteY287" fmla="*/ 535224 h 1648590"/>
                <a:gd name="connsiteX288" fmla="*/ 2712916 w 6512821"/>
                <a:gd name="connsiteY288" fmla="*/ 301739 h 1648590"/>
                <a:gd name="connsiteX289" fmla="*/ 2629291 w 6512821"/>
                <a:gd name="connsiteY289" fmla="*/ 301739 h 1648590"/>
                <a:gd name="connsiteX290" fmla="*/ 2629291 w 6512821"/>
                <a:gd name="connsiteY290" fmla="*/ 186527 h 1648590"/>
                <a:gd name="connsiteX291" fmla="*/ 2712916 w 6512821"/>
                <a:gd name="connsiteY291" fmla="*/ 186527 h 1648590"/>
                <a:gd name="connsiteX292" fmla="*/ 2712916 w 6512821"/>
                <a:gd name="connsiteY292" fmla="*/ 61155 h 1648590"/>
                <a:gd name="connsiteX293" fmla="*/ 2833208 w 6512821"/>
                <a:gd name="connsiteY293" fmla="*/ 0 h 1648590"/>
                <a:gd name="connsiteX294" fmla="*/ 2833208 w 6512821"/>
                <a:gd name="connsiteY294" fmla="*/ 186592 h 1648590"/>
                <a:gd name="connsiteX295" fmla="*/ 2945358 w 6512821"/>
                <a:gd name="connsiteY295" fmla="*/ 186592 h 1648590"/>
                <a:gd name="connsiteX296" fmla="*/ 2945358 w 6512821"/>
                <a:gd name="connsiteY296" fmla="*/ 301804 h 1648590"/>
                <a:gd name="connsiteX297" fmla="*/ 2833208 w 6512821"/>
                <a:gd name="connsiteY297" fmla="*/ 301804 h 1648590"/>
                <a:gd name="connsiteX298" fmla="*/ 2833208 w 6512821"/>
                <a:gd name="connsiteY298" fmla="*/ 503701 h 1648590"/>
                <a:gd name="connsiteX299" fmla="*/ 2880100 w 6512821"/>
                <a:gd name="connsiteY299" fmla="*/ 560819 h 1648590"/>
                <a:gd name="connsiteX300" fmla="*/ 2957602 w 6512821"/>
                <a:gd name="connsiteY300" fmla="*/ 527148 h 1648590"/>
                <a:gd name="connsiteX301" fmla="*/ 2397891 w 6512821"/>
                <a:gd name="connsiteY301" fmla="*/ 426134 h 1648590"/>
                <a:gd name="connsiteX302" fmla="*/ 2395872 w 6512821"/>
                <a:gd name="connsiteY302" fmla="*/ 467946 h 1648590"/>
                <a:gd name="connsiteX303" fmla="*/ 2114453 w 6512821"/>
                <a:gd name="connsiteY303" fmla="*/ 467946 h 1648590"/>
                <a:gd name="connsiteX304" fmla="*/ 2218462 w 6512821"/>
                <a:gd name="connsiteY304" fmla="*/ 562773 h 1648590"/>
                <a:gd name="connsiteX305" fmla="*/ 2301045 w 6512821"/>
                <a:gd name="connsiteY305" fmla="*/ 529102 h 1648590"/>
                <a:gd name="connsiteX306" fmla="*/ 2386689 w 6512821"/>
                <a:gd name="connsiteY306" fmla="*/ 601459 h 1648590"/>
                <a:gd name="connsiteX307" fmla="*/ 2210321 w 6512821"/>
                <a:gd name="connsiteY307" fmla="*/ 677919 h 1648590"/>
                <a:gd name="connsiteX308" fmla="*/ 1991100 w 6512821"/>
                <a:gd name="connsiteY308" fmla="*/ 429130 h 1648590"/>
                <a:gd name="connsiteX309" fmla="*/ 2205176 w 6512821"/>
                <a:gd name="connsiteY309" fmla="*/ 176302 h 1648590"/>
                <a:gd name="connsiteX310" fmla="*/ 2397891 w 6512821"/>
                <a:gd name="connsiteY310" fmla="*/ 426069 h 1648590"/>
                <a:gd name="connsiteX311" fmla="*/ 2116472 w 6512821"/>
                <a:gd name="connsiteY311" fmla="*/ 374162 h 1648590"/>
                <a:gd name="connsiteX312" fmla="*/ 2287759 w 6512821"/>
                <a:gd name="connsiteY312" fmla="*/ 374162 h 1648590"/>
                <a:gd name="connsiteX313" fmla="*/ 2199054 w 6512821"/>
                <a:gd name="connsiteY313" fmla="*/ 283438 h 1648590"/>
                <a:gd name="connsiteX314" fmla="*/ 2116472 w 6512821"/>
                <a:gd name="connsiteY314" fmla="*/ 374162 h 1648590"/>
                <a:gd name="connsiteX315" fmla="*/ 1933982 w 6512821"/>
                <a:gd name="connsiteY315" fmla="*/ 428218 h 1648590"/>
                <a:gd name="connsiteX316" fmla="*/ 1746413 w 6512821"/>
                <a:gd name="connsiteY316" fmla="*/ 677984 h 1648590"/>
                <a:gd name="connsiteX317" fmla="*/ 1639342 w 6512821"/>
                <a:gd name="connsiteY317" fmla="*/ 638191 h 1648590"/>
                <a:gd name="connsiteX318" fmla="*/ 1639342 w 6512821"/>
                <a:gd name="connsiteY318" fmla="*/ 784990 h 1648590"/>
                <a:gd name="connsiteX319" fmla="*/ 1519050 w 6512821"/>
                <a:gd name="connsiteY319" fmla="*/ 845169 h 1648590"/>
                <a:gd name="connsiteX320" fmla="*/ 1519050 w 6512821"/>
                <a:gd name="connsiteY320" fmla="*/ 186527 h 1648590"/>
                <a:gd name="connsiteX321" fmla="*/ 1639342 w 6512821"/>
                <a:gd name="connsiteY321" fmla="*/ 186527 h 1648590"/>
                <a:gd name="connsiteX322" fmla="*/ 1639342 w 6512821"/>
                <a:gd name="connsiteY322" fmla="*/ 219157 h 1648590"/>
                <a:gd name="connsiteX323" fmla="*/ 1748432 w 6512821"/>
                <a:gd name="connsiteY323" fmla="*/ 176367 h 1648590"/>
                <a:gd name="connsiteX324" fmla="*/ 1933982 w 6512821"/>
                <a:gd name="connsiteY324" fmla="*/ 428218 h 1648590"/>
                <a:gd name="connsiteX325" fmla="*/ 1809587 w 6512821"/>
                <a:gd name="connsiteY325" fmla="*/ 434340 h 1648590"/>
                <a:gd name="connsiteX326" fmla="*/ 1718864 w 6512821"/>
                <a:gd name="connsiteY326" fmla="*/ 292621 h 1648590"/>
                <a:gd name="connsiteX327" fmla="*/ 1639342 w 6512821"/>
                <a:gd name="connsiteY327" fmla="*/ 335410 h 1648590"/>
                <a:gd name="connsiteX328" fmla="*/ 1639342 w 6512821"/>
                <a:gd name="connsiteY328" fmla="*/ 518942 h 1648590"/>
                <a:gd name="connsiteX329" fmla="*/ 1726028 w 6512821"/>
                <a:gd name="connsiteY329" fmla="*/ 562773 h 1648590"/>
                <a:gd name="connsiteX330" fmla="*/ 1809652 w 6512821"/>
                <a:gd name="connsiteY330" fmla="*/ 434340 h 1648590"/>
                <a:gd name="connsiteX331" fmla="*/ 1435426 w 6512821"/>
                <a:gd name="connsiteY331" fmla="*/ 667825 h 1648590"/>
                <a:gd name="connsiteX332" fmla="*/ 1315134 w 6512821"/>
                <a:gd name="connsiteY332" fmla="*/ 667825 h 1648590"/>
                <a:gd name="connsiteX333" fmla="*/ 1315134 w 6512821"/>
                <a:gd name="connsiteY333" fmla="*/ 634153 h 1648590"/>
                <a:gd name="connsiteX334" fmla="*/ 1202983 w 6512821"/>
                <a:gd name="connsiteY334" fmla="*/ 677984 h 1648590"/>
                <a:gd name="connsiteX335" fmla="*/ 1033715 w 6512821"/>
                <a:gd name="connsiteY335" fmla="*/ 510800 h 1648590"/>
                <a:gd name="connsiteX336" fmla="*/ 1221284 w 6512821"/>
                <a:gd name="connsiteY336" fmla="*/ 348696 h 1648590"/>
                <a:gd name="connsiteX337" fmla="*/ 1315069 w 6512821"/>
                <a:gd name="connsiteY337" fmla="*/ 368040 h 1648590"/>
                <a:gd name="connsiteX338" fmla="*/ 1315069 w 6512821"/>
                <a:gd name="connsiteY338" fmla="*/ 342574 h 1648590"/>
                <a:gd name="connsiteX339" fmla="*/ 1232486 w 6512821"/>
                <a:gd name="connsiteY339" fmla="*/ 279335 h 1648590"/>
                <a:gd name="connsiteX340" fmla="*/ 1121378 w 6512821"/>
                <a:gd name="connsiteY340" fmla="*/ 310922 h 1648590"/>
                <a:gd name="connsiteX341" fmla="*/ 1073443 w 6512821"/>
                <a:gd name="connsiteY341" fmla="*/ 225278 h 1648590"/>
                <a:gd name="connsiteX342" fmla="*/ 1239650 w 6512821"/>
                <a:gd name="connsiteY342" fmla="*/ 176367 h 1648590"/>
                <a:gd name="connsiteX343" fmla="*/ 1435426 w 6512821"/>
                <a:gd name="connsiteY343" fmla="*/ 344593 h 1648590"/>
                <a:gd name="connsiteX344" fmla="*/ 1435426 w 6512821"/>
                <a:gd name="connsiteY344" fmla="*/ 667759 h 1648590"/>
                <a:gd name="connsiteX345" fmla="*/ 1315134 w 6512821"/>
                <a:gd name="connsiteY345" fmla="*/ 527083 h 1648590"/>
                <a:gd name="connsiteX346" fmla="*/ 1315134 w 6512821"/>
                <a:gd name="connsiteY346" fmla="*/ 465927 h 1648590"/>
                <a:gd name="connsiteX347" fmla="*/ 1234570 w 6512821"/>
                <a:gd name="connsiteY347" fmla="*/ 445542 h 1648590"/>
                <a:gd name="connsiteX348" fmla="*/ 1156091 w 6512821"/>
                <a:gd name="connsiteY348" fmla="*/ 507740 h 1648590"/>
                <a:gd name="connsiteX349" fmla="*/ 1224410 w 6512821"/>
                <a:gd name="connsiteY349" fmla="*/ 574040 h 1648590"/>
                <a:gd name="connsiteX350" fmla="*/ 1315134 w 6512821"/>
                <a:gd name="connsiteY350" fmla="*/ 527148 h 1648590"/>
                <a:gd name="connsiteX351" fmla="*/ 967480 w 6512821"/>
                <a:gd name="connsiteY351" fmla="*/ 667825 h 1648590"/>
                <a:gd name="connsiteX352" fmla="*/ 847188 w 6512821"/>
                <a:gd name="connsiteY352" fmla="*/ 667825 h 1648590"/>
                <a:gd name="connsiteX353" fmla="*/ 847188 w 6512821"/>
                <a:gd name="connsiteY353" fmla="*/ 405814 h 1648590"/>
                <a:gd name="connsiteX354" fmla="*/ 765647 w 6512821"/>
                <a:gd name="connsiteY354" fmla="*/ 292621 h 1648590"/>
                <a:gd name="connsiteX355" fmla="*/ 683065 w 6512821"/>
                <a:gd name="connsiteY355" fmla="*/ 402753 h 1648590"/>
                <a:gd name="connsiteX356" fmla="*/ 683065 w 6512821"/>
                <a:gd name="connsiteY356" fmla="*/ 667825 h 1648590"/>
                <a:gd name="connsiteX357" fmla="*/ 562773 w 6512821"/>
                <a:gd name="connsiteY357" fmla="*/ 667825 h 1648590"/>
                <a:gd name="connsiteX358" fmla="*/ 562773 w 6512821"/>
                <a:gd name="connsiteY358" fmla="*/ 61221 h 1648590"/>
                <a:gd name="connsiteX359" fmla="*/ 683065 w 6512821"/>
                <a:gd name="connsiteY359" fmla="*/ 65 h 1648590"/>
                <a:gd name="connsiteX360" fmla="*/ 683065 w 6512821"/>
                <a:gd name="connsiteY360" fmla="*/ 220264 h 1648590"/>
                <a:gd name="connsiteX361" fmla="*/ 796258 w 6512821"/>
                <a:gd name="connsiteY361" fmla="*/ 176432 h 1648590"/>
                <a:gd name="connsiteX362" fmla="*/ 967545 w 6512821"/>
                <a:gd name="connsiteY362" fmla="*/ 396631 h 1648590"/>
                <a:gd name="connsiteX363" fmla="*/ 967545 w 6512821"/>
                <a:gd name="connsiteY363" fmla="*/ 667825 h 1648590"/>
                <a:gd name="connsiteX364" fmla="*/ 496472 w 6512821"/>
                <a:gd name="connsiteY364" fmla="*/ 475110 h 1648590"/>
                <a:gd name="connsiteX365" fmla="*/ 255889 w 6512821"/>
                <a:gd name="connsiteY365" fmla="*/ 677984 h 1648590"/>
                <a:gd name="connsiteX366" fmla="*/ 0 w 6512821"/>
                <a:gd name="connsiteY366" fmla="*/ 562773 h 1648590"/>
                <a:gd name="connsiteX367" fmla="*/ 89747 w 6512821"/>
                <a:gd name="connsiteY367" fmla="*/ 483251 h 1648590"/>
                <a:gd name="connsiteX368" fmla="*/ 252893 w 6512821"/>
                <a:gd name="connsiteY368" fmla="*/ 556651 h 1648590"/>
                <a:gd name="connsiteX369" fmla="*/ 367063 w 6512821"/>
                <a:gd name="connsiteY369" fmla="*/ 478171 h 1648590"/>
                <a:gd name="connsiteX370" fmla="*/ 329353 w 6512821"/>
                <a:gd name="connsiteY370" fmla="*/ 426199 h 1648590"/>
                <a:gd name="connsiteX371" fmla="*/ 225344 w 6512821"/>
                <a:gd name="connsiteY371" fmla="*/ 394612 h 1648590"/>
                <a:gd name="connsiteX372" fmla="*/ 79522 w 6512821"/>
                <a:gd name="connsiteY372" fmla="*/ 335475 h 1648590"/>
                <a:gd name="connsiteX373" fmla="*/ 24488 w 6512821"/>
                <a:gd name="connsiteY373" fmla="*/ 207042 h 1648590"/>
                <a:gd name="connsiteX374" fmla="*/ 254912 w 6512821"/>
                <a:gd name="connsiteY374" fmla="*/ 16412 h 1648590"/>
                <a:gd name="connsiteX375" fmla="*/ 482274 w 6512821"/>
                <a:gd name="connsiteY375" fmla="*/ 115277 h 1648590"/>
                <a:gd name="connsiteX376" fmla="*/ 392528 w 6512821"/>
                <a:gd name="connsiteY376" fmla="*/ 202939 h 1648590"/>
                <a:gd name="connsiteX377" fmla="*/ 246706 w 6512821"/>
                <a:gd name="connsiteY377" fmla="*/ 137681 h 1648590"/>
                <a:gd name="connsiteX378" fmla="*/ 152921 w 6512821"/>
                <a:gd name="connsiteY378" fmla="*/ 199878 h 1648590"/>
                <a:gd name="connsiteX379" fmla="*/ 179428 w 6512821"/>
                <a:gd name="connsiteY379" fmla="*/ 243710 h 1648590"/>
                <a:gd name="connsiteX380" fmla="*/ 282396 w 6512821"/>
                <a:gd name="connsiteY380" fmla="*/ 277381 h 1648590"/>
                <a:gd name="connsiteX381" fmla="*/ 438378 w 6512821"/>
                <a:gd name="connsiteY381" fmla="*/ 341598 h 1648590"/>
                <a:gd name="connsiteX382" fmla="*/ 496472 w 6512821"/>
                <a:gd name="connsiteY382" fmla="*/ 475176 h 1648590"/>
                <a:gd name="connsiteX383" fmla="*/ 6100885 w 6512821"/>
                <a:gd name="connsiteY383" fmla="*/ 208996 h 1648590"/>
                <a:gd name="connsiteX384" fmla="*/ 6051778 w 6512821"/>
                <a:gd name="connsiteY384" fmla="*/ 329288 h 1648590"/>
                <a:gd name="connsiteX385" fmla="*/ 5982482 w 6512821"/>
                <a:gd name="connsiteY385" fmla="*/ 299720 h 1648590"/>
                <a:gd name="connsiteX386" fmla="*/ 5911232 w 6512821"/>
                <a:gd name="connsiteY386" fmla="*/ 405749 h 1648590"/>
                <a:gd name="connsiteX387" fmla="*/ 5911232 w 6512821"/>
                <a:gd name="connsiteY387" fmla="*/ 667759 h 1648590"/>
                <a:gd name="connsiteX388" fmla="*/ 5790940 w 6512821"/>
                <a:gd name="connsiteY388" fmla="*/ 667759 h 1648590"/>
                <a:gd name="connsiteX389" fmla="*/ 5790940 w 6512821"/>
                <a:gd name="connsiteY389" fmla="*/ 186527 h 1648590"/>
                <a:gd name="connsiteX390" fmla="*/ 5911232 w 6512821"/>
                <a:gd name="connsiteY390" fmla="*/ 186527 h 1648590"/>
                <a:gd name="connsiteX391" fmla="*/ 5911232 w 6512821"/>
                <a:gd name="connsiteY391" fmla="*/ 220198 h 1648590"/>
                <a:gd name="connsiteX392" fmla="*/ 6012181 w 6512821"/>
                <a:gd name="connsiteY392" fmla="*/ 176367 h 1648590"/>
                <a:gd name="connsiteX393" fmla="*/ 6100885 w 6512821"/>
                <a:gd name="connsiteY393" fmla="*/ 208996 h 1648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</a:cxnLst>
              <a:rect l="l" t="t" r="r" b="b"/>
              <a:pathLst>
                <a:path w="6512821" h="1648590">
                  <a:moveTo>
                    <a:pt x="5071143" y="1396740"/>
                  </a:moveTo>
                  <a:cubicBezTo>
                    <a:pt x="5071143" y="1412045"/>
                    <a:pt x="5070101" y="1431388"/>
                    <a:pt x="5069124" y="1438552"/>
                  </a:cubicBezTo>
                  <a:lnTo>
                    <a:pt x="4777545" y="1438552"/>
                  </a:lnTo>
                  <a:cubicBezTo>
                    <a:pt x="4782625" y="1505829"/>
                    <a:pt x="4828541" y="1533378"/>
                    <a:pt x="4880513" y="1533378"/>
                  </a:cubicBezTo>
                  <a:cubicBezTo>
                    <a:pt x="4911123" y="1533378"/>
                    <a:pt x="4939649" y="1524196"/>
                    <a:pt x="4964137" y="1499707"/>
                  </a:cubicBezTo>
                  <a:lnTo>
                    <a:pt x="5049781" y="1572065"/>
                  </a:lnTo>
                  <a:cubicBezTo>
                    <a:pt x="5004908" y="1628140"/>
                    <a:pt x="4936588" y="1648525"/>
                    <a:pt x="4875433" y="1648525"/>
                  </a:cubicBezTo>
                  <a:cubicBezTo>
                    <a:pt x="4734756" y="1648525"/>
                    <a:pt x="4654192" y="1540478"/>
                    <a:pt x="4654192" y="1398759"/>
                  </a:cubicBezTo>
                  <a:cubicBezTo>
                    <a:pt x="4654192" y="1244795"/>
                    <a:pt x="4749019" y="1146908"/>
                    <a:pt x="4867292" y="1146908"/>
                  </a:cubicBezTo>
                  <a:cubicBezTo>
                    <a:pt x="4993706" y="1146908"/>
                    <a:pt x="5071208" y="1258016"/>
                    <a:pt x="5071208" y="1396675"/>
                  </a:cubicBezTo>
                  <a:close/>
                  <a:moveTo>
                    <a:pt x="4779564" y="1344767"/>
                  </a:moveTo>
                  <a:lnTo>
                    <a:pt x="4950851" y="1344767"/>
                  </a:lnTo>
                  <a:cubicBezTo>
                    <a:pt x="4946748" y="1290711"/>
                    <a:pt x="4912100" y="1254044"/>
                    <a:pt x="4863189" y="1254044"/>
                  </a:cubicBezTo>
                  <a:cubicBezTo>
                    <a:pt x="4805094" y="1254044"/>
                    <a:pt x="4782625" y="1305039"/>
                    <a:pt x="4779564" y="1344767"/>
                  </a:cubicBezTo>
                  <a:close/>
                  <a:moveTo>
                    <a:pt x="6512756" y="1396740"/>
                  </a:moveTo>
                  <a:cubicBezTo>
                    <a:pt x="6512756" y="1412045"/>
                    <a:pt x="6511714" y="1431388"/>
                    <a:pt x="6510737" y="1438552"/>
                  </a:cubicBezTo>
                  <a:lnTo>
                    <a:pt x="6219158" y="1438552"/>
                  </a:lnTo>
                  <a:cubicBezTo>
                    <a:pt x="6224238" y="1505829"/>
                    <a:pt x="6270154" y="1533378"/>
                    <a:pt x="6322126" y="1533378"/>
                  </a:cubicBezTo>
                  <a:cubicBezTo>
                    <a:pt x="6352736" y="1533378"/>
                    <a:pt x="6381262" y="1524196"/>
                    <a:pt x="6405751" y="1499707"/>
                  </a:cubicBezTo>
                  <a:lnTo>
                    <a:pt x="6491394" y="1572065"/>
                  </a:lnTo>
                  <a:cubicBezTo>
                    <a:pt x="6446521" y="1628140"/>
                    <a:pt x="6378201" y="1648525"/>
                    <a:pt x="6317046" y="1648525"/>
                  </a:cubicBezTo>
                  <a:cubicBezTo>
                    <a:pt x="6176369" y="1648525"/>
                    <a:pt x="6095805" y="1540478"/>
                    <a:pt x="6095805" y="1398759"/>
                  </a:cubicBezTo>
                  <a:cubicBezTo>
                    <a:pt x="6095805" y="1244795"/>
                    <a:pt x="6190632" y="1146908"/>
                    <a:pt x="6308905" y="1146908"/>
                  </a:cubicBezTo>
                  <a:cubicBezTo>
                    <a:pt x="6435319" y="1146908"/>
                    <a:pt x="6512821" y="1258016"/>
                    <a:pt x="6512821" y="1396675"/>
                  </a:cubicBezTo>
                  <a:close/>
                  <a:moveTo>
                    <a:pt x="6221177" y="1344767"/>
                  </a:moveTo>
                  <a:lnTo>
                    <a:pt x="6392465" y="1344767"/>
                  </a:lnTo>
                  <a:cubicBezTo>
                    <a:pt x="6388361" y="1290711"/>
                    <a:pt x="6353713" y="1254044"/>
                    <a:pt x="6304802" y="1254044"/>
                  </a:cubicBezTo>
                  <a:cubicBezTo>
                    <a:pt x="6246708" y="1254044"/>
                    <a:pt x="6224238" y="1305039"/>
                    <a:pt x="6221177" y="1344767"/>
                  </a:cubicBezTo>
                  <a:close/>
                  <a:moveTo>
                    <a:pt x="5978509" y="1467143"/>
                  </a:moveTo>
                  <a:lnTo>
                    <a:pt x="6058031" y="1542561"/>
                  </a:lnTo>
                  <a:cubicBezTo>
                    <a:pt x="6017261" y="1594534"/>
                    <a:pt x="5961185" y="1648590"/>
                    <a:pt x="5866359" y="1648590"/>
                  </a:cubicBezTo>
                  <a:cubicBezTo>
                    <a:pt x="5734865" y="1648590"/>
                    <a:pt x="5637954" y="1543604"/>
                    <a:pt x="5637954" y="1398823"/>
                  </a:cubicBezTo>
                  <a:cubicBezTo>
                    <a:pt x="5637954" y="1266288"/>
                    <a:pt x="5718518" y="1146973"/>
                    <a:pt x="5868378" y="1146973"/>
                  </a:cubicBezTo>
                  <a:cubicBezTo>
                    <a:pt x="5954021" y="1146973"/>
                    <a:pt x="6013157" y="1185724"/>
                    <a:pt x="6056989" y="1250983"/>
                  </a:cubicBezTo>
                  <a:lnTo>
                    <a:pt x="5975448" y="1333565"/>
                  </a:lnTo>
                  <a:cubicBezTo>
                    <a:pt x="5946922" y="1295856"/>
                    <a:pt x="5916312" y="1266288"/>
                    <a:pt x="5867401" y="1266288"/>
                  </a:cubicBezTo>
                  <a:cubicBezTo>
                    <a:pt x="5801100" y="1266288"/>
                    <a:pt x="5766452" y="1322363"/>
                    <a:pt x="5766452" y="1396804"/>
                  </a:cubicBezTo>
                  <a:cubicBezTo>
                    <a:pt x="5766452" y="1466101"/>
                    <a:pt x="5797062" y="1528299"/>
                    <a:pt x="5868378" y="1528299"/>
                  </a:cubicBezTo>
                  <a:cubicBezTo>
                    <a:pt x="5912209" y="1528299"/>
                    <a:pt x="5948941" y="1504852"/>
                    <a:pt x="5978509" y="1467143"/>
                  </a:cubicBezTo>
                  <a:close/>
                  <a:moveTo>
                    <a:pt x="4869246" y="667825"/>
                  </a:moveTo>
                  <a:lnTo>
                    <a:pt x="4750973" y="667825"/>
                  </a:lnTo>
                  <a:lnTo>
                    <a:pt x="4750973" y="634153"/>
                  </a:lnTo>
                  <a:cubicBezTo>
                    <a:pt x="4724466" y="663721"/>
                    <a:pt x="4681676" y="677984"/>
                    <a:pt x="4638822" y="677984"/>
                  </a:cubicBezTo>
                  <a:cubicBezTo>
                    <a:pt x="4514427" y="677984"/>
                    <a:pt x="4467535" y="588238"/>
                    <a:pt x="4467535" y="458763"/>
                  </a:cubicBezTo>
                  <a:lnTo>
                    <a:pt x="4467535" y="186527"/>
                  </a:lnTo>
                  <a:lnTo>
                    <a:pt x="4587827" y="186527"/>
                  </a:lnTo>
                  <a:lnTo>
                    <a:pt x="4587827" y="448538"/>
                  </a:lnTo>
                  <a:cubicBezTo>
                    <a:pt x="4587827" y="513797"/>
                    <a:pt x="4601113" y="562708"/>
                    <a:pt x="4668390" y="562708"/>
                  </a:cubicBezTo>
                  <a:cubicBezTo>
                    <a:pt x="4735668" y="562708"/>
                    <a:pt x="4748954" y="511712"/>
                    <a:pt x="4748954" y="452576"/>
                  </a:cubicBezTo>
                  <a:lnTo>
                    <a:pt x="4748954" y="186462"/>
                  </a:lnTo>
                  <a:lnTo>
                    <a:pt x="4869246" y="186462"/>
                  </a:lnTo>
                  <a:lnTo>
                    <a:pt x="4869246" y="667695"/>
                  </a:lnTo>
                  <a:close/>
                  <a:moveTo>
                    <a:pt x="5244449" y="527083"/>
                  </a:moveTo>
                  <a:lnTo>
                    <a:pt x="5227125" y="649458"/>
                  </a:lnTo>
                  <a:cubicBezTo>
                    <a:pt x="5202637" y="668802"/>
                    <a:pt x="5157829" y="677984"/>
                    <a:pt x="5128261" y="677984"/>
                  </a:cubicBezTo>
                  <a:cubicBezTo>
                    <a:pt x="5054861" y="677984"/>
                    <a:pt x="4997744" y="622951"/>
                    <a:pt x="4997744" y="535224"/>
                  </a:cubicBezTo>
                  <a:lnTo>
                    <a:pt x="4997744" y="301739"/>
                  </a:lnTo>
                  <a:lnTo>
                    <a:pt x="4928447" y="301739"/>
                  </a:lnTo>
                  <a:lnTo>
                    <a:pt x="4928447" y="186527"/>
                  </a:lnTo>
                  <a:lnTo>
                    <a:pt x="4997744" y="186527"/>
                  </a:lnTo>
                  <a:lnTo>
                    <a:pt x="4997744" y="61155"/>
                  </a:lnTo>
                  <a:lnTo>
                    <a:pt x="5118035" y="0"/>
                  </a:lnTo>
                  <a:lnTo>
                    <a:pt x="5118035" y="186592"/>
                  </a:lnTo>
                  <a:lnTo>
                    <a:pt x="5232205" y="186592"/>
                  </a:lnTo>
                  <a:lnTo>
                    <a:pt x="5232205" y="301804"/>
                  </a:lnTo>
                  <a:lnTo>
                    <a:pt x="5118035" y="301804"/>
                  </a:lnTo>
                  <a:lnTo>
                    <a:pt x="5118035" y="503701"/>
                  </a:lnTo>
                  <a:cubicBezTo>
                    <a:pt x="5118035" y="545514"/>
                    <a:pt x="5135360" y="560819"/>
                    <a:pt x="5164928" y="560819"/>
                  </a:cubicBezTo>
                  <a:cubicBezTo>
                    <a:pt x="5194496" y="560819"/>
                    <a:pt x="5225106" y="545514"/>
                    <a:pt x="5244449" y="527148"/>
                  </a:cubicBezTo>
                  <a:close/>
                  <a:moveTo>
                    <a:pt x="3417407" y="667825"/>
                  </a:moveTo>
                  <a:lnTo>
                    <a:pt x="3297116" y="667825"/>
                  </a:lnTo>
                  <a:lnTo>
                    <a:pt x="3297116" y="405814"/>
                  </a:lnTo>
                  <a:cubicBezTo>
                    <a:pt x="3297116" y="340555"/>
                    <a:pt x="3282853" y="292621"/>
                    <a:pt x="3215575" y="292621"/>
                  </a:cubicBezTo>
                  <a:cubicBezTo>
                    <a:pt x="3148298" y="292621"/>
                    <a:pt x="3132993" y="336452"/>
                    <a:pt x="3132993" y="402753"/>
                  </a:cubicBezTo>
                  <a:lnTo>
                    <a:pt x="3132993" y="667825"/>
                  </a:lnTo>
                  <a:lnTo>
                    <a:pt x="3012701" y="667825"/>
                  </a:lnTo>
                  <a:lnTo>
                    <a:pt x="3012701" y="61221"/>
                  </a:lnTo>
                  <a:lnTo>
                    <a:pt x="3132993" y="65"/>
                  </a:lnTo>
                  <a:lnTo>
                    <a:pt x="3132993" y="220264"/>
                  </a:lnTo>
                  <a:cubicBezTo>
                    <a:pt x="3159500" y="193756"/>
                    <a:pt x="3192129" y="176432"/>
                    <a:pt x="3246186" y="176432"/>
                  </a:cubicBezTo>
                  <a:cubicBezTo>
                    <a:pt x="3373641" y="176432"/>
                    <a:pt x="3417473" y="274320"/>
                    <a:pt x="3417473" y="396631"/>
                  </a:cubicBezTo>
                  <a:lnTo>
                    <a:pt x="3417473" y="667825"/>
                  </a:lnTo>
                  <a:close/>
                  <a:moveTo>
                    <a:pt x="5564554" y="1638365"/>
                  </a:moveTo>
                  <a:lnTo>
                    <a:pt x="5440160" y="1638365"/>
                  </a:lnTo>
                  <a:lnTo>
                    <a:pt x="5440160" y="1376355"/>
                  </a:lnTo>
                  <a:cubicBezTo>
                    <a:pt x="5440160" y="1309077"/>
                    <a:pt x="5424855" y="1264204"/>
                    <a:pt x="5357577" y="1264204"/>
                  </a:cubicBezTo>
                  <a:cubicBezTo>
                    <a:pt x="5294337" y="1264204"/>
                    <a:pt x="5273952" y="1301913"/>
                    <a:pt x="5273952" y="1373293"/>
                  </a:cubicBezTo>
                  <a:lnTo>
                    <a:pt x="5273952" y="1638365"/>
                  </a:lnTo>
                  <a:lnTo>
                    <a:pt x="5149558" y="1638365"/>
                  </a:lnTo>
                  <a:lnTo>
                    <a:pt x="5149558" y="1157133"/>
                  </a:lnTo>
                  <a:lnTo>
                    <a:pt x="5273952" y="1157133"/>
                  </a:lnTo>
                  <a:lnTo>
                    <a:pt x="5273952" y="1189762"/>
                  </a:lnTo>
                  <a:cubicBezTo>
                    <a:pt x="5299418" y="1164297"/>
                    <a:pt x="5337192" y="1146973"/>
                    <a:pt x="5391183" y="1146973"/>
                  </a:cubicBezTo>
                  <a:cubicBezTo>
                    <a:pt x="5521700" y="1146973"/>
                    <a:pt x="5564490" y="1247922"/>
                    <a:pt x="5564490" y="1366195"/>
                  </a:cubicBezTo>
                  <a:lnTo>
                    <a:pt x="5564490" y="1638430"/>
                  </a:lnTo>
                  <a:close/>
                  <a:moveTo>
                    <a:pt x="4008772" y="1115386"/>
                  </a:moveTo>
                  <a:cubicBezTo>
                    <a:pt x="4048565" y="1115386"/>
                    <a:pt x="4080152" y="1083798"/>
                    <a:pt x="4080152" y="1044005"/>
                  </a:cubicBezTo>
                  <a:cubicBezTo>
                    <a:pt x="4080152" y="1004212"/>
                    <a:pt x="4048565" y="972624"/>
                    <a:pt x="4008772" y="972624"/>
                  </a:cubicBezTo>
                  <a:cubicBezTo>
                    <a:pt x="3968978" y="972624"/>
                    <a:pt x="3937391" y="1004212"/>
                    <a:pt x="3937391" y="1044005"/>
                  </a:cubicBezTo>
                  <a:cubicBezTo>
                    <a:pt x="3937391" y="1083798"/>
                    <a:pt x="3968978" y="1115386"/>
                    <a:pt x="4008772" y="1115386"/>
                  </a:cubicBezTo>
                  <a:close/>
                  <a:moveTo>
                    <a:pt x="829864" y="1115386"/>
                  </a:moveTo>
                  <a:cubicBezTo>
                    <a:pt x="869657" y="1115386"/>
                    <a:pt x="901244" y="1083798"/>
                    <a:pt x="901244" y="1044005"/>
                  </a:cubicBezTo>
                  <a:cubicBezTo>
                    <a:pt x="901244" y="1004212"/>
                    <a:pt x="869657" y="972624"/>
                    <a:pt x="829864" y="972624"/>
                  </a:cubicBezTo>
                  <a:cubicBezTo>
                    <a:pt x="790070" y="972624"/>
                    <a:pt x="758483" y="1004212"/>
                    <a:pt x="758483" y="1044005"/>
                  </a:cubicBezTo>
                  <a:cubicBezTo>
                    <a:pt x="758483" y="1083798"/>
                    <a:pt x="790070" y="1115386"/>
                    <a:pt x="829864" y="1115386"/>
                  </a:cubicBezTo>
                  <a:close/>
                  <a:moveTo>
                    <a:pt x="6512756" y="426134"/>
                  </a:moveTo>
                  <a:cubicBezTo>
                    <a:pt x="6512756" y="441439"/>
                    <a:pt x="6511714" y="460782"/>
                    <a:pt x="6510737" y="467946"/>
                  </a:cubicBezTo>
                  <a:lnTo>
                    <a:pt x="6219158" y="467946"/>
                  </a:lnTo>
                  <a:cubicBezTo>
                    <a:pt x="6224238" y="535224"/>
                    <a:pt x="6270154" y="562773"/>
                    <a:pt x="6322126" y="562773"/>
                  </a:cubicBezTo>
                  <a:cubicBezTo>
                    <a:pt x="6352736" y="562773"/>
                    <a:pt x="6381262" y="553590"/>
                    <a:pt x="6405751" y="529102"/>
                  </a:cubicBezTo>
                  <a:lnTo>
                    <a:pt x="6491394" y="601459"/>
                  </a:lnTo>
                  <a:cubicBezTo>
                    <a:pt x="6446521" y="657535"/>
                    <a:pt x="6378201" y="677919"/>
                    <a:pt x="6317046" y="677919"/>
                  </a:cubicBezTo>
                  <a:cubicBezTo>
                    <a:pt x="6176369" y="677919"/>
                    <a:pt x="6095805" y="569872"/>
                    <a:pt x="6095805" y="428153"/>
                  </a:cubicBezTo>
                  <a:cubicBezTo>
                    <a:pt x="6095805" y="274190"/>
                    <a:pt x="6190632" y="176302"/>
                    <a:pt x="6308905" y="176302"/>
                  </a:cubicBezTo>
                  <a:cubicBezTo>
                    <a:pt x="6435319" y="176302"/>
                    <a:pt x="6512821" y="287411"/>
                    <a:pt x="6512821" y="426069"/>
                  </a:cubicBezTo>
                  <a:close/>
                  <a:moveTo>
                    <a:pt x="6221177" y="374162"/>
                  </a:moveTo>
                  <a:lnTo>
                    <a:pt x="6392465" y="374162"/>
                  </a:lnTo>
                  <a:cubicBezTo>
                    <a:pt x="6388361" y="320105"/>
                    <a:pt x="6353713" y="283438"/>
                    <a:pt x="6304802" y="283438"/>
                  </a:cubicBezTo>
                  <a:cubicBezTo>
                    <a:pt x="6246708" y="283438"/>
                    <a:pt x="6224238" y="334433"/>
                    <a:pt x="6221177" y="374162"/>
                  </a:cubicBezTo>
                  <a:close/>
                  <a:moveTo>
                    <a:pt x="5702235" y="667825"/>
                  </a:moveTo>
                  <a:lnTo>
                    <a:pt x="5583963" y="667825"/>
                  </a:lnTo>
                  <a:lnTo>
                    <a:pt x="5583963" y="634153"/>
                  </a:lnTo>
                  <a:cubicBezTo>
                    <a:pt x="5557456" y="663721"/>
                    <a:pt x="5514666" y="677984"/>
                    <a:pt x="5471812" y="677984"/>
                  </a:cubicBezTo>
                  <a:cubicBezTo>
                    <a:pt x="5347417" y="677984"/>
                    <a:pt x="5300525" y="588238"/>
                    <a:pt x="5300525" y="458763"/>
                  </a:cubicBezTo>
                  <a:lnTo>
                    <a:pt x="5300525" y="186527"/>
                  </a:lnTo>
                  <a:lnTo>
                    <a:pt x="5420817" y="186527"/>
                  </a:lnTo>
                  <a:lnTo>
                    <a:pt x="5420817" y="448538"/>
                  </a:lnTo>
                  <a:cubicBezTo>
                    <a:pt x="5420817" y="513797"/>
                    <a:pt x="5434103" y="562708"/>
                    <a:pt x="5501380" y="562708"/>
                  </a:cubicBezTo>
                  <a:cubicBezTo>
                    <a:pt x="5568657" y="562708"/>
                    <a:pt x="5581944" y="511712"/>
                    <a:pt x="5581944" y="452576"/>
                  </a:cubicBezTo>
                  <a:lnTo>
                    <a:pt x="5581944" y="186462"/>
                  </a:lnTo>
                  <a:lnTo>
                    <a:pt x="5702235" y="186462"/>
                  </a:lnTo>
                  <a:lnTo>
                    <a:pt x="5702235" y="667695"/>
                  </a:lnTo>
                  <a:close/>
                  <a:moveTo>
                    <a:pt x="3895579" y="426134"/>
                  </a:moveTo>
                  <a:cubicBezTo>
                    <a:pt x="3895579" y="441439"/>
                    <a:pt x="3894537" y="460782"/>
                    <a:pt x="3893560" y="467946"/>
                  </a:cubicBezTo>
                  <a:lnTo>
                    <a:pt x="3601981" y="467946"/>
                  </a:lnTo>
                  <a:cubicBezTo>
                    <a:pt x="3607061" y="535224"/>
                    <a:pt x="3652976" y="562773"/>
                    <a:pt x="3704949" y="562773"/>
                  </a:cubicBezTo>
                  <a:cubicBezTo>
                    <a:pt x="3735559" y="562773"/>
                    <a:pt x="3764085" y="553590"/>
                    <a:pt x="3788573" y="529102"/>
                  </a:cubicBezTo>
                  <a:lnTo>
                    <a:pt x="3874217" y="601459"/>
                  </a:lnTo>
                  <a:cubicBezTo>
                    <a:pt x="3829343" y="657535"/>
                    <a:pt x="3761024" y="677919"/>
                    <a:pt x="3699868" y="677919"/>
                  </a:cubicBezTo>
                  <a:cubicBezTo>
                    <a:pt x="3559192" y="677919"/>
                    <a:pt x="3478628" y="569872"/>
                    <a:pt x="3478628" y="428153"/>
                  </a:cubicBezTo>
                  <a:cubicBezTo>
                    <a:pt x="3478628" y="274190"/>
                    <a:pt x="3573455" y="176302"/>
                    <a:pt x="3691727" y="176302"/>
                  </a:cubicBezTo>
                  <a:cubicBezTo>
                    <a:pt x="3818141" y="176302"/>
                    <a:pt x="3895644" y="287411"/>
                    <a:pt x="3895644" y="426069"/>
                  </a:cubicBezTo>
                  <a:close/>
                  <a:moveTo>
                    <a:pt x="3604000" y="374162"/>
                  </a:moveTo>
                  <a:lnTo>
                    <a:pt x="3775287" y="374162"/>
                  </a:lnTo>
                  <a:cubicBezTo>
                    <a:pt x="3771184" y="320105"/>
                    <a:pt x="3736536" y="283438"/>
                    <a:pt x="3687624" y="283438"/>
                  </a:cubicBezTo>
                  <a:cubicBezTo>
                    <a:pt x="3629530" y="283438"/>
                    <a:pt x="3607061" y="334433"/>
                    <a:pt x="3604000" y="374162"/>
                  </a:cubicBezTo>
                  <a:close/>
                  <a:moveTo>
                    <a:pt x="4579686" y="1638365"/>
                  </a:moveTo>
                  <a:lnTo>
                    <a:pt x="4455291" y="1638365"/>
                  </a:lnTo>
                  <a:lnTo>
                    <a:pt x="4455291" y="1606778"/>
                  </a:lnTo>
                  <a:cubicBezTo>
                    <a:pt x="4414521" y="1636346"/>
                    <a:pt x="4390032" y="1648590"/>
                    <a:pt x="4346201" y="1648590"/>
                  </a:cubicBezTo>
                  <a:cubicBezTo>
                    <a:pt x="4207543" y="1648590"/>
                    <a:pt x="4148406" y="1528299"/>
                    <a:pt x="4148406" y="1393678"/>
                  </a:cubicBezTo>
                  <a:cubicBezTo>
                    <a:pt x="4148406" y="1247856"/>
                    <a:pt x="4217703" y="1146973"/>
                    <a:pt x="4343140" y="1146973"/>
                  </a:cubicBezTo>
                  <a:cubicBezTo>
                    <a:pt x="4384952" y="1146973"/>
                    <a:pt x="4424681" y="1158175"/>
                    <a:pt x="4455291" y="1185724"/>
                  </a:cubicBezTo>
                  <a:lnTo>
                    <a:pt x="4455291" y="1031761"/>
                  </a:lnTo>
                  <a:lnTo>
                    <a:pt x="4579686" y="969564"/>
                  </a:lnTo>
                  <a:lnTo>
                    <a:pt x="4579686" y="1638365"/>
                  </a:lnTo>
                  <a:close/>
                  <a:moveTo>
                    <a:pt x="4455356" y="1489547"/>
                  </a:moveTo>
                  <a:lnTo>
                    <a:pt x="4455356" y="1306016"/>
                  </a:lnTo>
                  <a:cubicBezTo>
                    <a:pt x="4428849" y="1277490"/>
                    <a:pt x="4403384" y="1264204"/>
                    <a:pt x="4368670" y="1264204"/>
                  </a:cubicBezTo>
                  <a:cubicBezTo>
                    <a:pt x="4296313" y="1264204"/>
                    <a:pt x="4278924" y="1321321"/>
                    <a:pt x="4278924" y="1389575"/>
                  </a:cubicBezTo>
                  <a:cubicBezTo>
                    <a:pt x="4278924" y="1467078"/>
                    <a:pt x="4301328" y="1531294"/>
                    <a:pt x="4371731" y="1531294"/>
                  </a:cubicBezTo>
                  <a:cubicBezTo>
                    <a:pt x="4406380" y="1531294"/>
                    <a:pt x="4430868" y="1515989"/>
                    <a:pt x="4455356" y="1489482"/>
                  </a:cubicBezTo>
                  <a:close/>
                  <a:moveTo>
                    <a:pt x="3945532" y="1157198"/>
                  </a:moveTo>
                  <a:lnTo>
                    <a:pt x="3945532" y="1638430"/>
                  </a:lnTo>
                  <a:lnTo>
                    <a:pt x="4069927" y="1638430"/>
                  </a:lnTo>
                  <a:lnTo>
                    <a:pt x="4069927" y="1157198"/>
                  </a:lnTo>
                  <a:lnTo>
                    <a:pt x="3945532" y="1157198"/>
                  </a:lnTo>
                  <a:close/>
                  <a:moveTo>
                    <a:pt x="3873175" y="985911"/>
                  </a:moveTo>
                  <a:lnTo>
                    <a:pt x="3873175" y="1085817"/>
                  </a:lnTo>
                  <a:cubicBezTo>
                    <a:pt x="3854809" y="1079695"/>
                    <a:pt x="3830386" y="1076634"/>
                    <a:pt x="3812019" y="1076634"/>
                  </a:cubicBezTo>
                  <a:cubicBezTo>
                    <a:pt x="3776329" y="1076634"/>
                    <a:pt x="3760047" y="1087836"/>
                    <a:pt x="3760047" y="1118447"/>
                  </a:cubicBezTo>
                  <a:lnTo>
                    <a:pt x="3760047" y="1157198"/>
                  </a:lnTo>
                  <a:lnTo>
                    <a:pt x="3863015" y="1157198"/>
                  </a:lnTo>
                  <a:lnTo>
                    <a:pt x="3863015" y="1273452"/>
                  </a:lnTo>
                  <a:lnTo>
                    <a:pt x="3760047" y="1273452"/>
                  </a:lnTo>
                  <a:lnTo>
                    <a:pt x="3760047" y="1638430"/>
                  </a:lnTo>
                  <a:lnTo>
                    <a:pt x="3635652" y="1638430"/>
                  </a:lnTo>
                  <a:lnTo>
                    <a:pt x="3635652" y="1273452"/>
                  </a:lnTo>
                  <a:lnTo>
                    <a:pt x="3568375" y="1273452"/>
                  </a:lnTo>
                  <a:lnTo>
                    <a:pt x="3568375" y="1157198"/>
                  </a:lnTo>
                  <a:lnTo>
                    <a:pt x="3635652" y="1157198"/>
                  </a:lnTo>
                  <a:lnTo>
                    <a:pt x="3635652" y="1099104"/>
                  </a:lnTo>
                  <a:cubicBezTo>
                    <a:pt x="3635652" y="1009357"/>
                    <a:pt x="3691727" y="972690"/>
                    <a:pt x="3782451" y="972690"/>
                  </a:cubicBezTo>
                  <a:cubicBezTo>
                    <a:pt x="3808958" y="972690"/>
                    <a:pt x="3847710" y="975751"/>
                    <a:pt x="3873175" y="985976"/>
                  </a:cubicBezTo>
                  <a:close/>
                  <a:moveTo>
                    <a:pt x="3507154" y="1638365"/>
                  </a:moveTo>
                  <a:lnTo>
                    <a:pt x="3382759" y="1638365"/>
                  </a:lnTo>
                  <a:lnTo>
                    <a:pt x="3382759" y="1376355"/>
                  </a:lnTo>
                  <a:cubicBezTo>
                    <a:pt x="3382759" y="1309077"/>
                    <a:pt x="3367454" y="1264204"/>
                    <a:pt x="3300177" y="1264204"/>
                  </a:cubicBezTo>
                  <a:cubicBezTo>
                    <a:pt x="3236937" y="1264204"/>
                    <a:pt x="3216552" y="1301913"/>
                    <a:pt x="3216552" y="1373293"/>
                  </a:cubicBezTo>
                  <a:lnTo>
                    <a:pt x="3216552" y="1638365"/>
                  </a:lnTo>
                  <a:lnTo>
                    <a:pt x="3092157" y="1638365"/>
                  </a:lnTo>
                  <a:lnTo>
                    <a:pt x="3092157" y="1157133"/>
                  </a:lnTo>
                  <a:lnTo>
                    <a:pt x="3216552" y="1157133"/>
                  </a:lnTo>
                  <a:lnTo>
                    <a:pt x="3216552" y="1189762"/>
                  </a:lnTo>
                  <a:cubicBezTo>
                    <a:pt x="3242017" y="1164297"/>
                    <a:pt x="3279792" y="1146973"/>
                    <a:pt x="3333783" y="1146973"/>
                  </a:cubicBezTo>
                  <a:cubicBezTo>
                    <a:pt x="3464300" y="1146973"/>
                    <a:pt x="3507089" y="1247922"/>
                    <a:pt x="3507089" y="1366195"/>
                  </a:cubicBezTo>
                  <a:lnTo>
                    <a:pt x="3507089" y="1638430"/>
                  </a:lnTo>
                  <a:close/>
                  <a:moveTo>
                    <a:pt x="2792437" y="1146973"/>
                  </a:moveTo>
                  <a:cubicBezTo>
                    <a:pt x="2653779" y="1146973"/>
                    <a:pt x="2567094" y="1256063"/>
                    <a:pt x="2567094" y="1397782"/>
                  </a:cubicBezTo>
                  <a:cubicBezTo>
                    <a:pt x="2567094" y="1546665"/>
                    <a:pt x="2661920" y="1648590"/>
                    <a:pt x="2792437" y="1648590"/>
                  </a:cubicBezTo>
                  <a:cubicBezTo>
                    <a:pt x="2922954" y="1648590"/>
                    <a:pt x="3017781" y="1546665"/>
                    <a:pt x="3017781" y="1397782"/>
                  </a:cubicBezTo>
                  <a:cubicBezTo>
                    <a:pt x="3017781" y="1248899"/>
                    <a:pt x="2931095" y="1146973"/>
                    <a:pt x="2792437" y="1146973"/>
                  </a:cubicBezTo>
                  <a:close/>
                  <a:moveTo>
                    <a:pt x="2792437" y="1528299"/>
                  </a:moveTo>
                  <a:cubicBezTo>
                    <a:pt x="2712916" y="1528299"/>
                    <a:pt x="2695592" y="1451838"/>
                    <a:pt x="2695592" y="1397782"/>
                  </a:cubicBezTo>
                  <a:cubicBezTo>
                    <a:pt x="2695592" y="1323340"/>
                    <a:pt x="2726202" y="1266288"/>
                    <a:pt x="2792437" y="1266288"/>
                  </a:cubicBezTo>
                  <a:cubicBezTo>
                    <a:pt x="2858673" y="1266288"/>
                    <a:pt x="2889283" y="1323405"/>
                    <a:pt x="2889283" y="1397782"/>
                  </a:cubicBezTo>
                  <a:cubicBezTo>
                    <a:pt x="2889283" y="1451838"/>
                    <a:pt x="2871959" y="1528299"/>
                    <a:pt x="2792437" y="1528299"/>
                  </a:cubicBezTo>
                  <a:close/>
                  <a:moveTo>
                    <a:pt x="2446802" y="1467143"/>
                  </a:moveTo>
                  <a:lnTo>
                    <a:pt x="2526323" y="1542561"/>
                  </a:lnTo>
                  <a:cubicBezTo>
                    <a:pt x="2485553" y="1594534"/>
                    <a:pt x="2429478" y="1648590"/>
                    <a:pt x="2334651" y="1648590"/>
                  </a:cubicBezTo>
                  <a:cubicBezTo>
                    <a:pt x="2203157" y="1648590"/>
                    <a:pt x="2106246" y="1543604"/>
                    <a:pt x="2106246" y="1398823"/>
                  </a:cubicBezTo>
                  <a:cubicBezTo>
                    <a:pt x="2106246" y="1266288"/>
                    <a:pt x="2186810" y="1146973"/>
                    <a:pt x="2336670" y="1146973"/>
                  </a:cubicBezTo>
                  <a:cubicBezTo>
                    <a:pt x="2422314" y="1146973"/>
                    <a:pt x="2481450" y="1185724"/>
                    <a:pt x="2525281" y="1250983"/>
                  </a:cubicBezTo>
                  <a:lnTo>
                    <a:pt x="2443741" y="1333565"/>
                  </a:lnTo>
                  <a:cubicBezTo>
                    <a:pt x="2415215" y="1295856"/>
                    <a:pt x="2384604" y="1266288"/>
                    <a:pt x="2335693" y="1266288"/>
                  </a:cubicBezTo>
                  <a:cubicBezTo>
                    <a:pt x="2269393" y="1266288"/>
                    <a:pt x="2234744" y="1322363"/>
                    <a:pt x="2234744" y="1396804"/>
                  </a:cubicBezTo>
                  <a:cubicBezTo>
                    <a:pt x="2234744" y="1466101"/>
                    <a:pt x="2265355" y="1528299"/>
                    <a:pt x="2336670" y="1528299"/>
                  </a:cubicBezTo>
                  <a:cubicBezTo>
                    <a:pt x="2380501" y="1528299"/>
                    <a:pt x="2417234" y="1504852"/>
                    <a:pt x="2446802" y="1467143"/>
                  </a:cubicBezTo>
                  <a:close/>
                  <a:moveTo>
                    <a:pt x="1803530" y="1638365"/>
                  </a:moveTo>
                  <a:lnTo>
                    <a:pt x="1679135" y="1638365"/>
                  </a:lnTo>
                  <a:lnTo>
                    <a:pt x="1679135" y="1376355"/>
                  </a:lnTo>
                  <a:cubicBezTo>
                    <a:pt x="1679135" y="1309077"/>
                    <a:pt x="1663830" y="1264204"/>
                    <a:pt x="1596553" y="1264204"/>
                  </a:cubicBezTo>
                  <a:cubicBezTo>
                    <a:pt x="1533314" y="1264204"/>
                    <a:pt x="1511951" y="1301913"/>
                    <a:pt x="1511951" y="1373293"/>
                  </a:cubicBezTo>
                  <a:lnTo>
                    <a:pt x="1511951" y="1638365"/>
                  </a:lnTo>
                  <a:lnTo>
                    <a:pt x="1387557" y="1638365"/>
                  </a:lnTo>
                  <a:lnTo>
                    <a:pt x="1387557" y="1031761"/>
                  </a:lnTo>
                  <a:lnTo>
                    <a:pt x="1511951" y="969564"/>
                  </a:lnTo>
                  <a:lnTo>
                    <a:pt x="1511951" y="1189762"/>
                  </a:lnTo>
                  <a:cubicBezTo>
                    <a:pt x="1535398" y="1161236"/>
                    <a:pt x="1584309" y="1146973"/>
                    <a:pt x="1632243" y="1146973"/>
                  </a:cubicBezTo>
                  <a:cubicBezTo>
                    <a:pt x="1758657" y="1146973"/>
                    <a:pt x="1803530" y="1246880"/>
                    <a:pt x="1803530" y="1366195"/>
                  </a:cubicBezTo>
                  <a:lnTo>
                    <a:pt x="1803530" y="1638430"/>
                  </a:lnTo>
                  <a:close/>
                  <a:moveTo>
                    <a:pt x="1311031" y="1493650"/>
                  </a:moveTo>
                  <a:lnTo>
                    <a:pt x="1292665" y="1619022"/>
                  </a:lnTo>
                  <a:cubicBezTo>
                    <a:pt x="1267200" y="1639407"/>
                    <a:pt x="1205979" y="1648590"/>
                    <a:pt x="1173350" y="1648590"/>
                  </a:cubicBezTo>
                  <a:cubicBezTo>
                    <a:pt x="1097931" y="1648590"/>
                    <a:pt x="1043875" y="1588412"/>
                    <a:pt x="1043875" y="1504852"/>
                  </a:cubicBezTo>
                  <a:lnTo>
                    <a:pt x="1043875" y="1273387"/>
                  </a:lnTo>
                  <a:lnTo>
                    <a:pt x="960250" y="1273387"/>
                  </a:lnTo>
                  <a:lnTo>
                    <a:pt x="960250" y="1157133"/>
                  </a:lnTo>
                  <a:lnTo>
                    <a:pt x="1043875" y="1157133"/>
                  </a:lnTo>
                  <a:lnTo>
                    <a:pt x="1043875" y="1031761"/>
                  </a:lnTo>
                  <a:lnTo>
                    <a:pt x="1168270" y="969564"/>
                  </a:lnTo>
                  <a:lnTo>
                    <a:pt x="1168270" y="1157133"/>
                  </a:lnTo>
                  <a:lnTo>
                    <a:pt x="1308947" y="1157133"/>
                  </a:lnTo>
                  <a:lnTo>
                    <a:pt x="1308947" y="1273387"/>
                  </a:lnTo>
                  <a:lnTo>
                    <a:pt x="1168270" y="1273387"/>
                  </a:lnTo>
                  <a:lnTo>
                    <a:pt x="1168270" y="1471181"/>
                  </a:lnTo>
                  <a:cubicBezTo>
                    <a:pt x="1168270" y="1515012"/>
                    <a:pt x="1184552" y="1529275"/>
                    <a:pt x="1214120" y="1529275"/>
                  </a:cubicBezTo>
                  <a:cubicBezTo>
                    <a:pt x="1243688" y="1529275"/>
                    <a:pt x="1289539" y="1513970"/>
                    <a:pt x="1310966" y="1493585"/>
                  </a:cubicBezTo>
                  <a:close/>
                  <a:moveTo>
                    <a:pt x="767666" y="1157198"/>
                  </a:moveTo>
                  <a:lnTo>
                    <a:pt x="767666" y="1638430"/>
                  </a:lnTo>
                  <a:lnTo>
                    <a:pt x="892061" y="1638430"/>
                  </a:lnTo>
                  <a:lnTo>
                    <a:pt x="892061" y="1157198"/>
                  </a:lnTo>
                  <a:lnTo>
                    <a:pt x="767666" y="1157198"/>
                  </a:lnTo>
                  <a:close/>
                  <a:moveTo>
                    <a:pt x="702408" y="1157198"/>
                  </a:moveTo>
                  <a:lnTo>
                    <a:pt x="550529" y="1638430"/>
                  </a:lnTo>
                  <a:lnTo>
                    <a:pt x="436359" y="1638430"/>
                  </a:lnTo>
                  <a:lnTo>
                    <a:pt x="354819" y="1345809"/>
                  </a:lnTo>
                  <a:lnTo>
                    <a:pt x="272236" y="1638430"/>
                  </a:lnTo>
                  <a:lnTo>
                    <a:pt x="158066" y="1638430"/>
                  </a:lnTo>
                  <a:lnTo>
                    <a:pt x="7099" y="1157198"/>
                  </a:lnTo>
                  <a:lnTo>
                    <a:pt x="145757" y="1157198"/>
                  </a:lnTo>
                  <a:lnTo>
                    <a:pt x="218114" y="1436533"/>
                  </a:lnTo>
                  <a:lnTo>
                    <a:pt x="299655" y="1157198"/>
                  </a:lnTo>
                  <a:lnTo>
                    <a:pt x="412848" y="1157198"/>
                  </a:lnTo>
                  <a:lnTo>
                    <a:pt x="494388" y="1436533"/>
                  </a:lnTo>
                  <a:lnTo>
                    <a:pt x="567788" y="1157198"/>
                  </a:lnTo>
                  <a:lnTo>
                    <a:pt x="702343" y="1157198"/>
                  </a:lnTo>
                  <a:close/>
                  <a:moveTo>
                    <a:pt x="4436990" y="16282"/>
                  </a:moveTo>
                  <a:lnTo>
                    <a:pt x="4436990" y="115147"/>
                  </a:lnTo>
                  <a:cubicBezTo>
                    <a:pt x="4409441" y="107983"/>
                    <a:pt x="4391139" y="104921"/>
                    <a:pt x="4374792" y="104921"/>
                  </a:cubicBezTo>
                  <a:cubicBezTo>
                    <a:pt x="4332003" y="104921"/>
                    <a:pt x="4322820" y="120227"/>
                    <a:pt x="4322820" y="144715"/>
                  </a:cubicBezTo>
                  <a:lnTo>
                    <a:pt x="4322820" y="186527"/>
                  </a:lnTo>
                  <a:lnTo>
                    <a:pt x="4404361" y="186527"/>
                  </a:lnTo>
                  <a:lnTo>
                    <a:pt x="4404361" y="302781"/>
                  </a:lnTo>
                  <a:lnTo>
                    <a:pt x="4322820" y="302781"/>
                  </a:lnTo>
                  <a:lnTo>
                    <a:pt x="4322820" y="667759"/>
                  </a:lnTo>
                  <a:lnTo>
                    <a:pt x="4202528" y="667759"/>
                  </a:lnTo>
                  <a:lnTo>
                    <a:pt x="4202528" y="302781"/>
                  </a:lnTo>
                  <a:lnTo>
                    <a:pt x="4143392" y="302781"/>
                  </a:lnTo>
                  <a:lnTo>
                    <a:pt x="4143392" y="186527"/>
                  </a:lnTo>
                  <a:lnTo>
                    <a:pt x="4202528" y="186527"/>
                  </a:lnTo>
                  <a:lnTo>
                    <a:pt x="4202528" y="128433"/>
                  </a:lnTo>
                  <a:cubicBezTo>
                    <a:pt x="4202528" y="44808"/>
                    <a:pt x="4246360" y="2019"/>
                    <a:pt x="4348350" y="2019"/>
                  </a:cubicBezTo>
                  <a:cubicBezTo>
                    <a:pt x="4380980" y="2019"/>
                    <a:pt x="4407487" y="8141"/>
                    <a:pt x="4437055" y="16282"/>
                  </a:cubicBezTo>
                  <a:close/>
                  <a:moveTo>
                    <a:pt x="2957602" y="527083"/>
                  </a:moveTo>
                  <a:lnTo>
                    <a:pt x="2940278" y="649458"/>
                  </a:lnTo>
                  <a:cubicBezTo>
                    <a:pt x="2915790" y="668802"/>
                    <a:pt x="2873001" y="677984"/>
                    <a:pt x="2843433" y="677984"/>
                  </a:cubicBezTo>
                  <a:cubicBezTo>
                    <a:pt x="2770033" y="677984"/>
                    <a:pt x="2712916" y="622951"/>
                    <a:pt x="2712916" y="535224"/>
                  </a:cubicBezTo>
                  <a:lnTo>
                    <a:pt x="2712916" y="301739"/>
                  </a:lnTo>
                  <a:lnTo>
                    <a:pt x="2629291" y="301739"/>
                  </a:lnTo>
                  <a:lnTo>
                    <a:pt x="2629291" y="186527"/>
                  </a:lnTo>
                  <a:lnTo>
                    <a:pt x="2712916" y="186527"/>
                  </a:lnTo>
                  <a:lnTo>
                    <a:pt x="2712916" y="61155"/>
                  </a:lnTo>
                  <a:lnTo>
                    <a:pt x="2833208" y="0"/>
                  </a:lnTo>
                  <a:lnTo>
                    <a:pt x="2833208" y="186592"/>
                  </a:lnTo>
                  <a:lnTo>
                    <a:pt x="2945358" y="186592"/>
                  </a:lnTo>
                  <a:lnTo>
                    <a:pt x="2945358" y="301804"/>
                  </a:lnTo>
                  <a:lnTo>
                    <a:pt x="2833208" y="301804"/>
                  </a:lnTo>
                  <a:lnTo>
                    <a:pt x="2833208" y="503701"/>
                  </a:lnTo>
                  <a:cubicBezTo>
                    <a:pt x="2833208" y="545514"/>
                    <a:pt x="2850532" y="560819"/>
                    <a:pt x="2880100" y="560819"/>
                  </a:cubicBezTo>
                  <a:cubicBezTo>
                    <a:pt x="2909668" y="560819"/>
                    <a:pt x="2938194" y="545514"/>
                    <a:pt x="2957602" y="527148"/>
                  </a:cubicBezTo>
                  <a:close/>
                  <a:moveTo>
                    <a:pt x="2397891" y="426134"/>
                  </a:moveTo>
                  <a:cubicBezTo>
                    <a:pt x="2397891" y="441439"/>
                    <a:pt x="2396849" y="460782"/>
                    <a:pt x="2395872" y="467946"/>
                  </a:cubicBezTo>
                  <a:lnTo>
                    <a:pt x="2114453" y="467946"/>
                  </a:lnTo>
                  <a:cubicBezTo>
                    <a:pt x="2119533" y="535224"/>
                    <a:pt x="2166425" y="562773"/>
                    <a:pt x="2218462" y="562773"/>
                  </a:cubicBezTo>
                  <a:cubicBezTo>
                    <a:pt x="2249073" y="562773"/>
                    <a:pt x="2276557" y="553590"/>
                    <a:pt x="2301045" y="529102"/>
                  </a:cubicBezTo>
                  <a:lnTo>
                    <a:pt x="2386689" y="601459"/>
                  </a:lnTo>
                  <a:cubicBezTo>
                    <a:pt x="2346895" y="654473"/>
                    <a:pt x="2274538" y="677919"/>
                    <a:pt x="2210321" y="677919"/>
                  </a:cubicBezTo>
                  <a:cubicBezTo>
                    <a:pt x="2072705" y="677919"/>
                    <a:pt x="1991100" y="569872"/>
                    <a:pt x="1991100" y="429130"/>
                  </a:cubicBezTo>
                  <a:cubicBezTo>
                    <a:pt x="1991100" y="288388"/>
                    <a:pt x="2079804" y="176302"/>
                    <a:pt x="2205176" y="176302"/>
                  </a:cubicBezTo>
                  <a:cubicBezTo>
                    <a:pt x="2339731" y="176302"/>
                    <a:pt x="2397891" y="298678"/>
                    <a:pt x="2397891" y="426069"/>
                  </a:cubicBezTo>
                  <a:close/>
                  <a:moveTo>
                    <a:pt x="2116472" y="374162"/>
                  </a:moveTo>
                  <a:lnTo>
                    <a:pt x="2287759" y="374162"/>
                  </a:lnTo>
                  <a:cubicBezTo>
                    <a:pt x="2282679" y="320105"/>
                    <a:pt x="2251027" y="283438"/>
                    <a:pt x="2199054" y="283438"/>
                  </a:cubicBezTo>
                  <a:cubicBezTo>
                    <a:pt x="2144021" y="283438"/>
                    <a:pt x="2119533" y="334433"/>
                    <a:pt x="2116472" y="374162"/>
                  </a:cubicBezTo>
                  <a:close/>
                  <a:moveTo>
                    <a:pt x="1933982" y="428218"/>
                  </a:moveTo>
                  <a:cubicBezTo>
                    <a:pt x="1933982" y="551571"/>
                    <a:pt x="1882987" y="677984"/>
                    <a:pt x="1746413" y="677984"/>
                  </a:cubicBezTo>
                  <a:cubicBezTo>
                    <a:pt x="1693399" y="677984"/>
                    <a:pt x="1660769" y="658642"/>
                    <a:pt x="1639342" y="638191"/>
                  </a:cubicBezTo>
                  <a:lnTo>
                    <a:pt x="1639342" y="784990"/>
                  </a:lnTo>
                  <a:lnTo>
                    <a:pt x="1519050" y="845169"/>
                  </a:lnTo>
                  <a:lnTo>
                    <a:pt x="1519050" y="186527"/>
                  </a:lnTo>
                  <a:lnTo>
                    <a:pt x="1639342" y="186527"/>
                  </a:lnTo>
                  <a:lnTo>
                    <a:pt x="1639342" y="219157"/>
                  </a:lnTo>
                  <a:cubicBezTo>
                    <a:pt x="1670929" y="190630"/>
                    <a:pt x="1703559" y="176367"/>
                    <a:pt x="1748432" y="176367"/>
                  </a:cubicBezTo>
                  <a:cubicBezTo>
                    <a:pt x="1877907" y="176367"/>
                    <a:pt x="1933982" y="298743"/>
                    <a:pt x="1933982" y="428218"/>
                  </a:cubicBezTo>
                  <a:close/>
                  <a:moveTo>
                    <a:pt x="1809587" y="434340"/>
                  </a:moveTo>
                  <a:cubicBezTo>
                    <a:pt x="1809587" y="364002"/>
                    <a:pt x="1791221" y="292621"/>
                    <a:pt x="1718864" y="292621"/>
                  </a:cubicBezTo>
                  <a:cubicBezTo>
                    <a:pt x="1685193" y="292621"/>
                    <a:pt x="1658685" y="307926"/>
                    <a:pt x="1639342" y="335410"/>
                  </a:cubicBezTo>
                  <a:lnTo>
                    <a:pt x="1639342" y="518942"/>
                  </a:lnTo>
                  <a:cubicBezTo>
                    <a:pt x="1658685" y="546491"/>
                    <a:pt x="1691315" y="562773"/>
                    <a:pt x="1726028" y="562773"/>
                  </a:cubicBezTo>
                  <a:cubicBezTo>
                    <a:pt x="1793305" y="562773"/>
                    <a:pt x="1809652" y="501618"/>
                    <a:pt x="1809652" y="434340"/>
                  </a:cubicBezTo>
                  <a:close/>
                  <a:moveTo>
                    <a:pt x="1435426" y="667825"/>
                  </a:moveTo>
                  <a:lnTo>
                    <a:pt x="1315134" y="667825"/>
                  </a:lnTo>
                  <a:lnTo>
                    <a:pt x="1315134" y="634153"/>
                  </a:lnTo>
                  <a:cubicBezTo>
                    <a:pt x="1286608" y="662680"/>
                    <a:pt x="1249876" y="677984"/>
                    <a:pt x="1202983" y="677984"/>
                  </a:cubicBezTo>
                  <a:cubicBezTo>
                    <a:pt x="1108157" y="677984"/>
                    <a:pt x="1033715" y="616829"/>
                    <a:pt x="1033715" y="510800"/>
                  </a:cubicBezTo>
                  <a:cubicBezTo>
                    <a:pt x="1033715" y="404772"/>
                    <a:pt x="1106072" y="348696"/>
                    <a:pt x="1221284" y="348696"/>
                  </a:cubicBezTo>
                  <a:cubicBezTo>
                    <a:pt x="1251894" y="348696"/>
                    <a:pt x="1283482" y="352799"/>
                    <a:pt x="1315069" y="368040"/>
                  </a:cubicBezTo>
                  <a:lnTo>
                    <a:pt x="1315069" y="342574"/>
                  </a:lnTo>
                  <a:cubicBezTo>
                    <a:pt x="1315069" y="297701"/>
                    <a:pt x="1285501" y="279335"/>
                    <a:pt x="1232486" y="279335"/>
                  </a:cubicBezTo>
                  <a:cubicBezTo>
                    <a:pt x="1194777" y="279335"/>
                    <a:pt x="1159087" y="288518"/>
                    <a:pt x="1121378" y="310922"/>
                  </a:cubicBezTo>
                  <a:lnTo>
                    <a:pt x="1073443" y="225278"/>
                  </a:lnTo>
                  <a:cubicBezTo>
                    <a:pt x="1125416" y="192649"/>
                    <a:pt x="1175369" y="176367"/>
                    <a:pt x="1239650" y="176367"/>
                  </a:cubicBezTo>
                  <a:cubicBezTo>
                    <a:pt x="1360984" y="176367"/>
                    <a:pt x="1435426" y="235503"/>
                    <a:pt x="1435426" y="344593"/>
                  </a:cubicBezTo>
                  <a:lnTo>
                    <a:pt x="1435426" y="667759"/>
                  </a:lnTo>
                  <a:close/>
                  <a:moveTo>
                    <a:pt x="1315134" y="527083"/>
                  </a:moveTo>
                  <a:lnTo>
                    <a:pt x="1315134" y="465927"/>
                  </a:lnTo>
                  <a:cubicBezTo>
                    <a:pt x="1290646" y="450622"/>
                    <a:pt x="1259059" y="445542"/>
                    <a:pt x="1234570" y="445542"/>
                  </a:cubicBezTo>
                  <a:cubicBezTo>
                    <a:pt x="1181556" y="445542"/>
                    <a:pt x="1156091" y="468988"/>
                    <a:pt x="1156091" y="507740"/>
                  </a:cubicBezTo>
                  <a:cubicBezTo>
                    <a:pt x="1156091" y="544472"/>
                    <a:pt x="1179537" y="574040"/>
                    <a:pt x="1224410" y="574040"/>
                  </a:cubicBezTo>
                  <a:cubicBezTo>
                    <a:pt x="1247857" y="574040"/>
                    <a:pt x="1288627" y="565899"/>
                    <a:pt x="1315134" y="527148"/>
                  </a:cubicBezTo>
                  <a:close/>
                  <a:moveTo>
                    <a:pt x="967480" y="667825"/>
                  </a:moveTo>
                  <a:lnTo>
                    <a:pt x="847188" y="667825"/>
                  </a:lnTo>
                  <a:lnTo>
                    <a:pt x="847188" y="405814"/>
                  </a:lnTo>
                  <a:cubicBezTo>
                    <a:pt x="847188" y="340555"/>
                    <a:pt x="832925" y="292621"/>
                    <a:pt x="765647" y="292621"/>
                  </a:cubicBezTo>
                  <a:cubicBezTo>
                    <a:pt x="698370" y="292621"/>
                    <a:pt x="683065" y="336452"/>
                    <a:pt x="683065" y="402753"/>
                  </a:cubicBezTo>
                  <a:lnTo>
                    <a:pt x="683065" y="667825"/>
                  </a:lnTo>
                  <a:lnTo>
                    <a:pt x="562773" y="667825"/>
                  </a:lnTo>
                  <a:lnTo>
                    <a:pt x="562773" y="61221"/>
                  </a:lnTo>
                  <a:lnTo>
                    <a:pt x="683065" y="65"/>
                  </a:lnTo>
                  <a:lnTo>
                    <a:pt x="683065" y="220264"/>
                  </a:lnTo>
                  <a:cubicBezTo>
                    <a:pt x="709572" y="193756"/>
                    <a:pt x="742201" y="176432"/>
                    <a:pt x="796258" y="176432"/>
                  </a:cubicBezTo>
                  <a:cubicBezTo>
                    <a:pt x="923713" y="176432"/>
                    <a:pt x="967545" y="274320"/>
                    <a:pt x="967545" y="396631"/>
                  </a:cubicBezTo>
                  <a:lnTo>
                    <a:pt x="967545" y="667825"/>
                  </a:lnTo>
                  <a:close/>
                  <a:moveTo>
                    <a:pt x="496472" y="475110"/>
                  </a:moveTo>
                  <a:cubicBezTo>
                    <a:pt x="496472" y="619890"/>
                    <a:pt x="386341" y="677984"/>
                    <a:pt x="255889" y="677984"/>
                  </a:cubicBezTo>
                  <a:cubicBezTo>
                    <a:pt x="162104" y="677984"/>
                    <a:pt x="58094" y="648416"/>
                    <a:pt x="0" y="562773"/>
                  </a:cubicBezTo>
                  <a:lnTo>
                    <a:pt x="89747" y="483251"/>
                  </a:lnTo>
                  <a:cubicBezTo>
                    <a:pt x="131559" y="533205"/>
                    <a:pt x="191672" y="556651"/>
                    <a:pt x="252893" y="556651"/>
                  </a:cubicBezTo>
                  <a:cubicBezTo>
                    <a:pt x="325250" y="556651"/>
                    <a:pt x="367063" y="524022"/>
                    <a:pt x="367063" y="478171"/>
                  </a:cubicBezTo>
                  <a:cubicBezTo>
                    <a:pt x="367063" y="459805"/>
                    <a:pt x="359899" y="441439"/>
                    <a:pt x="329353" y="426199"/>
                  </a:cubicBezTo>
                  <a:cubicBezTo>
                    <a:pt x="306949" y="414997"/>
                    <a:pt x="279400" y="407833"/>
                    <a:pt x="225344" y="394612"/>
                  </a:cubicBezTo>
                  <a:cubicBezTo>
                    <a:pt x="191672" y="386471"/>
                    <a:pt x="122376" y="370124"/>
                    <a:pt x="79522" y="335475"/>
                  </a:cubicBezTo>
                  <a:cubicBezTo>
                    <a:pt x="36732" y="300827"/>
                    <a:pt x="24488" y="250874"/>
                    <a:pt x="24488" y="207042"/>
                  </a:cubicBezTo>
                  <a:cubicBezTo>
                    <a:pt x="24488" y="71445"/>
                    <a:pt x="140742" y="16412"/>
                    <a:pt x="254912" y="16412"/>
                  </a:cubicBezTo>
                  <a:cubicBezTo>
                    <a:pt x="353776" y="16412"/>
                    <a:pt x="425157" y="57182"/>
                    <a:pt x="482274" y="115277"/>
                  </a:cubicBezTo>
                  <a:lnTo>
                    <a:pt x="392528" y="202939"/>
                  </a:lnTo>
                  <a:cubicBezTo>
                    <a:pt x="350715" y="161127"/>
                    <a:pt x="309945" y="137681"/>
                    <a:pt x="246706" y="137681"/>
                  </a:cubicBezTo>
                  <a:cubicBezTo>
                    <a:pt x="192649" y="137681"/>
                    <a:pt x="152921" y="155005"/>
                    <a:pt x="152921" y="199878"/>
                  </a:cubicBezTo>
                  <a:cubicBezTo>
                    <a:pt x="152921" y="219221"/>
                    <a:pt x="160085" y="232508"/>
                    <a:pt x="179428" y="243710"/>
                  </a:cubicBezTo>
                  <a:cubicBezTo>
                    <a:pt x="201832" y="255954"/>
                    <a:pt x="233485" y="265137"/>
                    <a:pt x="282396" y="277381"/>
                  </a:cubicBezTo>
                  <a:cubicBezTo>
                    <a:pt x="340490" y="292686"/>
                    <a:pt x="394547" y="305907"/>
                    <a:pt x="438378" y="341598"/>
                  </a:cubicBezTo>
                  <a:cubicBezTo>
                    <a:pt x="477129" y="373185"/>
                    <a:pt x="496472" y="414997"/>
                    <a:pt x="496472" y="475176"/>
                  </a:cubicBezTo>
                  <a:close/>
                  <a:moveTo>
                    <a:pt x="6100885" y="208996"/>
                  </a:moveTo>
                  <a:lnTo>
                    <a:pt x="6051778" y="329288"/>
                  </a:lnTo>
                  <a:cubicBezTo>
                    <a:pt x="6033413" y="311964"/>
                    <a:pt x="6011985" y="299720"/>
                    <a:pt x="5982482" y="299720"/>
                  </a:cubicBezTo>
                  <a:cubicBezTo>
                    <a:pt x="5925365" y="299720"/>
                    <a:pt x="5911232" y="347654"/>
                    <a:pt x="5911232" y="405749"/>
                  </a:cubicBezTo>
                  <a:lnTo>
                    <a:pt x="5911232" y="667759"/>
                  </a:lnTo>
                  <a:lnTo>
                    <a:pt x="5790940" y="667759"/>
                  </a:lnTo>
                  <a:lnTo>
                    <a:pt x="5790940" y="186527"/>
                  </a:lnTo>
                  <a:lnTo>
                    <a:pt x="5911232" y="186527"/>
                  </a:lnTo>
                  <a:lnTo>
                    <a:pt x="5911232" y="220198"/>
                  </a:lnTo>
                  <a:cubicBezTo>
                    <a:pt x="5938781" y="192649"/>
                    <a:pt x="5973429" y="176367"/>
                    <a:pt x="6012181" y="176367"/>
                  </a:cubicBezTo>
                  <a:cubicBezTo>
                    <a:pt x="6045852" y="176367"/>
                    <a:pt x="6075420" y="186592"/>
                    <a:pt x="6100885" y="208996"/>
                  </a:cubicBezTo>
                  <a:close/>
                </a:path>
              </a:pathLst>
            </a:custGeom>
            <a:solidFill>
              <a:schemeClr val="bg2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2108812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ram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EAFCAD8-0916-AF46-1471-030E4128E2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8386354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0"/>
                  <a:alpha val="0"/>
                </a:schemeClr>
              </a:gs>
              <a:gs pos="95000">
                <a:srgbClr val="000000">
                  <a:alpha val="70000"/>
                </a:srgb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n-US" sz="1200" b="1">
              <a:solidFill>
                <a:schemeClr val="tx1"/>
              </a:solidFill>
            </a:endParaRP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632E76BF-46D5-8E94-88AA-4783DD302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89762" y="4436485"/>
            <a:ext cx="4907628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edit master subtitle style</a:t>
            </a:r>
            <a:endParaRPr lang="en-US" dirty="0"/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1F7B1FDC-B90E-6693-A750-B9BA4B535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9762" y="2698751"/>
            <a:ext cx="4906009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" panose="02000503020000020004" pitchFamily="2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0" name="Text Placeholder 288">
            <a:extLst>
              <a:ext uri="{FF2B5EF4-FFF2-40B4-BE49-F238E27FC236}">
                <a16:creationId xmlns:a16="http://schemas.microsoft.com/office/drawing/2014/main" id="{1673B89D-F206-B9D2-CDB7-BDE045C744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89762" y="5047485"/>
            <a:ext cx="4906010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30B5BDB1-ABE4-6C1A-A636-E9D325F7D597}"/>
              </a:ext>
            </a:extLst>
          </p:cNvPr>
          <p:cNvGrpSpPr/>
          <p:nvPr userDrawn="1"/>
        </p:nvGrpSpPr>
        <p:grpSpPr>
          <a:xfrm>
            <a:off x="485774" y="1291008"/>
            <a:ext cx="5706110" cy="4360545"/>
            <a:chOff x="485774" y="1291008"/>
            <a:chExt cx="5706110" cy="4360545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F7E50E80-DFF0-E065-898F-1AFD970459B6}"/>
                </a:ext>
              </a:extLst>
            </p:cNvPr>
            <p:cNvSpPr/>
            <p:nvPr userDrawn="1"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90AAC841-3D56-6842-04D1-F0B7D973D86D}"/>
                </a:ext>
              </a:extLst>
            </p:cNvPr>
            <p:cNvSpPr/>
            <p:nvPr userDrawn="1"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gradFill flip="none" rotWithShape="1">
              <a:gsLst>
                <a:gs pos="39000">
                  <a:srgbClr val="FFE600"/>
                </a:gs>
                <a:gs pos="68000">
                  <a:srgbClr val="C5FD45"/>
                </a:gs>
                <a:gs pos="100000">
                  <a:srgbClr val="80FBFD"/>
                </a:gs>
              </a:gsLst>
              <a:lin ang="18720000" scaled="0"/>
              <a:tileRect/>
            </a:gradFill>
            <a:ln w="81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FCB428B8-9D15-8754-5228-50D1CDED59D4}"/>
              </a:ext>
            </a:extLst>
          </p:cNvPr>
          <p:cNvGrpSpPr/>
          <p:nvPr userDrawn="1"/>
        </p:nvGrpSpPr>
        <p:grpSpPr>
          <a:xfrm>
            <a:off x="485775" y="6164633"/>
            <a:ext cx="4940935" cy="318770"/>
            <a:chOff x="485775" y="6164633"/>
            <a:chExt cx="4940935" cy="318770"/>
          </a:xfrm>
        </p:grpSpPr>
        <p:sp>
          <p:nvSpPr>
            <p:cNvPr id="4" name="Freeform 23">
              <a:extLst>
                <a:ext uri="{FF2B5EF4-FFF2-40B4-BE49-F238E27FC236}">
                  <a16:creationId xmlns:a16="http://schemas.microsoft.com/office/drawing/2014/main" id="{DABE5942-11DC-26F6-D516-AA89EB127611}"/>
                </a:ext>
              </a:extLst>
            </p:cNvPr>
            <p:cNvSpPr/>
            <p:nvPr userDrawn="1"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5" name="Freeform 24">
              <a:extLst>
                <a:ext uri="{FF2B5EF4-FFF2-40B4-BE49-F238E27FC236}">
                  <a16:creationId xmlns:a16="http://schemas.microsoft.com/office/drawing/2014/main" id="{05EF7429-9EA5-A77D-C1E8-780C689FEFED}"/>
                </a:ext>
              </a:extLst>
            </p:cNvPr>
            <p:cNvSpPr/>
            <p:nvPr userDrawn="1"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chemeClr val="bg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1F71768-B5BE-EB31-9B39-6306726851A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562024" y="5167683"/>
            <a:ext cx="1220400" cy="1285398"/>
            <a:chOff x="3913438" y="-99392"/>
            <a:chExt cx="6512821" cy="6859693"/>
          </a:xfrm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569D4A47-109F-97A9-8BB7-695E2DDB88C4}"/>
                </a:ext>
              </a:extLst>
            </p:cNvPr>
            <p:cNvSpPr/>
            <p:nvPr/>
          </p:nvSpPr>
          <p:spPr>
            <a:xfrm>
              <a:off x="5319751" y="-99392"/>
              <a:ext cx="4303606" cy="1570696"/>
            </a:xfrm>
            <a:custGeom>
              <a:avLst/>
              <a:gdLst>
                <a:gd name="connsiteX0" fmla="*/ 4303607 w 4303606"/>
                <a:gd name="connsiteY0" fmla="*/ 0 h 1570696"/>
                <a:gd name="connsiteX1" fmla="*/ 0 w 4303606"/>
                <a:gd name="connsiteY1" fmla="*/ 1570697 h 1570696"/>
                <a:gd name="connsiteX2" fmla="*/ 4303607 w 4303606"/>
                <a:gd name="connsiteY2" fmla="*/ 810521 h 1570696"/>
                <a:gd name="connsiteX3" fmla="*/ 4303607 w 4303606"/>
                <a:gd name="connsiteY3" fmla="*/ 0 h 1570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03606" h="1570696">
                  <a:moveTo>
                    <a:pt x="4303607" y="0"/>
                  </a:moveTo>
                  <a:lnTo>
                    <a:pt x="0" y="1570697"/>
                  </a:lnTo>
                  <a:lnTo>
                    <a:pt x="4303607" y="810521"/>
                  </a:lnTo>
                  <a:lnTo>
                    <a:pt x="4303607" y="0"/>
                  </a:lnTo>
                  <a:close/>
                </a:path>
              </a:pathLst>
            </a:custGeom>
            <a:solidFill>
              <a:srgbClr val="FFE600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4B5D0788-0739-0A60-6682-4C9C5F88BC55}"/>
                </a:ext>
              </a:extLst>
            </p:cNvPr>
            <p:cNvSpPr/>
            <p:nvPr/>
          </p:nvSpPr>
          <p:spPr>
            <a:xfrm>
              <a:off x="5357395" y="2124345"/>
              <a:ext cx="3613052" cy="2176910"/>
            </a:xfrm>
            <a:custGeom>
              <a:avLst/>
              <a:gdLst>
                <a:gd name="connsiteX0" fmla="*/ 652845 w 3613052"/>
                <a:gd name="connsiteY0" fmla="*/ 1676205 h 2176910"/>
                <a:gd name="connsiteX1" fmla="*/ 1741463 w 3613052"/>
                <a:gd name="connsiteY1" fmla="*/ 1676205 h 2176910"/>
                <a:gd name="connsiteX2" fmla="*/ 1741463 w 3613052"/>
                <a:gd name="connsiteY2" fmla="*/ 2176910 h 2176910"/>
                <a:gd name="connsiteX3" fmla="*/ 0 w 3613052"/>
                <a:gd name="connsiteY3" fmla="*/ 2176910 h 2176910"/>
                <a:gd name="connsiteX4" fmla="*/ 0 w 3613052"/>
                <a:gd name="connsiteY4" fmla="*/ 0 h 2176910"/>
                <a:gd name="connsiteX5" fmla="*/ 1234766 w 3613052"/>
                <a:gd name="connsiteY5" fmla="*/ 0 h 2176910"/>
                <a:gd name="connsiteX6" fmla="*/ 1523675 w 3613052"/>
                <a:gd name="connsiteY6" fmla="*/ 500706 h 2176910"/>
                <a:gd name="connsiteX7" fmla="*/ 652910 w 3613052"/>
                <a:gd name="connsiteY7" fmla="*/ 500706 h 2176910"/>
                <a:gd name="connsiteX8" fmla="*/ 652910 w 3613052"/>
                <a:gd name="connsiteY8" fmla="*/ 859953 h 2176910"/>
                <a:gd name="connsiteX9" fmla="*/ 1440050 w 3613052"/>
                <a:gd name="connsiteY9" fmla="*/ 859953 h 2176910"/>
                <a:gd name="connsiteX10" fmla="*/ 1440050 w 3613052"/>
                <a:gd name="connsiteY10" fmla="*/ 1317022 h 2176910"/>
                <a:gd name="connsiteX11" fmla="*/ 652910 w 3613052"/>
                <a:gd name="connsiteY11" fmla="*/ 1317022 h 2176910"/>
                <a:gd name="connsiteX12" fmla="*/ 652910 w 3613052"/>
                <a:gd name="connsiteY12" fmla="*/ 1676205 h 2176910"/>
                <a:gd name="connsiteX13" fmla="*/ 2900485 w 3613052"/>
                <a:gd name="connsiteY13" fmla="*/ 0 h 2176910"/>
                <a:gd name="connsiteX14" fmla="*/ 2530687 w 3613052"/>
                <a:gd name="connsiteY14" fmla="*/ 710418 h 2176910"/>
                <a:gd name="connsiteX15" fmla="*/ 2161801 w 3613052"/>
                <a:gd name="connsiteY15" fmla="*/ 0 h 2176910"/>
                <a:gd name="connsiteX16" fmla="*/ 1439985 w 3613052"/>
                <a:gd name="connsiteY16" fmla="*/ 0 h 2176910"/>
                <a:gd name="connsiteX17" fmla="*/ 2200552 w 3613052"/>
                <a:gd name="connsiteY17" fmla="*/ 1317022 h 2176910"/>
                <a:gd name="connsiteX18" fmla="*/ 2200552 w 3613052"/>
                <a:gd name="connsiteY18" fmla="*/ 2176910 h 2176910"/>
                <a:gd name="connsiteX19" fmla="*/ 2851443 w 3613052"/>
                <a:gd name="connsiteY19" fmla="*/ 2176910 h 2176910"/>
                <a:gd name="connsiteX20" fmla="*/ 2851443 w 3613052"/>
                <a:gd name="connsiteY20" fmla="*/ 1317022 h 2176910"/>
                <a:gd name="connsiteX21" fmla="*/ 3613053 w 3613052"/>
                <a:gd name="connsiteY21" fmla="*/ 0 h 2176910"/>
                <a:gd name="connsiteX22" fmla="*/ 2900485 w 3613052"/>
                <a:gd name="connsiteY22" fmla="*/ 0 h 2176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613052" h="2176910">
                  <a:moveTo>
                    <a:pt x="652845" y="1676205"/>
                  </a:moveTo>
                  <a:lnTo>
                    <a:pt x="1741463" y="1676205"/>
                  </a:lnTo>
                  <a:lnTo>
                    <a:pt x="1741463" y="2176910"/>
                  </a:lnTo>
                  <a:lnTo>
                    <a:pt x="0" y="2176910"/>
                  </a:lnTo>
                  <a:lnTo>
                    <a:pt x="0" y="0"/>
                  </a:lnTo>
                  <a:lnTo>
                    <a:pt x="1234766" y="0"/>
                  </a:lnTo>
                  <a:lnTo>
                    <a:pt x="1523675" y="500706"/>
                  </a:lnTo>
                  <a:lnTo>
                    <a:pt x="652910" y="500706"/>
                  </a:lnTo>
                  <a:lnTo>
                    <a:pt x="652910" y="859953"/>
                  </a:lnTo>
                  <a:lnTo>
                    <a:pt x="1440050" y="859953"/>
                  </a:lnTo>
                  <a:lnTo>
                    <a:pt x="1440050" y="1317022"/>
                  </a:lnTo>
                  <a:lnTo>
                    <a:pt x="652910" y="1317022"/>
                  </a:lnTo>
                  <a:lnTo>
                    <a:pt x="652910" y="1676205"/>
                  </a:lnTo>
                  <a:close/>
                  <a:moveTo>
                    <a:pt x="2900485" y="0"/>
                  </a:moveTo>
                  <a:lnTo>
                    <a:pt x="2530687" y="710418"/>
                  </a:lnTo>
                  <a:lnTo>
                    <a:pt x="2161801" y="0"/>
                  </a:lnTo>
                  <a:lnTo>
                    <a:pt x="1439985" y="0"/>
                  </a:lnTo>
                  <a:lnTo>
                    <a:pt x="2200552" y="1317022"/>
                  </a:lnTo>
                  <a:lnTo>
                    <a:pt x="2200552" y="2176910"/>
                  </a:lnTo>
                  <a:lnTo>
                    <a:pt x="2851443" y="2176910"/>
                  </a:lnTo>
                  <a:lnTo>
                    <a:pt x="2851443" y="1317022"/>
                  </a:lnTo>
                  <a:lnTo>
                    <a:pt x="3613053" y="0"/>
                  </a:lnTo>
                  <a:lnTo>
                    <a:pt x="2900485" y="0"/>
                  </a:lnTo>
                  <a:close/>
                </a:path>
              </a:pathLst>
            </a:custGeom>
            <a:solidFill>
              <a:schemeClr val="bg2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DAB39C3E-36D1-33F0-6E71-5D756B69DE0B}"/>
                </a:ext>
              </a:extLst>
            </p:cNvPr>
            <p:cNvSpPr/>
            <p:nvPr/>
          </p:nvSpPr>
          <p:spPr>
            <a:xfrm>
              <a:off x="3913438" y="5111711"/>
              <a:ext cx="6512821" cy="1648590"/>
            </a:xfrm>
            <a:custGeom>
              <a:avLst/>
              <a:gdLst>
                <a:gd name="connsiteX0" fmla="*/ 5071143 w 6512821"/>
                <a:gd name="connsiteY0" fmla="*/ 1396740 h 1648590"/>
                <a:gd name="connsiteX1" fmla="*/ 5069124 w 6512821"/>
                <a:gd name="connsiteY1" fmla="*/ 1438552 h 1648590"/>
                <a:gd name="connsiteX2" fmla="*/ 4777545 w 6512821"/>
                <a:gd name="connsiteY2" fmla="*/ 1438552 h 1648590"/>
                <a:gd name="connsiteX3" fmla="*/ 4880513 w 6512821"/>
                <a:gd name="connsiteY3" fmla="*/ 1533378 h 1648590"/>
                <a:gd name="connsiteX4" fmla="*/ 4964137 w 6512821"/>
                <a:gd name="connsiteY4" fmla="*/ 1499707 h 1648590"/>
                <a:gd name="connsiteX5" fmla="*/ 5049781 w 6512821"/>
                <a:gd name="connsiteY5" fmla="*/ 1572065 h 1648590"/>
                <a:gd name="connsiteX6" fmla="*/ 4875433 w 6512821"/>
                <a:gd name="connsiteY6" fmla="*/ 1648525 h 1648590"/>
                <a:gd name="connsiteX7" fmla="*/ 4654192 w 6512821"/>
                <a:gd name="connsiteY7" fmla="*/ 1398759 h 1648590"/>
                <a:gd name="connsiteX8" fmla="*/ 4867292 w 6512821"/>
                <a:gd name="connsiteY8" fmla="*/ 1146908 h 1648590"/>
                <a:gd name="connsiteX9" fmla="*/ 5071208 w 6512821"/>
                <a:gd name="connsiteY9" fmla="*/ 1396675 h 1648590"/>
                <a:gd name="connsiteX10" fmla="*/ 4779564 w 6512821"/>
                <a:gd name="connsiteY10" fmla="*/ 1344767 h 1648590"/>
                <a:gd name="connsiteX11" fmla="*/ 4950851 w 6512821"/>
                <a:gd name="connsiteY11" fmla="*/ 1344767 h 1648590"/>
                <a:gd name="connsiteX12" fmla="*/ 4863189 w 6512821"/>
                <a:gd name="connsiteY12" fmla="*/ 1254044 h 1648590"/>
                <a:gd name="connsiteX13" fmla="*/ 4779564 w 6512821"/>
                <a:gd name="connsiteY13" fmla="*/ 1344767 h 1648590"/>
                <a:gd name="connsiteX14" fmla="*/ 6512756 w 6512821"/>
                <a:gd name="connsiteY14" fmla="*/ 1396740 h 1648590"/>
                <a:gd name="connsiteX15" fmla="*/ 6510737 w 6512821"/>
                <a:gd name="connsiteY15" fmla="*/ 1438552 h 1648590"/>
                <a:gd name="connsiteX16" fmla="*/ 6219158 w 6512821"/>
                <a:gd name="connsiteY16" fmla="*/ 1438552 h 1648590"/>
                <a:gd name="connsiteX17" fmla="*/ 6322126 w 6512821"/>
                <a:gd name="connsiteY17" fmla="*/ 1533378 h 1648590"/>
                <a:gd name="connsiteX18" fmla="*/ 6405751 w 6512821"/>
                <a:gd name="connsiteY18" fmla="*/ 1499707 h 1648590"/>
                <a:gd name="connsiteX19" fmla="*/ 6491394 w 6512821"/>
                <a:gd name="connsiteY19" fmla="*/ 1572065 h 1648590"/>
                <a:gd name="connsiteX20" fmla="*/ 6317046 w 6512821"/>
                <a:gd name="connsiteY20" fmla="*/ 1648525 h 1648590"/>
                <a:gd name="connsiteX21" fmla="*/ 6095805 w 6512821"/>
                <a:gd name="connsiteY21" fmla="*/ 1398759 h 1648590"/>
                <a:gd name="connsiteX22" fmla="*/ 6308905 w 6512821"/>
                <a:gd name="connsiteY22" fmla="*/ 1146908 h 1648590"/>
                <a:gd name="connsiteX23" fmla="*/ 6512821 w 6512821"/>
                <a:gd name="connsiteY23" fmla="*/ 1396675 h 1648590"/>
                <a:gd name="connsiteX24" fmla="*/ 6221177 w 6512821"/>
                <a:gd name="connsiteY24" fmla="*/ 1344767 h 1648590"/>
                <a:gd name="connsiteX25" fmla="*/ 6392465 w 6512821"/>
                <a:gd name="connsiteY25" fmla="*/ 1344767 h 1648590"/>
                <a:gd name="connsiteX26" fmla="*/ 6304802 w 6512821"/>
                <a:gd name="connsiteY26" fmla="*/ 1254044 h 1648590"/>
                <a:gd name="connsiteX27" fmla="*/ 6221177 w 6512821"/>
                <a:gd name="connsiteY27" fmla="*/ 1344767 h 1648590"/>
                <a:gd name="connsiteX28" fmla="*/ 5978509 w 6512821"/>
                <a:gd name="connsiteY28" fmla="*/ 1467143 h 1648590"/>
                <a:gd name="connsiteX29" fmla="*/ 6058031 w 6512821"/>
                <a:gd name="connsiteY29" fmla="*/ 1542561 h 1648590"/>
                <a:gd name="connsiteX30" fmla="*/ 5866359 w 6512821"/>
                <a:gd name="connsiteY30" fmla="*/ 1648590 h 1648590"/>
                <a:gd name="connsiteX31" fmla="*/ 5637954 w 6512821"/>
                <a:gd name="connsiteY31" fmla="*/ 1398823 h 1648590"/>
                <a:gd name="connsiteX32" fmla="*/ 5868378 w 6512821"/>
                <a:gd name="connsiteY32" fmla="*/ 1146973 h 1648590"/>
                <a:gd name="connsiteX33" fmla="*/ 6056989 w 6512821"/>
                <a:gd name="connsiteY33" fmla="*/ 1250983 h 1648590"/>
                <a:gd name="connsiteX34" fmla="*/ 5975448 w 6512821"/>
                <a:gd name="connsiteY34" fmla="*/ 1333565 h 1648590"/>
                <a:gd name="connsiteX35" fmla="*/ 5867401 w 6512821"/>
                <a:gd name="connsiteY35" fmla="*/ 1266288 h 1648590"/>
                <a:gd name="connsiteX36" fmla="*/ 5766452 w 6512821"/>
                <a:gd name="connsiteY36" fmla="*/ 1396804 h 1648590"/>
                <a:gd name="connsiteX37" fmla="*/ 5868378 w 6512821"/>
                <a:gd name="connsiteY37" fmla="*/ 1528299 h 1648590"/>
                <a:gd name="connsiteX38" fmla="*/ 5978509 w 6512821"/>
                <a:gd name="connsiteY38" fmla="*/ 1467143 h 1648590"/>
                <a:gd name="connsiteX39" fmla="*/ 4869246 w 6512821"/>
                <a:gd name="connsiteY39" fmla="*/ 667825 h 1648590"/>
                <a:gd name="connsiteX40" fmla="*/ 4750973 w 6512821"/>
                <a:gd name="connsiteY40" fmla="*/ 667825 h 1648590"/>
                <a:gd name="connsiteX41" fmla="*/ 4750973 w 6512821"/>
                <a:gd name="connsiteY41" fmla="*/ 634153 h 1648590"/>
                <a:gd name="connsiteX42" fmla="*/ 4638822 w 6512821"/>
                <a:gd name="connsiteY42" fmla="*/ 677984 h 1648590"/>
                <a:gd name="connsiteX43" fmla="*/ 4467535 w 6512821"/>
                <a:gd name="connsiteY43" fmla="*/ 458763 h 1648590"/>
                <a:gd name="connsiteX44" fmla="*/ 4467535 w 6512821"/>
                <a:gd name="connsiteY44" fmla="*/ 186527 h 1648590"/>
                <a:gd name="connsiteX45" fmla="*/ 4587827 w 6512821"/>
                <a:gd name="connsiteY45" fmla="*/ 186527 h 1648590"/>
                <a:gd name="connsiteX46" fmla="*/ 4587827 w 6512821"/>
                <a:gd name="connsiteY46" fmla="*/ 448538 h 1648590"/>
                <a:gd name="connsiteX47" fmla="*/ 4668390 w 6512821"/>
                <a:gd name="connsiteY47" fmla="*/ 562708 h 1648590"/>
                <a:gd name="connsiteX48" fmla="*/ 4748954 w 6512821"/>
                <a:gd name="connsiteY48" fmla="*/ 452576 h 1648590"/>
                <a:gd name="connsiteX49" fmla="*/ 4748954 w 6512821"/>
                <a:gd name="connsiteY49" fmla="*/ 186462 h 1648590"/>
                <a:gd name="connsiteX50" fmla="*/ 4869246 w 6512821"/>
                <a:gd name="connsiteY50" fmla="*/ 186462 h 1648590"/>
                <a:gd name="connsiteX51" fmla="*/ 4869246 w 6512821"/>
                <a:gd name="connsiteY51" fmla="*/ 667695 h 1648590"/>
                <a:gd name="connsiteX52" fmla="*/ 5244449 w 6512821"/>
                <a:gd name="connsiteY52" fmla="*/ 527083 h 1648590"/>
                <a:gd name="connsiteX53" fmla="*/ 5227125 w 6512821"/>
                <a:gd name="connsiteY53" fmla="*/ 649458 h 1648590"/>
                <a:gd name="connsiteX54" fmla="*/ 5128261 w 6512821"/>
                <a:gd name="connsiteY54" fmla="*/ 677984 h 1648590"/>
                <a:gd name="connsiteX55" fmla="*/ 4997744 w 6512821"/>
                <a:gd name="connsiteY55" fmla="*/ 535224 h 1648590"/>
                <a:gd name="connsiteX56" fmla="*/ 4997744 w 6512821"/>
                <a:gd name="connsiteY56" fmla="*/ 301739 h 1648590"/>
                <a:gd name="connsiteX57" fmla="*/ 4928447 w 6512821"/>
                <a:gd name="connsiteY57" fmla="*/ 301739 h 1648590"/>
                <a:gd name="connsiteX58" fmla="*/ 4928447 w 6512821"/>
                <a:gd name="connsiteY58" fmla="*/ 186527 h 1648590"/>
                <a:gd name="connsiteX59" fmla="*/ 4997744 w 6512821"/>
                <a:gd name="connsiteY59" fmla="*/ 186527 h 1648590"/>
                <a:gd name="connsiteX60" fmla="*/ 4997744 w 6512821"/>
                <a:gd name="connsiteY60" fmla="*/ 61155 h 1648590"/>
                <a:gd name="connsiteX61" fmla="*/ 5118035 w 6512821"/>
                <a:gd name="connsiteY61" fmla="*/ 0 h 1648590"/>
                <a:gd name="connsiteX62" fmla="*/ 5118035 w 6512821"/>
                <a:gd name="connsiteY62" fmla="*/ 186592 h 1648590"/>
                <a:gd name="connsiteX63" fmla="*/ 5232205 w 6512821"/>
                <a:gd name="connsiteY63" fmla="*/ 186592 h 1648590"/>
                <a:gd name="connsiteX64" fmla="*/ 5232205 w 6512821"/>
                <a:gd name="connsiteY64" fmla="*/ 301804 h 1648590"/>
                <a:gd name="connsiteX65" fmla="*/ 5118035 w 6512821"/>
                <a:gd name="connsiteY65" fmla="*/ 301804 h 1648590"/>
                <a:gd name="connsiteX66" fmla="*/ 5118035 w 6512821"/>
                <a:gd name="connsiteY66" fmla="*/ 503701 h 1648590"/>
                <a:gd name="connsiteX67" fmla="*/ 5164928 w 6512821"/>
                <a:gd name="connsiteY67" fmla="*/ 560819 h 1648590"/>
                <a:gd name="connsiteX68" fmla="*/ 5244449 w 6512821"/>
                <a:gd name="connsiteY68" fmla="*/ 527148 h 1648590"/>
                <a:gd name="connsiteX69" fmla="*/ 3417407 w 6512821"/>
                <a:gd name="connsiteY69" fmla="*/ 667825 h 1648590"/>
                <a:gd name="connsiteX70" fmla="*/ 3297116 w 6512821"/>
                <a:gd name="connsiteY70" fmla="*/ 667825 h 1648590"/>
                <a:gd name="connsiteX71" fmla="*/ 3297116 w 6512821"/>
                <a:gd name="connsiteY71" fmla="*/ 405814 h 1648590"/>
                <a:gd name="connsiteX72" fmla="*/ 3215575 w 6512821"/>
                <a:gd name="connsiteY72" fmla="*/ 292621 h 1648590"/>
                <a:gd name="connsiteX73" fmla="*/ 3132993 w 6512821"/>
                <a:gd name="connsiteY73" fmla="*/ 402753 h 1648590"/>
                <a:gd name="connsiteX74" fmla="*/ 3132993 w 6512821"/>
                <a:gd name="connsiteY74" fmla="*/ 667825 h 1648590"/>
                <a:gd name="connsiteX75" fmla="*/ 3012701 w 6512821"/>
                <a:gd name="connsiteY75" fmla="*/ 667825 h 1648590"/>
                <a:gd name="connsiteX76" fmla="*/ 3012701 w 6512821"/>
                <a:gd name="connsiteY76" fmla="*/ 61221 h 1648590"/>
                <a:gd name="connsiteX77" fmla="*/ 3132993 w 6512821"/>
                <a:gd name="connsiteY77" fmla="*/ 65 h 1648590"/>
                <a:gd name="connsiteX78" fmla="*/ 3132993 w 6512821"/>
                <a:gd name="connsiteY78" fmla="*/ 220264 h 1648590"/>
                <a:gd name="connsiteX79" fmla="*/ 3246186 w 6512821"/>
                <a:gd name="connsiteY79" fmla="*/ 176432 h 1648590"/>
                <a:gd name="connsiteX80" fmla="*/ 3417473 w 6512821"/>
                <a:gd name="connsiteY80" fmla="*/ 396631 h 1648590"/>
                <a:gd name="connsiteX81" fmla="*/ 3417473 w 6512821"/>
                <a:gd name="connsiteY81" fmla="*/ 667825 h 1648590"/>
                <a:gd name="connsiteX82" fmla="*/ 5564554 w 6512821"/>
                <a:gd name="connsiteY82" fmla="*/ 1638365 h 1648590"/>
                <a:gd name="connsiteX83" fmla="*/ 5440160 w 6512821"/>
                <a:gd name="connsiteY83" fmla="*/ 1638365 h 1648590"/>
                <a:gd name="connsiteX84" fmla="*/ 5440160 w 6512821"/>
                <a:gd name="connsiteY84" fmla="*/ 1376355 h 1648590"/>
                <a:gd name="connsiteX85" fmla="*/ 5357577 w 6512821"/>
                <a:gd name="connsiteY85" fmla="*/ 1264204 h 1648590"/>
                <a:gd name="connsiteX86" fmla="*/ 5273952 w 6512821"/>
                <a:gd name="connsiteY86" fmla="*/ 1373293 h 1648590"/>
                <a:gd name="connsiteX87" fmla="*/ 5273952 w 6512821"/>
                <a:gd name="connsiteY87" fmla="*/ 1638365 h 1648590"/>
                <a:gd name="connsiteX88" fmla="*/ 5149558 w 6512821"/>
                <a:gd name="connsiteY88" fmla="*/ 1638365 h 1648590"/>
                <a:gd name="connsiteX89" fmla="*/ 5149558 w 6512821"/>
                <a:gd name="connsiteY89" fmla="*/ 1157133 h 1648590"/>
                <a:gd name="connsiteX90" fmla="*/ 5273952 w 6512821"/>
                <a:gd name="connsiteY90" fmla="*/ 1157133 h 1648590"/>
                <a:gd name="connsiteX91" fmla="*/ 5273952 w 6512821"/>
                <a:gd name="connsiteY91" fmla="*/ 1189762 h 1648590"/>
                <a:gd name="connsiteX92" fmla="*/ 5391183 w 6512821"/>
                <a:gd name="connsiteY92" fmla="*/ 1146973 h 1648590"/>
                <a:gd name="connsiteX93" fmla="*/ 5564490 w 6512821"/>
                <a:gd name="connsiteY93" fmla="*/ 1366195 h 1648590"/>
                <a:gd name="connsiteX94" fmla="*/ 5564490 w 6512821"/>
                <a:gd name="connsiteY94" fmla="*/ 1638430 h 1648590"/>
                <a:gd name="connsiteX95" fmla="*/ 4008772 w 6512821"/>
                <a:gd name="connsiteY95" fmla="*/ 1115386 h 1648590"/>
                <a:gd name="connsiteX96" fmla="*/ 4080152 w 6512821"/>
                <a:gd name="connsiteY96" fmla="*/ 1044005 h 1648590"/>
                <a:gd name="connsiteX97" fmla="*/ 4008772 w 6512821"/>
                <a:gd name="connsiteY97" fmla="*/ 972624 h 1648590"/>
                <a:gd name="connsiteX98" fmla="*/ 3937391 w 6512821"/>
                <a:gd name="connsiteY98" fmla="*/ 1044005 h 1648590"/>
                <a:gd name="connsiteX99" fmla="*/ 4008772 w 6512821"/>
                <a:gd name="connsiteY99" fmla="*/ 1115386 h 1648590"/>
                <a:gd name="connsiteX100" fmla="*/ 829864 w 6512821"/>
                <a:gd name="connsiteY100" fmla="*/ 1115386 h 1648590"/>
                <a:gd name="connsiteX101" fmla="*/ 901244 w 6512821"/>
                <a:gd name="connsiteY101" fmla="*/ 1044005 h 1648590"/>
                <a:gd name="connsiteX102" fmla="*/ 829864 w 6512821"/>
                <a:gd name="connsiteY102" fmla="*/ 972624 h 1648590"/>
                <a:gd name="connsiteX103" fmla="*/ 758483 w 6512821"/>
                <a:gd name="connsiteY103" fmla="*/ 1044005 h 1648590"/>
                <a:gd name="connsiteX104" fmla="*/ 829864 w 6512821"/>
                <a:gd name="connsiteY104" fmla="*/ 1115386 h 1648590"/>
                <a:gd name="connsiteX105" fmla="*/ 6512756 w 6512821"/>
                <a:gd name="connsiteY105" fmla="*/ 426134 h 1648590"/>
                <a:gd name="connsiteX106" fmla="*/ 6510737 w 6512821"/>
                <a:gd name="connsiteY106" fmla="*/ 467946 h 1648590"/>
                <a:gd name="connsiteX107" fmla="*/ 6219158 w 6512821"/>
                <a:gd name="connsiteY107" fmla="*/ 467946 h 1648590"/>
                <a:gd name="connsiteX108" fmla="*/ 6322126 w 6512821"/>
                <a:gd name="connsiteY108" fmla="*/ 562773 h 1648590"/>
                <a:gd name="connsiteX109" fmla="*/ 6405751 w 6512821"/>
                <a:gd name="connsiteY109" fmla="*/ 529102 h 1648590"/>
                <a:gd name="connsiteX110" fmla="*/ 6491394 w 6512821"/>
                <a:gd name="connsiteY110" fmla="*/ 601459 h 1648590"/>
                <a:gd name="connsiteX111" fmla="*/ 6317046 w 6512821"/>
                <a:gd name="connsiteY111" fmla="*/ 677919 h 1648590"/>
                <a:gd name="connsiteX112" fmla="*/ 6095805 w 6512821"/>
                <a:gd name="connsiteY112" fmla="*/ 428153 h 1648590"/>
                <a:gd name="connsiteX113" fmla="*/ 6308905 w 6512821"/>
                <a:gd name="connsiteY113" fmla="*/ 176302 h 1648590"/>
                <a:gd name="connsiteX114" fmla="*/ 6512821 w 6512821"/>
                <a:gd name="connsiteY114" fmla="*/ 426069 h 1648590"/>
                <a:gd name="connsiteX115" fmla="*/ 6221177 w 6512821"/>
                <a:gd name="connsiteY115" fmla="*/ 374162 h 1648590"/>
                <a:gd name="connsiteX116" fmla="*/ 6392465 w 6512821"/>
                <a:gd name="connsiteY116" fmla="*/ 374162 h 1648590"/>
                <a:gd name="connsiteX117" fmla="*/ 6304802 w 6512821"/>
                <a:gd name="connsiteY117" fmla="*/ 283438 h 1648590"/>
                <a:gd name="connsiteX118" fmla="*/ 6221177 w 6512821"/>
                <a:gd name="connsiteY118" fmla="*/ 374162 h 1648590"/>
                <a:gd name="connsiteX119" fmla="*/ 5702235 w 6512821"/>
                <a:gd name="connsiteY119" fmla="*/ 667825 h 1648590"/>
                <a:gd name="connsiteX120" fmla="*/ 5583963 w 6512821"/>
                <a:gd name="connsiteY120" fmla="*/ 667825 h 1648590"/>
                <a:gd name="connsiteX121" fmla="*/ 5583963 w 6512821"/>
                <a:gd name="connsiteY121" fmla="*/ 634153 h 1648590"/>
                <a:gd name="connsiteX122" fmla="*/ 5471812 w 6512821"/>
                <a:gd name="connsiteY122" fmla="*/ 677984 h 1648590"/>
                <a:gd name="connsiteX123" fmla="*/ 5300525 w 6512821"/>
                <a:gd name="connsiteY123" fmla="*/ 458763 h 1648590"/>
                <a:gd name="connsiteX124" fmla="*/ 5300525 w 6512821"/>
                <a:gd name="connsiteY124" fmla="*/ 186527 h 1648590"/>
                <a:gd name="connsiteX125" fmla="*/ 5420817 w 6512821"/>
                <a:gd name="connsiteY125" fmla="*/ 186527 h 1648590"/>
                <a:gd name="connsiteX126" fmla="*/ 5420817 w 6512821"/>
                <a:gd name="connsiteY126" fmla="*/ 448538 h 1648590"/>
                <a:gd name="connsiteX127" fmla="*/ 5501380 w 6512821"/>
                <a:gd name="connsiteY127" fmla="*/ 562708 h 1648590"/>
                <a:gd name="connsiteX128" fmla="*/ 5581944 w 6512821"/>
                <a:gd name="connsiteY128" fmla="*/ 452576 h 1648590"/>
                <a:gd name="connsiteX129" fmla="*/ 5581944 w 6512821"/>
                <a:gd name="connsiteY129" fmla="*/ 186462 h 1648590"/>
                <a:gd name="connsiteX130" fmla="*/ 5702235 w 6512821"/>
                <a:gd name="connsiteY130" fmla="*/ 186462 h 1648590"/>
                <a:gd name="connsiteX131" fmla="*/ 5702235 w 6512821"/>
                <a:gd name="connsiteY131" fmla="*/ 667695 h 1648590"/>
                <a:gd name="connsiteX132" fmla="*/ 3895579 w 6512821"/>
                <a:gd name="connsiteY132" fmla="*/ 426134 h 1648590"/>
                <a:gd name="connsiteX133" fmla="*/ 3893560 w 6512821"/>
                <a:gd name="connsiteY133" fmla="*/ 467946 h 1648590"/>
                <a:gd name="connsiteX134" fmla="*/ 3601981 w 6512821"/>
                <a:gd name="connsiteY134" fmla="*/ 467946 h 1648590"/>
                <a:gd name="connsiteX135" fmla="*/ 3704949 w 6512821"/>
                <a:gd name="connsiteY135" fmla="*/ 562773 h 1648590"/>
                <a:gd name="connsiteX136" fmla="*/ 3788573 w 6512821"/>
                <a:gd name="connsiteY136" fmla="*/ 529102 h 1648590"/>
                <a:gd name="connsiteX137" fmla="*/ 3874217 w 6512821"/>
                <a:gd name="connsiteY137" fmla="*/ 601459 h 1648590"/>
                <a:gd name="connsiteX138" fmla="*/ 3699868 w 6512821"/>
                <a:gd name="connsiteY138" fmla="*/ 677919 h 1648590"/>
                <a:gd name="connsiteX139" fmla="*/ 3478628 w 6512821"/>
                <a:gd name="connsiteY139" fmla="*/ 428153 h 1648590"/>
                <a:gd name="connsiteX140" fmla="*/ 3691727 w 6512821"/>
                <a:gd name="connsiteY140" fmla="*/ 176302 h 1648590"/>
                <a:gd name="connsiteX141" fmla="*/ 3895644 w 6512821"/>
                <a:gd name="connsiteY141" fmla="*/ 426069 h 1648590"/>
                <a:gd name="connsiteX142" fmla="*/ 3604000 w 6512821"/>
                <a:gd name="connsiteY142" fmla="*/ 374162 h 1648590"/>
                <a:gd name="connsiteX143" fmla="*/ 3775287 w 6512821"/>
                <a:gd name="connsiteY143" fmla="*/ 374162 h 1648590"/>
                <a:gd name="connsiteX144" fmla="*/ 3687624 w 6512821"/>
                <a:gd name="connsiteY144" fmla="*/ 283438 h 1648590"/>
                <a:gd name="connsiteX145" fmla="*/ 3604000 w 6512821"/>
                <a:gd name="connsiteY145" fmla="*/ 374162 h 1648590"/>
                <a:gd name="connsiteX146" fmla="*/ 4579686 w 6512821"/>
                <a:gd name="connsiteY146" fmla="*/ 1638365 h 1648590"/>
                <a:gd name="connsiteX147" fmla="*/ 4455291 w 6512821"/>
                <a:gd name="connsiteY147" fmla="*/ 1638365 h 1648590"/>
                <a:gd name="connsiteX148" fmla="*/ 4455291 w 6512821"/>
                <a:gd name="connsiteY148" fmla="*/ 1606778 h 1648590"/>
                <a:gd name="connsiteX149" fmla="*/ 4346201 w 6512821"/>
                <a:gd name="connsiteY149" fmla="*/ 1648590 h 1648590"/>
                <a:gd name="connsiteX150" fmla="*/ 4148406 w 6512821"/>
                <a:gd name="connsiteY150" fmla="*/ 1393678 h 1648590"/>
                <a:gd name="connsiteX151" fmla="*/ 4343140 w 6512821"/>
                <a:gd name="connsiteY151" fmla="*/ 1146973 h 1648590"/>
                <a:gd name="connsiteX152" fmla="*/ 4455291 w 6512821"/>
                <a:gd name="connsiteY152" fmla="*/ 1185724 h 1648590"/>
                <a:gd name="connsiteX153" fmla="*/ 4455291 w 6512821"/>
                <a:gd name="connsiteY153" fmla="*/ 1031761 h 1648590"/>
                <a:gd name="connsiteX154" fmla="*/ 4579686 w 6512821"/>
                <a:gd name="connsiteY154" fmla="*/ 969564 h 1648590"/>
                <a:gd name="connsiteX155" fmla="*/ 4579686 w 6512821"/>
                <a:gd name="connsiteY155" fmla="*/ 1638365 h 1648590"/>
                <a:gd name="connsiteX156" fmla="*/ 4455356 w 6512821"/>
                <a:gd name="connsiteY156" fmla="*/ 1489547 h 1648590"/>
                <a:gd name="connsiteX157" fmla="*/ 4455356 w 6512821"/>
                <a:gd name="connsiteY157" fmla="*/ 1306016 h 1648590"/>
                <a:gd name="connsiteX158" fmla="*/ 4368670 w 6512821"/>
                <a:gd name="connsiteY158" fmla="*/ 1264204 h 1648590"/>
                <a:gd name="connsiteX159" fmla="*/ 4278924 w 6512821"/>
                <a:gd name="connsiteY159" fmla="*/ 1389575 h 1648590"/>
                <a:gd name="connsiteX160" fmla="*/ 4371731 w 6512821"/>
                <a:gd name="connsiteY160" fmla="*/ 1531294 h 1648590"/>
                <a:gd name="connsiteX161" fmla="*/ 4455356 w 6512821"/>
                <a:gd name="connsiteY161" fmla="*/ 1489482 h 1648590"/>
                <a:gd name="connsiteX162" fmla="*/ 3945532 w 6512821"/>
                <a:gd name="connsiteY162" fmla="*/ 1157198 h 1648590"/>
                <a:gd name="connsiteX163" fmla="*/ 3945532 w 6512821"/>
                <a:gd name="connsiteY163" fmla="*/ 1638430 h 1648590"/>
                <a:gd name="connsiteX164" fmla="*/ 4069927 w 6512821"/>
                <a:gd name="connsiteY164" fmla="*/ 1638430 h 1648590"/>
                <a:gd name="connsiteX165" fmla="*/ 4069927 w 6512821"/>
                <a:gd name="connsiteY165" fmla="*/ 1157198 h 1648590"/>
                <a:gd name="connsiteX166" fmla="*/ 3945532 w 6512821"/>
                <a:gd name="connsiteY166" fmla="*/ 1157198 h 1648590"/>
                <a:gd name="connsiteX167" fmla="*/ 3873175 w 6512821"/>
                <a:gd name="connsiteY167" fmla="*/ 985911 h 1648590"/>
                <a:gd name="connsiteX168" fmla="*/ 3873175 w 6512821"/>
                <a:gd name="connsiteY168" fmla="*/ 1085817 h 1648590"/>
                <a:gd name="connsiteX169" fmla="*/ 3812019 w 6512821"/>
                <a:gd name="connsiteY169" fmla="*/ 1076634 h 1648590"/>
                <a:gd name="connsiteX170" fmla="*/ 3760047 w 6512821"/>
                <a:gd name="connsiteY170" fmla="*/ 1118447 h 1648590"/>
                <a:gd name="connsiteX171" fmla="*/ 3760047 w 6512821"/>
                <a:gd name="connsiteY171" fmla="*/ 1157198 h 1648590"/>
                <a:gd name="connsiteX172" fmla="*/ 3863015 w 6512821"/>
                <a:gd name="connsiteY172" fmla="*/ 1157198 h 1648590"/>
                <a:gd name="connsiteX173" fmla="*/ 3863015 w 6512821"/>
                <a:gd name="connsiteY173" fmla="*/ 1273452 h 1648590"/>
                <a:gd name="connsiteX174" fmla="*/ 3760047 w 6512821"/>
                <a:gd name="connsiteY174" fmla="*/ 1273452 h 1648590"/>
                <a:gd name="connsiteX175" fmla="*/ 3760047 w 6512821"/>
                <a:gd name="connsiteY175" fmla="*/ 1638430 h 1648590"/>
                <a:gd name="connsiteX176" fmla="*/ 3635652 w 6512821"/>
                <a:gd name="connsiteY176" fmla="*/ 1638430 h 1648590"/>
                <a:gd name="connsiteX177" fmla="*/ 3635652 w 6512821"/>
                <a:gd name="connsiteY177" fmla="*/ 1273452 h 1648590"/>
                <a:gd name="connsiteX178" fmla="*/ 3568375 w 6512821"/>
                <a:gd name="connsiteY178" fmla="*/ 1273452 h 1648590"/>
                <a:gd name="connsiteX179" fmla="*/ 3568375 w 6512821"/>
                <a:gd name="connsiteY179" fmla="*/ 1157198 h 1648590"/>
                <a:gd name="connsiteX180" fmla="*/ 3635652 w 6512821"/>
                <a:gd name="connsiteY180" fmla="*/ 1157198 h 1648590"/>
                <a:gd name="connsiteX181" fmla="*/ 3635652 w 6512821"/>
                <a:gd name="connsiteY181" fmla="*/ 1099104 h 1648590"/>
                <a:gd name="connsiteX182" fmla="*/ 3782451 w 6512821"/>
                <a:gd name="connsiteY182" fmla="*/ 972690 h 1648590"/>
                <a:gd name="connsiteX183" fmla="*/ 3873175 w 6512821"/>
                <a:gd name="connsiteY183" fmla="*/ 985976 h 1648590"/>
                <a:gd name="connsiteX184" fmla="*/ 3507154 w 6512821"/>
                <a:gd name="connsiteY184" fmla="*/ 1638365 h 1648590"/>
                <a:gd name="connsiteX185" fmla="*/ 3382759 w 6512821"/>
                <a:gd name="connsiteY185" fmla="*/ 1638365 h 1648590"/>
                <a:gd name="connsiteX186" fmla="*/ 3382759 w 6512821"/>
                <a:gd name="connsiteY186" fmla="*/ 1376355 h 1648590"/>
                <a:gd name="connsiteX187" fmla="*/ 3300177 w 6512821"/>
                <a:gd name="connsiteY187" fmla="*/ 1264204 h 1648590"/>
                <a:gd name="connsiteX188" fmla="*/ 3216552 w 6512821"/>
                <a:gd name="connsiteY188" fmla="*/ 1373293 h 1648590"/>
                <a:gd name="connsiteX189" fmla="*/ 3216552 w 6512821"/>
                <a:gd name="connsiteY189" fmla="*/ 1638365 h 1648590"/>
                <a:gd name="connsiteX190" fmla="*/ 3092157 w 6512821"/>
                <a:gd name="connsiteY190" fmla="*/ 1638365 h 1648590"/>
                <a:gd name="connsiteX191" fmla="*/ 3092157 w 6512821"/>
                <a:gd name="connsiteY191" fmla="*/ 1157133 h 1648590"/>
                <a:gd name="connsiteX192" fmla="*/ 3216552 w 6512821"/>
                <a:gd name="connsiteY192" fmla="*/ 1157133 h 1648590"/>
                <a:gd name="connsiteX193" fmla="*/ 3216552 w 6512821"/>
                <a:gd name="connsiteY193" fmla="*/ 1189762 h 1648590"/>
                <a:gd name="connsiteX194" fmla="*/ 3333783 w 6512821"/>
                <a:gd name="connsiteY194" fmla="*/ 1146973 h 1648590"/>
                <a:gd name="connsiteX195" fmla="*/ 3507089 w 6512821"/>
                <a:gd name="connsiteY195" fmla="*/ 1366195 h 1648590"/>
                <a:gd name="connsiteX196" fmla="*/ 3507089 w 6512821"/>
                <a:gd name="connsiteY196" fmla="*/ 1638430 h 1648590"/>
                <a:gd name="connsiteX197" fmla="*/ 2792437 w 6512821"/>
                <a:gd name="connsiteY197" fmla="*/ 1146973 h 1648590"/>
                <a:gd name="connsiteX198" fmla="*/ 2567094 w 6512821"/>
                <a:gd name="connsiteY198" fmla="*/ 1397782 h 1648590"/>
                <a:gd name="connsiteX199" fmla="*/ 2792437 w 6512821"/>
                <a:gd name="connsiteY199" fmla="*/ 1648590 h 1648590"/>
                <a:gd name="connsiteX200" fmla="*/ 3017781 w 6512821"/>
                <a:gd name="connsiteY200" fmla="*/ 1397782 h 1648590"/>
                <a:gd name="connsiteX201" fmla="*/ 2792437 w 6512821"/>
                <a:gd name="connsiteY201" fmla="*/ 1146973 h 1648590"/>
                <a:gd name="connsiteX202" fmla="*/ 2792437 w 6512821"/>
                <a:gd name="connsiteY202" fmla="*/ 1528299 h 1648590"/>
                <a:gd name="connsiteX203" fmla="*/ 2695592 w 6512821"/>
                <a:gd name="connsiteY203" fmla="*/ 1397782 h 1648590"/>
                <a:gd name="connsiteX204" fmla="*/ 2792437 w 6512821"/>
                <a:gd name="connsiteY204" fmla="*/ 1266288 h 1648590"/>
                <a:gd name="connsiteX205" fmla="*/ 2889283 w 6512821"/>
                <a:gd name="connsiteY205" fmla="*/ 1397782 h 1648590"/>
                <a:gd name="connsiteX206" fmla="*/ 2792437 w 6512821"/>
                <a:gd name="connsiteY206" fmla="*/ 1528299 h 1648590"/>
                <a:gd name="connsiteX207" fmla="*/ 2446802 w 6512821"/>
                <a:gd name="connsiteY207" fmla="*/ 1467143 h 1648590"/>
                <a:gd name="connsiteX208" fmla="*/ 2526323 w 6512821"/>
                <a:gd name="connsiteY208" fmla="*/ 1542561 h 1648590"/>
                <a:gd name="connsiteX209" fmla="*/ 2334651 w 6512821"/>
                <a:gd name="connsiteY209" fmla="*/ 1648590 h 1648590"/>
                <a:gd name="connsiteX210" fmla="*/ 2106246 w 6512821"/>
                <a:gd name="connsiteY210" fmla="*/ 1398823 h 1648590"/>
                <a:gd name="connsiteX211" fmla="*/ 2336670 w 6512821"/>
                <a:gd name="connsiteY211" fmla="*/ 1146973 h 1648590"/>
                <a:gd name="connsiteX212" fmla="*/ 2525281 w 6512821"/>
                <a:gd name="connsiteY212" fmla="*/ 1250983 h 1648590"/>
                <a:gd name="connsiteX213" fmla="*/ 2443741 w 6512821"/>
                <a:gd name="connsiteY213" fmla="*/ 1333565 h 1648590"/>
                <a:gd name="connsiteX214" fmla="*/ 2335693 w 6512821"/>
                <a:gd name="connsiteY214" fmla="*/ 1266288 h 1648590"/>
                <a:gd name="connsiteX215" fmla="*/ 2234744 w 6512821"/>
                <a:gd name="connsiteY215" fmla="*/ 1396804 h 1648590"/>
                <a:gd name="connsiteX216" fmla="*/ 2336670 w 6512821"/>
                <a:gd name="connsiteY216" fmla="*/ 1528299 h 1648590"/>
                <a:gd name="connsiteX217" fmla="*/ 2446802 w 6512821"/>
                <a:gd name="connsiteY217" fmla="*/ 1467143 h 1648590"/>
                <a:gd name="connsiteX218" fmla="*/ 1803530 w 6512821"/>
                <a:gd name="connsiteY218" fmla="*/ 1638365 h 1648590"/>
                <a:gd name="connsiteX219" fmla="*/ 1679135 w 6512821"/>
                <a:gd name="connsiteY219" fmla="*/ 1638365 h 1648590"/>
                <a:gd name="connsiteX220" fmla="*/ 1679135 w 6512821"/>
                <a:gd name="connsiteY220" fmla="*/ 1376355 h 1648590"/>
                <a:gd name="connsiteX221" fmla="*/ 1596553 w 6512821"/>
                <a:gd name="connsiteY221" fmla="*/ 1264204 h 1648590"/>
                <a:gd name="connsiteX222" fmla="*/ 1511951 w 6512821"/>
                <a:gd name="connsiteY222" fmla="*/ 1373293 h 1648590"/>
                <a:gd name="connsiteX223" fmla="*/ 1511951 w 6512821"/>
                <a:gd name="connsiteY223" fmla="*/ 1638365 h 1648590"/>
                <a:gd name="connsiteX224" fmla="*/ 1387557 w 6512821"/>
                <a:gd name="connsiteY224" fmla="*/ 1638365 h 1648590"/>
                <a:gd name="connsiteX225" fmla="*/ 1387557 w 6512821"/>
                <a:gd name="connsiteY225" fmla="*/ 1031761 h 1648590"/>
                <a:gd name="connsiteX226" fmla="*/ 1511951 w 6512821"/>
                <a:gd name="connsiteY226" fmla="*/ 969564 h 1648590"/>
                <a:gd name="connsiteX227" fmla="*/ 1511951 w 6512821"/>
                <a:gd name="connsiteY227" fmla="*/ 1189762 h 1648590"/>
                <a:gd name="connsiteX228" fmla="*/ 1632243 w 6512821"/>
                <a:gd name="connsiteY228" fmla="*/ 1146973 h 1648590"/>
                <a:gd name="connsiteX229" fmla="*/ 1803530 w 6512821"/>
                <a:gd name="connsiteY229" fmla="*/ 1366195 h 1648590"/>
                <a:gd name="connsiteX230" fmla="*/ 1803530 w 6512821"/>
                <a:gd name="connsiteY230" fmla="*/ 1638430 h 1648590"/>
                <a:gd name="connsiteX231" fmla="*/ 1311031 w 6512821"/>
                <a:gd name="connsiteY231" fmla="*/ 1493650 h 1648590"/>
                <a:gd name="connsiteX232" fmla="*/ 1292665 w 6512821"/>
                <a:gd name="connsiteY232" fmla="*/ 1619022 h 1648590"/>
                <a:gd name="connsiteX233" fmla="*/ 1173350 w 6512821"/>
                <a:gd name="connsiteY233" fmla="*/ 1648590 h 1648590"/>
                <a:gd name="connsiteX234" fmla="*/ 1043875 w 6512821"/>
                <a:gd name="connsiteY234" fmla="*/ 1504852 h 1648590"/>
                <a:gd name="connsiteX235" fmla="*/ 1043875 w 6512821"/>
                <a:gd name="connsiteY235" fmla="*/ 1273387 h 1648590"/>
                <a:gd name="connsiteX236" fmla="*/ 960250 w 6512821"/>
                <a:gd name="connsiteY236" fmla="*/ 1273387 h 1648590"/>
                <a:gd name="connsiteX237" fmla="*/ 960250 w 6512821"/>
                <a:gd name="connsiteY237" fmla="*/ 1157133 h 1648590"/>
                <a:gd name="connsiteX238" fmla="*/ 1043875 w 6512821"/>
                <a:gd name="connsiteY238" fmla="*/ 1157133 h 1648590"/>
                <a:gd name="connsiteX239" fmla="*/ 1043875 w 6512821"/>
                <a:gd name="connsiteY239" fmla="*/ 1031761 h 1648590"/>
                <a:gd name="connsiteX240" fmla="*/ 1168270 w 6512821"/>
                <a:gd name="connsiteY240" fmla="*/ 969564 h 1648590"/>
                <a:gd name="connsiteX241" fmla="*/ 1168270 w 6512821"/>
                <a:gd name="connsiteY241" fmla="*/ 1157133 h 1648590"/>
                <a:gd name="connsiteX242" fmla="*/ 1308947 w 6512821"/>
                <a:gd name="connsiteY242" fmla="*/ 1157133 h 1648590"/>
                <a:gd name="connsiteX243" fmla="*/ 1308947 w 6512821"/>
                <a:gd name="connsiteY243" fmla="*/ 1273387 h 1648590"/>
                <a:gd name="connsiteX244" fmla="*/ 1168270 w 6512821"/>
                <a:gd name="connsiteY244" fmla="*/ 1273387 h 1648590"/>
                <a:gd name="connsiteX245" fmla="*/ 1168270 w 6512821"/>
                <a:gd name="connsiteY245" fmla="*/ 1471181 h 1648590"/>
                <a:gd name="connsiteX246" fmla="*/ 1214120 w 6512821"/>
                <a:gd name="connsiteY246" fmla="*/ 1529275 h 1648590"/>
                <a:gd name="connsiteX247" fmla="*/ 1310966 w 6512821"/>
                <a:gd name="connsiteY247" fmla="*/ 1493585 h 1648590"/>
                <a:gd name="connsiteX248" fmla="*/ 767666 w 6512821"/>
                <a:gd name="connsiteY248" fmla="*/ 1157198 h 1648590"/>
                <a:gd name="connsiteX249" fmla="*/ 767666 w 6512821"/>
                <a:gd name="connsiteY249" fmla="*/ 1638430 h 1648590"/>
                <a:gd name="connsiteX250" fmla="*/ 892061 w 6512821"/>
                <a:gd name="connsiteY250" fmla="*/ 1638430 h 1648590"/>
                <a:gd name="connsiteX251" fmla="*/ 892061 w 6512821"/>
                <a:gd name="connsiteY251" fmla="*/ 1157198 h 1648590"/>
                <a:gd name="connsiteX252" fmla="*/ 767666 w 6512821"/>
                <a:gd name="connsiteY252" fmla="*/ 1157198 h 1648590"/>
                <a:gd name="connsiteX253" fmla="*/ 702408 w 6512821"/>
                <a:gd name="connsiteY253" fmla="*/ 1157198 h 1648590"/>
                <a:gd name="connsiteX254" fmla="*/ 550529 w 6512821"/>
                <a:gd name="connsiteY254" fmla="*/ 1638430 h 1648590"/>
                <a:gd name="connsiteX255" fmla="*/ 436359 w 6512821"/>
                <a:gd name="connsiteY255" fmla="*/ 1638430 h 1648590"/>
                <a:gd name="connsiteX256" fmla="*/ 354819 w 6512821"/>
                <a:gd name="connsiteY256" fmla="*/ 1345809 h 1648590"/>
                <a:gd name="connsiteX257" fmla="*/ 272236 w 6512821"/>
                <a:gd name="connsiteY257" fmla="*/ 1638430 h 1648590"/>
                <a:gd name="connsiteX258" fmla="*/ 158066 w 6512821"/>
                <a:gd name="connsiteY258" fmla="*/ 1638430 h 1648590"/>
                <a:gd name="connsiteX259" fmla="*/ 7099 w 6512821"/>
                <a:gd name="connsiteY259" fmla="*/ 1157198 h 1648590"/>
                <a:gd name="connsiteX260" fmla="*/ 145757 w 6512821"/>
                <a:gd name="connsiteY260" fmla="*/ 1157198 h 1648590"/>
                <a:gd name="connsiteX261" fmla="*/ 218114 w 6512821"/>
                <a:gd name="connsiteY261" fmla="*/ 1436533 h 1648590"/>
                <a:gd name="connsiteX262" fmla="*/ 299655 w 6512821"/>
                <a:gd name="connsiteY262" fmla="*/ 1157198 h 1648590"/>
                <a:gd name="connsiteX263" fmla="*/ 412848 w 6512821"/>
                <a:gd name="connsiteY263" fmla="*/ 1157198 h 1648590"/>
                <a:gd name="connsiteX264" fmla="*/ 494388 w 6512821"/>
                <a:gd name="connsiteY264" fmla="*/ 1436533 h 1648590"/>
                <a:gd name="connsiteX265" fmla="*/ 567788 w 6512821"/>
                <a:gd name="connsiteY265" fmla="*/ 1157198 h 1648590"/>
                <a:gd name="connsiteX266" fmla="*/ 702343 w 6512821"/>
                <a:gd name="connsiteY266" fmla="*/ 1157198 h 1648590"/>
                <a:gd name="connsiteX267" fmla="*/ 4436990 w 6512821"/>
                <a:gd name="connsiteY267" fmla="*/ 16282 h 1648590"/>
                <a:gd name="connsiteX268" fmla="*/ 4436990 w 6512821"/>
                <a:gd name="connsiteY268" fmla="*/ 115147 h 1648590"/>
                <a:gd name="connsiteX269" fmla="*/ 4374792 w 6512821"/>
                <a:gd name="connsiteY269" fmla="*/ 104921 h 1648590"/>
                <a:gd name="connsiteX270" fmla="*/ 4322820 w 6512821"/>
                <a:gd name="connsiteY270" fmla="*/ 144715 h 1648590"/>
                <a:gd name="connsiteX271" fmla="*/ 4322820 w 6512821"/>
                <a:gd name="connsiteY271" fmla="*/ 186527 h 1648590"/>
                <a:gd name="connsiteX272" fmla="*/ 4404361 w 6512821"/>
                <a:gd name="connsiteY272" fmla="*/ 186527 h 1648590"/>
                <a:gd name="connsiteX273" fmla="*/ 4404361 w 6512821"/>
                <a:gd name="connsiteY273" fmla="*/ 302781 h 1648590"/>
                <a:gd name="connsiteX274" fmla="*/ 4322820 w 6512821"/>
                <a:gd name="connsiteY274" fmla="*/ 302781 h 1648590"/>
                <a:gd name="connsiteX275" fmla="*/ 4322820 w 6512821"/>
                <a:gd name="connsiteY275" fmla="*/ 667759 h 1648590"/>
                <a:gd name="connsiteX276" fmla="*/ 4202528 w 6512821"/>
                <a:gd name="connsiteY276" fmla="*/ 667759 h 1648590"/>
                <a:gd name="connsiteX277" fmla="*/ 4202528 w 6512821"/>
                <a:gd name="connsiteY277" fmla="*/ 302781 h 1648590"/>
                <a:gd name="connsiteX278" fmla="*/ 4143392 w 6512821"/>
                <a:gd name="connsiteY278" fmla="*/ 302781 h 1648590"/>
                <a:gd name="connsiteX279" fmla="*/ 4143392 w 6512821"/>
                <a:gd name="connsiteY279" fmla="*/ 186527 h 1648590"/>
                <a:gd name="connsiteX280" fmla="*/ 4202528 w 6512821"/>
                <a:gd name="connsiteY280" fmla="*/ 186527 h 1648590"/>
                <a:gd name="connsiteX281" fmla="*/ 4202528 w 6512821"/>
                <a:gd name="connsiteY281" fmla="*/ 128433 h 1648590"/>
                <a:gd name="connsiteX282" fmla="*/ 4348350 w 6512821"/>
                <a:gd name="connsiteY282" fmla="*/ 2019 h 1648590"/>
                <a:gd name="connsiteX283" fmla="*/ 4437055 w 6512821"/>
                <a:gd name="connsiteY283" fmla="*/ 16282 h 1648590"/>
                <a:gd name="connsiteX284" fmla="*/ 2957602 w 6512821"/>
                <a:gd name="connsiteY284" fmla="*/ 527083 h 1648590"/>
                <a:gd name="connsiteX285" fmla="*/ 2940278 w 6512821"/>
                <a:gd name="connsiteY285" fmla="*/ 649458 h 1648590"/>
                <a:gd name="connsiteX286" fmla="*/ 2843433 w 6512821"/>
                <a:gd name="connsiteY286" fmla="*/ 677984 h 1648590"/>
                <a:gd name="connsiteX287" fmla="*/ 2712916 w 6512821"/>
                <a:gd name="connsiteY287" fmla="*/ 535224 h 1648590"/>
                <a:gd name="connsiteX288" fmla="*/ 2712916 w 6512821"/>
                <a:gd name="connsiteY288" fmla="*/ 301739 h 1648590"/>
                <a:gd name="connsiteX289" fmla="*/ 2629291 w 6512821"/>
                <a:gd name="connsiteY289" fmla="*/ 301739 h 1648590"/>
                <a:gd name="connsiteX290" fmla="*/ 2629291 w 6512821"/>
                <a:gd name="connsiteY290" fmla="*/ 186527 h 1648590"/>
                <a:gd name="connsiteX291" fmla="*/ 2712916 w 6512821"/>
                <a:gd name="connsiteY291" fmla="*/ 186527 h 1648590"/>
                <a:gd name="connsiteX292" fmla="*/ 2712916 w 6512821"/>
                <a:gd name="connsiteY292" fmla="*/ 61155 h 1648590"/>
                <a:gd name="connsiteX293" fmla="*/ 2833208 w 6512821"/>
                <a:gd name="connsiteY293" fmla="*/ 0 h 1648590"/>
                <a:gd name="connsiteX294" fmla="*/ 2833208 w 6512821"/>
                <a:gd name="connsiteY294" fmla="*/ 186592 h 1648590"/>
                <a:gd name="connsiteX295" fmla="*/ 2945358 w 6512821"/>
                <a:gd name="connsiteY295" fmla="*/ 186592 h 1648590"/>
                <a:gd name="connsiteX296" fmla="*/ 2945358 w 6512821"/>
                <a:gd name="connsiteY296" fmla="*/ 301804 h 1648590"/>
                <a:gd name="connsiteX297" fmla="*/ 2833208 w 6512821"/>
                <a:gd name="connsiteY297" fmla="*/ 301804 h 1648590"/>
                <a:gd name="connsiteX298" fmla="*/ 2833208 w 6512821"/>
                <a:gd name="connsiteY298" fmla="*/ 503701 h 1648590"/>
                <a:gd name="connsiteX299" fmla="*/ 2880100 w 6512821"/>
                <a:gd name="connsiteY299" fmla="*/ 560819 h 1648590"/>
                <a:gd name="connsiteX300" fmla="*/ 2957602 w 6512821"/>
                <a:gd name="connsiteY300" fmla="*/ 527148 h 1648590"/>
                <a:gd name="connsiteX301" fmla="*/ 2397891 w 6512821"/>
                <a:gd name="connsiteY301" fmla="*/ 426134 h 1648590"/>
                <a:gd name="connsiteX302" fmla="*/ 2395872 w 6512821"/>
                <a:gd name="connsiteY302" fmla="*/ 467946 h 1648590"/>
                <a:gd name="connsiteX303" fmla="*/ 2114453 w 6512821"/>
                <a:gd name="connsiteY303" fmla="*/ 467946 h 1648590"/>
                <a:gd name="connsiteX304" fmla="*/ 2218462 w 6512821"/>
                <a:gd name="connsiteY304" fmla="*/ 562773 h 1648590"/>
                <a:gd name="connsiteX305" fmla="*/ 2301045 w 6512821"/>
                <a:gd name="connsiteY305" fmla="*/ 529102 h 1648590"/>
                <a:gd name="connsiteX306" fmla="*/ 2386689 w 6512821"/>
                <a:gd name="connsiteY306" fmla="*/ 601459 h 1648590"/>
                <a:gd name="connsiteX307" fmla="*/ 2210321 w 6512821"/>
                <a:gd name="connsiteY307" fmla="*/ 677919 h 1648590"/>
                <a:gd name="connsiteX308" fmla="*/ 1991100 w 6512821"/>
                <a:gd name="connsiteY308" fmla="*/ 429130 h 1648590"/>
                <a:gd name="connsiteX309" fmla="*/ 2205176 w 6512821"/>
                <a:gd name="connsiteY309" fmla="*/ 176302 h 1648590"/>
                <a:gd name="connsiteX310" fmla="*/ 2397891 w 6512821"/>
                <a:gd name="connsiteY310" fmla="*/ 426069 h 1648590"/>
                <a:gd name="connsiteX311" fmla="*/ 2116472 w 6512821"/>
                <a:gd name="connsiteY311" fmla="*/ 374162 h 1648590"/>
                <a:gd name="connsiteX312" fmla="*/ 2287759 w 6512821"/>
                <a:gd name="connsiteY312" fmla="*/ 374162 h 1648590"/>
                <a:gd name="connsiteX313" fmla="*/ 2199054 w 6512821"/>
                <a:gd name="connsiteY313" fmla="*/ 283438 h 1648590"/>
                <a:gd name="connsiteX314" fmla="*/ 2116472 w 6512821"/>
                <a:gd name="connsiteY314" fmla="*/ 374162 h 1648590"/>
                <a:gd name="connsiteX315" fmla="*/ 1933982 w 6512821"/>
                <a:gd name="connsiteY315" fmla="*/ 428218 h 1648590"/>
                <a:gd name="connsiteX316" fmla="*/ 1746413 w 6512821"/>
                <a:gd name="connsiteY316" fmla="*/ 677984 h 1648590"/>
                <a:gd name="connsiteX317" fmla="*/ 1639342 w 6512821"/>
                <a:gd name="connsiteY317" fmla="*/ 638191 h 1648590"/>
                <a:gd name="connsiteX318" fmla="*/ 1639342 w 6512821"/>
                <a:gd name="connsiteY318" fmla="*/ 784990 h 1648590"/>
                <a:gd name="connsiteX319" fmla="*/ 1519050 w 6512821"/>
                <a:gd name="connsiteY319" fmla="*/ 845169 h 1648590"/>
                <a:gd name="connsiteX320" fmla="*/ 1519050 w 6512821"/>
                <a:gd name="connsiteY320" fmla="*/ 186527 h 1648590"/>
                <a:gd name="connsiteX321" fmla="*/ 1639342 w 6512821"/>
                <a:gd name="connsiteY321" fmla="*/ 186527 h 1648590"/>
                <a:gd name="connsiteX322" fmla="*/ 1639342 w 6512821"/>
                <a:gd name="connsiteY322" fmla="*/ 219157 h 1648590"/>
                <a:gd name="connsiteX323" fmla="*/ 1748432 w 6512821"/>
                <a:gd name="connsiteY323" fmla="*/ 176367 h 1648590"/>
                <a:gd name="connsiteX324" fmla="*/ 1933982 w 6512821"/>
                <a:gd name="connsiteY324" fmla="*/ 428218 h 1648590"/>
                <a:gd name="connsiteX325" fmla="*/ 1809587 w 6512821"/>
                <a:gd name="connsiteY325" fmla="*/ 434340 h 1648590"/>
                <a:gd name="connsiteX326" fmla="*/ 1718864 w 6512821"/>
                <a:gd name="connsiteY326" fmla="*/ 292621 h 1648590"/>
                <a:gd name="connsiteX327" fmla="*/ 1639342 w 6512821"/>
                <a:gd name="connsiteY327" fmla="*/ 335410 h 1648590"/>
                <a:gd name="connsiteX328" fmla="*/ 1639342 w 6512821"/>
                <a:gd name="connsiteY328" fmla="*/ 518942 h 1648590"/>
                <a:gd name="connsiteX329" fmla="*/ 1726028 w 6512821"/>
                <a:gd name="connsiteY329" fmla="*/ 562773 h 1648590"/>
                <a:gd name="connsiteX330" fmla="*/ 1809652 w 6512821"/>
                <a:gd name="connsiteY330" fmla="*/ 434340 h 1648590"/>
                <a:gd name="connsiteX331" fmla="*/ 1435426 w 6512821"/>
                <a:gd name="connsiteY331" fmla="*/ 667825 h 1648590"/>
                <a:gd name="connsiteX332" fmla="*/ 1315134 w 6512821"/>
                <a:gd name="connsiteY332" fmla="*/ 667825 h 1648590"/>
                <a:gd name="connsiteX333" fmla="*/ 1315134 w 6512821"/>
                <a:gd name="connsiteY333" fmla="*/ 634153 h 1648590"/>
                <a:gd name="connsiteX334" fmla="*/ 1202983 w 6512821"/>
                <a:gd name="connsiteY334" fmla="*/ 677984 h 1648590"/>
                <a:gd name="connsiteX335" fmla="*/ 1033715 w 6512821"/>
                <a:gd name="connsiteY335" fmla="*/ 510800 h 1648590"/>
                <a:gd name="connsiteX336" fmla="*/ 1221284 w 6512821"/>
                <a:gd name="connsiteY336" fmla="*/ 348696 h 1648590"/>
                <a:gd name="connsiteX337" fmla="*/ 1315069 w 6512821"/>
                <a:gd name="connsiteY337" fmla="*/ 368040 h 1648590"/>
                <a:gd name="connsiteX338" fmla="*/ 1315069 w 6512821"/>
                <a:gd name="connsiteY338" fmla="*/ 342574 h 1648590"/>
                <a:gd name="connsiteX339" fmla="*/ 1232486 w 6512821"/>
                <a:gd name="connsiteY339" fmla="*/ 279335 h 1648590"/>
                <a:gd name="connsiteX340" fmla="*/ 1121378 w 6512821"/>
                <a:gd name="connsiteY340" fmla="*/ 310922 h 1648590"/>
                <a:gd name="connsiteX341" fmla="*/ 1073443 w 6512821"/>
                <a:gd name="connsiteY341" fmla="*/ 225278 h 1648590"/>
                <a:gd name="connsiteX342" fmla="*/ 1239650 w 6512821"/>
                <a:gd name="connsiteY342" fmla="*/ 176367 h 1648590"/>
                <a:gd name="connsiteX343" fmla="*/ 1435426 w 6512821"/>
                <a:gd name="connsiteY343" fmla="*/ 344593 h 1648590"/>
                <a:gd name="connsiteX344" fmla="*/ 1435426 w 6512821"/>
                <a:gd name="connsiteY344" fmla="*/ 667759 h 1648590"/>
                <a:gd name="connsiteX345" fmla="*/ 1315134 w 6512821"/>
                <a:gd name="connsiteY345" fmla="*/ 527083 h 1648590"/>
                <a:gd name="connsiteX346" fmla="*/ 1315134 w 6512821"/>
                <a:gd name="connsiteY346" fmla="*/ 465927 h 1648590"/>
                <a:gd name="connsiteX347" fmla="*/ 1234570 w 6512821"/>
                <a:gd name="connsiteY347" fmla="*/ 445542 h 1648590"/>
                <a:gd name="connsiteX348" fmla="*/ 1156091 w 6512821"/>
                <a:gd name="connsiteY348" fmla="*/ 507740 h 1648590"/>
                <a:gd name="connsiteX349" fmla="*/ 1224410 w 6512821"/>
                <a:gd name="connsiteY349" fmla="*/ 574040 h 1648590"/>
                <a:gd name="connsiteX350" fmla="*/ 1315134 w 6512821"/>
                <a:gd name="connsiteY350" fmla="*/ 527148 h 1648590"/>
                <a:gd name="connsiteX351" fmla="*/ 967480 w 6512821"/>
                <a:gd name="connsiteY351" fmla="*/ 667825 h 1648590"/>
                <a:gd name="connsiteX352" fmla="*/ 847188 w 6512821"/>
                <a:gd name="connsiteY352" fmla="*/ 667825 h 1648590"/>
                <a:gd name="connsiteX353" fmla="*/ 847188 w 6512821"/>
                <a:gd name="connsiteY353" fmla="*/ 405814 h 1648590"/>
                <a:gd name="connsiteX354" fmla="*/ 765647 w 6512821"/>
                <a:gd name="connsiteY354" fmla="*/ 292621 h 1648590"/>
                <a:gd name="connsiteX355" fmla="*/ 683065 w 6512821"/>
                <a:gd name="connsiteY355" fmla="*/ 402753 h 1648590"/>
                <a:gd name="connsiteX356" fmla="*/ 683065 w 6512821"/>
                <a:gd name="connsiteY356" fmla="*/ 667825 h 1648590"/>
                <a:gd name="connsiteX357" fmla="*/ 562773 w 6512821"/>
                <a:gd name="connsiteY357" fmla="*/ 667825 h 1648590"/>
                <a:gd name="connsiteX358" fmla="*/ 562773 w 6512821"/>
                <a:gd name="connsiteY358" fmla="*/ 61221 h 1648590"/>
                <a:gd name="connsiteX359" fmla="*/ 683065 w 6512821"/>
                <a:gd name="connsiteY359" fmla="*/ 65 h 1648590"/>
                <a:gd name="connsiteX360" fmla="*/ 683065 w 6512821"/>
                <a:gd name="connsiteY360" fmla="*/ 220264 h 1648590"/>
                <a:gd name="connsiteX361" fmla="*/ 796258 w 6512821"/>
                <a:gd name="connsiteY361" fmla="*/ 176432 h 1648590"/>
                <a:gd name="connsiteX362" fmla="*/ 967545 w 6512821"/>
                <a:gd name="connsiteY362" fmla="*/ 396631 h 1648590"/>
                <a:gd name="connsiteX363" fmla="*/ 967545 w 6512821"/>
                <a:gd name="connsiteY363" fmla="*/ 667825 h 1648590"/>
                <a:gd name="connsiteX364" fmla="*/ 496472 w 6512821"/>
                <a:gd name="connsiteY364" fmla="*/ 475110 h 1648590"/>
                <a:gd name="connsiteX365" fmla="*/ 255889 w 6512821"/>
                <a:gd name="connsiteY365" fmla="*/ 677984 h 1648590"/>
                <a:gd name="connsiteX366" fmla="*/ 0 w 6512821"/>
                <a:gd name="connsiteY366" fmla="*/ 562773 h 1648590"/>
                <a:gd name="connsiteX367" fmla="*/ 89747 w 6512821"/>
                <a:gd name="connsiteY367" fmla="*/ 483251 h 1648590"/>
                <a:gd name="connsiteX368" fmla="*/ 252893 w 6512821"/>
                <a:gd name="connsiteY368" fmla="*/ 556651 h 1648590"/>
                <a:gd name="connsiteX369" fmla="*/ 367063 w 6512821"/>
                <a:gd name="connsiteY369" fmla="*/ 478171 h 1648590"/>
                <a:gd name="connsiteX370" fmla="*/ 329353 w 6512821"/>
                <a:gd name="connsiteY370" fmla="*/ 426199 h 1648590"/>
                <a:gd name="connsiteX371" fmla="*/ 225344 w 6512821"/>
                <a:gd name="connsiteY371" fmla="*/ 394612 h 1648590"/>
                <a:gd name="connsiteX372" fmla="*/ 79522 w 6512821"/>
                <a:gd name="connsiteY372" fmla="*/ 335475 h 1648590"/>
                <a:gd name="connsiteX373" fmla="*/ 24488 w 6512821"/>
                <a:gd name="connsiteY373" fmla="*/ 207042 h 1648590"/>
                <a:gd name="connsiteX374" fmla="*/ 254912 w 6512821"/>
                <a:gd name="connsiteY374" fmla="*/ 16412 h 1648590"/>
                <a:gd name="connsiteX375" fmla="*/ 482274 w 6512821"/>
                <a:gd name="connsiteY375" fmla="*/ 115277 h 1648590"/>
                <a:gd name="connsiteX376" fmla="*/ 392528 w 6512821"/>
                <a:gd name="connsiteY376" fmla="*/ 202939 h 1648590"/>
                <a:gd name="connsiteX377" fmla="*/ 246706 w 6512821"/>
                <a:gd name="connsiteY377" fmla="*/ 137681 h 1648590"/>
                <a:gd name="connsiteX378" fmla="*/ 152921 w 6512821"/>
                <a:gd name="connsiteY378" fmla="*/ 199878 h 1648590"/>
                <a:gd name="connsiteX379" fmla="*/ 179428 w 6512821"/>
                <a:gd name="connsiteY379" fmla="*/ 243710 h 1648590"/>
                <a:gd name="connsiteX380" fmla="*/ 282396 w 6512821"/>
                <a:gd name="connsiteY380" fmla="*/ 277381 h 1648590"/>
                <a:gd name="connsiteX381" fmla="*/ 438378 w 6512821"/>
                <a:gd name="connsiteY381" fmla="*/ 341598 h 1648590"/>
                <a:gd name="connsiteX382" fmla="*/ 496472 w 6512821"/>
                <a:gd name="connsiteY382" fmla="*/ 475176 h 1648590"/>
                <a:gd name="connsiteX383" fmla="*/ 6100885 w 6512821"/>
                <a:gd name="connsiteY383" fmla="*/ 208996 h 1648590"/>
                <a:gd name="connsiteX384" fmla="*/ 6051778 w 6512821"/>
                <a:gd name="connsiteY384" fmla="*/ 329288 h 1648590"/>
                <a:gd name="connsiteX385" fmla="*/ 5982482 w 6512821"/>
                <a:gd name="connsiteY385" fmla="*/ 299720 h 1648590"/>
                <a:gd name="connsiteX386" fmla="*/ 5911232 w 6512821"/>
                <a:gd name="connsiteY386" fmla="*/ 405749 h 1648590"/>
                <a:gd name="connsiteX387" fmla="*/ 5911232 w 6512821"/>
                <a:gd name="connsiteY387" fmla="*/ 667759 h 1648590"/>
                <a:gd name="connsiteX388" fmla="*/ 5790940 w 6512821"/>
                <a:gd name="connsiteY388" fmla="*/ 667759 h 1648590"/>
                <a:gd name="connsiteX389" fmla="*/ 5790940 w 6512821"/>
                <a:gd name="connsiteY389" fmla="*/ 186527 h 1648590"/>
                <a:gd name="connsiteX390" fmla="*/ 5911232 w 6512821"/>
                <a:gd name="connsiteY390" fmla="*/ 186527 h 1648590"/>
                <a:gd name="connsiteX391" fmla="*/ 5911232 w 6512821"/>
                <a:gd name="connsiteY391" fmla="*/ 220198 h 1648590"/>
                <a:gd name="connsiteX392" fmla="*/ 6012181 w 6512821"/>
                <a:gd name="connsiteY392" fmla="*/ 176367 h 1648590"/>
                <a:gd name="connsiteX393" fmla="*/ 6100885 w 6512821"/>
                <a:gd name="connsiteY393" fmla="*/ 208996 h 1648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</a:cxnLst>
              <a:rect l="l" t="t" r="r" b="b"/>
              <a:pathLst>
                <a:path w="6512821" h="1648590">
                  <a:moveTo>
                    <a:pt x="5071143" y="1396740"/>
                  </a:moveTo>
                  <a:cubicBezTo>
                    <a:pt x="5071143" y="1412045"/>
                    <a:pt x="5070101" y="1431388"/>
                    <a:pt x="5069124" y="1438552"/>
                  </a:cubicBezTo>
                  <a:lnTo>
                    <a:pt x="4777545" y="1438552"/>
                  </a:lnTo>
                  <a:cubicBezTo>
                    <a:pt x="4782625" y="1505829"/>
                    <a:pt x="4828541" y="1533378"/>
                    <a:pt x="4880513" y="1533378"/>
                  </a:cubicBezTo>
                  <a:cubicBezTo>
                    <a:pt x="4911123" y="1533378"/>
                    <a:pt x="4939649" y="1524196"/>
                    <a:pt x="4964137" y="1499707"/>
                  </a:cubicBezTo>
                  <a:lnTo>
                    <a:pt x="5049781" y="1572065"/>
                  </a:lnTo>
                  <a:cubicBezTo>
                    <a:pt x="5004908" y="1628140"/>
                    <a:pt x="4936588" y="1648525"/>
                    <a:pt x="4875433" y="1648525"/>
                  </a:cubicBezTo>
                  <a:cubicBezTo>
                    <a:pt x="4734756" y="1648525"/>
                    <a:pt x="4654192" y="1540478"/>
                    <a:pt x="4654192" y="1398759"/>
                  </a:cubicBezTo>
                  <a:cubicBezTo>
                    <a:pt x="4654192" y="1244795"/>
                    <a:pt x="4749019" y="1146908"/>
                    <a:pt x="4867292" y="1146908"/>
                  </a:cubicBezTo>
                  <a:cubicBezTo>
                    <a:pt x="4993706" y="1146908"/>
                    <a:pt x="5071208" y="1258016"/>
                    <a:pt x="5071208" y="1396675"/>
                  </a:cubicBezTo>
                  <a:close/>
                  <a:moveTo>
                    <a:pt x="4779564" y="1344767"/>
                  </a:moveTo>
                  <a:lnTo>
                    <a:pt x="4950851" y="1344767"/>
                  </a:lnTo>
                  <a:cubicBezTo>
                    <a:pt x="4946748" y="1290711"/>
                    <a:pt x="4912100" y="1254044"/>
                    <a:pt x="4863189" y="1254044"/>
                  </a:cubicBezTo>
                  <a:cubicBezTo>
                    <a:pt x="4805094" y="1254044"/>
                    <a:pt x="4782625" y="1305039"/>
                    <a:pt x="4779564" y="1344767"/>
                  </a:cubicBezTo>
                  <a:close/>
                  <a:moveTo>
                    <a:pt x="6512756" y="1396740"/>
                  </a:moveTo>
                  <a:cubicBezTo>
                    <a:pt x="6512756" y="1412045"/>
                    <a:pt x="6511714" y="1431388"/>
                    <a:pt x="6510737" y="1438552"/>
                  </a:cubicBezTo>
                  <a:lnTo>
                    <a:pt x="6219158" y="1438552"/>
                  </a:lnTo>
                  <a:cubicBezTo>
                    <a:pt x="6224238" y="1505829"/>
                    <a:pt x="6270154" y="1533378"/>
                    <a:pt x="6322126" y="1533378"/>
                  </a:cubicBezTo>
                  <a:cubicBezTo>
                    <a:pt x="6352736" y="1533378"/>
                    <a:pt x="6381262" y="1524196"/>
                    <a:pt x="6405751" y="1499707"/>
                  </a:cubicBezTo>
                  <a:lnTo>
                    <a:pt x="6491394" y="1572065"/>
                  </a:lnTo>
                  <a:cubicBezTo>
                    <a:pt x="6446521" y="1628140"/>
                    <a:pt x="6378201" y="1648525"/>
                    <a:pt x="6317046" y="1648525"/>
                  </a:cubicBezTo>
                  <a:cubicBezTo>
                    <a:pt x="6176369" y="1648525"/>
                    <a:pt x="6095805" y="1540478"/>
                    <a:pt x="6095805" y="1398759"/>
                  </a:cubicBezTo>
                  <a:cubicBezTo>
                    <a:pt x="6095805" y="1244795"/>
                    <a:pt x="6190632" y="1146908"/>
                    <a:pt x="6308905" y="1146908"/>
                  </a:cubicBezTo>
                  <a:cubicBezTo>
                    <a:pt x="6435319" y="1146908"/>
                    <a:pt x="6512821" y="1258016"/>
                    <a:pt x="6512821" y="1396675"/>
                  </a:cubicBezTo>
                  <a:close/>
                  <a:moveTo>
                    <a:pt x="6221177" y="1344767"/>
                  </a:moveTo>
                  <a:lnTo>
                    <a:pt x="6392465" y="1344767"/>
                  </a:lnTo>
                  <a:cubicBezTo>
                    <a:pt x="6388361" y="1290711"/>
                    <a:pt x="6353713" y="1254044"/>
                    <a:pt x="6304802" y="1254044"/>
                  </a:cubicBezTo>
                  <a:cubicBezTo>
                    <a:pt x="6246708" y="1254044"/>
                    <a:pt x="6224238" y="1305039"/>
                    <a:pt x="6221177" y="1344767"/>
                  </a:cubicBezTo>
                  <a:close/>
                  <a:moveTo>
                    <a:pt x="5978509" y="1467143"/>
                  </a:moveTo>
                  <a:lnTo>
                    <a:pt x="6058031" y="1542561"/>
                  </a:lnTo>
                  <a:cubicBezTo>
                    <a:pt x="6017261" y="1594534"/>
                    <a:pt x="5961185" y="1648590"/>
                    <a:pt x="5866359" y="1648590"/>
                  </a:cubicBezTo>
                  <a:cubicBezTo>
                    <a:pt x="5734865" y="1648590"/>
                    <a:pt x="5637954" y="1543604"/>
                    <a:pt x="5637954" y="1398823"/>
                  </a:cubicBezTo>
                  <a:cubicBezTo>
                    <a:pt x="5637954" y="1266288"/>
                    <a:pt x="5718518" y="1146973"/>
                    <a:pt x="5868378" y="1146973"/>
                  </a:cubicBezTo>
                  <a:cubicBezTo>
                    <a:pt x="5954021" y="1146973"/>
                    <a:pt x="6013157" y="1185724"/>
                    <a:pt x="6056989" y="1250983"/>
                  </a:cubicBezTo>
                  <a:lnTo>
                    <a:pt x="5975448" y="1333565"/>
                  </a:lnTo>
                  <a:cubicBezTo>
                    <a:pt x="5946922" y="1295856"/>
                    <a:pt x="5916312" y="1266288"/>
                    <a:pt x="5867401" y="1266288"/>
                  </a:cubicBezTo>
                  <a:cubicBezTo>
                    <a:pt x="5801100" y="1266288"/>
                    <a:pt x="5766452" y="1322363"/>
                    <a:pt x="5766452" y="1396804"/>
                  </a:cubicBezTo>
                  <a:cubicBezTo>
                    <a:pt x="5766452" y="1466101"/>
                    <a:pt x="5797062" y="1528299"/>
                    <a:pt x="5868378" y="1528299"/>
                  </a:cubicBezTo>
                  <a:cubicBezTo>
                    <a:pt x="5912209" y="1528299"/>
                    <a:pt x="5948941" y="1504852"/>
                    <a:pt x="5978509" y="1467143"/>
                  </a:cubicBezTo>
                  <a:close/>
                  <a:moveTo>
                    <a:pt x="4869246" y="667825"/>
                  </a:moveTo>
                  <a:lnTo>
                    <a:pt x="4750973" y="667825"/>
                  </a:lnTo>
                  <a:lnTo>
                    <a:pt x="4750973" y="634153"/>
                  </a:lnTo>
                  <a:cubicBezTo>
                    <a:pt x="4724466" y="663721"/>
                    <a:pt x="4681676" y="677984"/>
                    <a:pt x="4638822" y="677984"/>
                  </a:cubicBezTo>
                  <a:cubicBezTo>
                    <a:pt x="4514427" y="677984"/>
                    <a:pt x="4467535" y="588238"/>
                    <a:pt x="4467535" y="458763"/>
                  </a:cubicBezTo>
                  <a:lnTo>
                    <a:pt x="4467535" y="186527"/>
                  </a:lnTo>
                  <a:lnTo>
                    <a:pt x="4587827" y="186527"/>
                  </a:lnTo>
                  <a:lnTo>
                    <a:pt x="4587827" y="448538"/>
                  </a:lnTo>
                  <a:cubicBezTo>
                    <a:pt x="4587827" y="513797"/>
                    <a:pt x="4601113" y="562708"/>
                    <a:pt x="4668390" y="562708"/>
                  </a:cubicBezTo>
                  <a:cubicBezTo>
                    <a:pt x="4735668" y="562708"/>
                    <a:pt x="4748954" y="511712"/>
                    <a:pt x="4748954" y="452576"/>
                  </a:cubicBezTo>
                  <a:lnTo>
                    <a:pt x="4748954" y="186462"/>
                  </a:lnTo>
                  <a:lnTo>
                    <a:pt x="4869246" y="186462"/>
                  </a:lnTo>
                  <a:lnTo>
                    <a:pt x="4869246" y="667695"/>
                  </a:lnTo>
                  <a:close/>
                  <a:moveTo>
                    <a:pt x="5244449" y="527083"/>
                  </a:moveTo>
                  <a:lnTo>
                    <a:pt x="5227125" y="649458"/>
                  </a:lnTo>
                  <a:cubicBezTo>
                    <a:pt x="5202637" y="668802"/>
                    <a:pt x="5157829" y="677984"/>
                    <a:pt x="5128261" y="677984"/>
                  </a:cubicBezTo>
                  <a:cubicBezTo>
                    <a:pt x="5054861" y="677984"/>
                    <a:pt x="4997744" y="622951"/>
                    <a:pt x="4997744" y="535224"/>
                  </a:cubicBezTo>
                  <a:lnTo>
                    <a:pt x="4997744" y="301739"/>
                  </a:lnTo>
                  <a:lnTo>
                    <a:pt x="4928447" y="301739"/>
                  </a:lnTo>
                  <a:lnTo>
                    <a:pt x="4928447" y="186527"/>
                  </a:lnTo>
                  <a:lnTo>
                    <a:pt x="4997744" y="186527"/>
                  </a:lnTo>
                  <a:lnTo>
                    <a:pt x="4997744" y="61155"/>
                  </a:lnTo>
                  <a:lnTo>
                    <a:pt x="5118035" y="0"/>
                  </a:lnTo>
                  <a:lnTo>
                    <a:pt x="5118035" y="186592"/>
                  </a:lnTo>
                  <a:lnTo>
                    <a:pt x="5232205" y="186592"/>
                  </a:lnTo>
                  <a:lnTo>
                    <a:pt x="5232205" y="301804"/>
                  </a:lnTo>
                  <a:lnTo>
                    <a:pt x="5118035" y="301804"/>
                  </a:lnTo>
                  <a:lnTo>
                    <a:pt x="5118035" y="503701"/>
                  </a:lnTo>
                  <a:cubicBezTo>
                    <a:pt x="5118035" y="545514"/>
                    <a:pt x="5135360" y="560819"/>
                    <a:pt x="5164928" y="560819"/>
                  </a:cubicBezTo>
                  <a:cubicBezTo>
                    <a:pt x="5194496" y="560819"/>
                    <a:pt x="5225106" y="545514"/>
                    <a:pt x="5244449" y="527148"/>
                  </a:cubicBezTo>
                  <a:close/>
                  <a:moveTo>
                    <a:pt x="3417407" y="667825"/>
                  </a:moveTo>
                  <a:lnTo>
                    <a:pt x="3297116" y="667825"/>
                  </a:lnTo>
                  <a:lnTo>
                    <a:pt x="3297116" y="405814"/>
                  </a:lnTo>
                  <a:cubicBezTo>
                    <a:pt x="3297116" y="340555"/>
                    <a:pt x="3282853" y="292621"/>
                    <a:pt x="3215575" y="292621"/>
                  </a:cubicBezTo>
                  <a:cubicBezTo>
                    <a:pt x="3148298" y="292621"/>
                    <a:pt x="3132993" y="336452"/>
                    <a:pt x="3132993" y="402753"/>
                  </a:cubicBezTo>
                  <a:lnTo>
                    <a:pt x="3132993" y="667825"/>
                  </a:lnTo>
                  <a:lnTo>
                    <a:pt x="3012701" y="667825"/>
                  </a:lnTo>
                  <a:lnTo>
                    <a:pt x="3012701" y="61221"/>
                  </a:lnTo>
                  <a:lnTo>
                    <a:pt x="3132993" y="65"/>
                  </a:lnTo>
                  <a:lnTo>
                    <a:pt x="3132993" y="220264"/>
                  </a:lnTo>
                  <a:cubicBezTo>
                    <a:pt x="3159500" y="193756"/>
                    <a:pt x="3192129" y="176432"/>
                    <a:pt x="3246186" y="176432"/>
                  </a:cubicBezTo>
                  <a:cubicBezTo>
                    <a:pt x="3373641" y="176432"/>
                    <a:pt x="3417473" y="274320"/>
                    <a:pt x="3417473" y="396631"/>
                  </a:cubicBezTo>
                  <a:lnTo>
                    <a:pt x="3417473" y="667825"/>
                  </a:lnTo>
                  <a:close/>
                  <a:moveTo>
                    <a:pt x="5564554" y="1638365"/>
                  </a:moveTo>
                  <a:lnTo>
                    <a:pt x="5440160" y="1638365"/>
                  </a:lnTo>
                  <a:lnTo>
                    <a:pt x="5440160" y="1376355"/>
                  </a:lnTo>
                  <a:cubicBezTo>
                    <a:pt x="5440160" y="1309077"/>
                    <a:pt x="5424855" y="1264204"/>
                    <a:pt x="5357577" y="1264204"/>
                  </a:cubicBezTo>
                  <a:cubicBezTo>
                    <a:pt x="5294337" y="1264204"/>
                    <a:pt x="5273952" y="1301913"/>
                    <a:pt x="5273952" y="1373293"/>
                  </a:cubicBezTo>
                  <a:lnTo>
                    <a:pt x="5273952" y="1638365"/>
                  </a:lnTo>
                  <a:lnTo>
                    <a:pt x="5149558" y="1638365"/>
                  </a:lnTo>
                  <a:lnTo>
                    <a:pt x="5149558" y="1157133"/>
                  </a:lnTo>
                  <a:lnTo>
                    <a:pt x="5273952" y="1157133"/>
                  </a:lnTo>
                  <a:lnTo>
                    <a:pt x="5273952" y="1189762"/>
                  </a:lnTo>
                  <a:cubicBezTo>
                    <a:pt x="5299418" y="1164297"/>
                    <a:pt x="5337192" y="1146973"/>
                    <a:pt x="5391183" y="1146973"/>
                  </a:cubicBezTo>
                  <a:cubicBezTo>
                    <a:pt x="5521700" y="1146973"/>
                    <a:pt x="5564490" y="1247922"/>
                    <a:pt x="5564490" y="1366195"/>
                  </a:cubicBezTo>
                  <a:lnTo>
                    <a:pt x="5564490" y="1638430"/>
                  </a:lnTo>
                  <a:close/>
                  <a:moveTo>
                    <a:pt x="4008772" y="1115386"/>
                  </a:moveTo>
                  <a:cubicBezTo>
                    <a:pt x="4048565" y="1115386"/>
                    <a:pt x="4080152" y="1083798"/>
                    <a:pt x="4080152" y="1044005"/>
                  </a:cubicBezTo>
                  <a:cubicBezTo>
                    <a:pt x="4080152" y="1004212"/>
                    <a:pt x="4048565" y="972624"/>
                    <a:pt x="4008772" y="972624"/>
                  </a:cubicBezTo>
                  <a:cubicBezTo>
                    <a:pt x="3968978" y="972624"/>
                    <a:pt x="3937391" y="1004212"/>
                    <a:pt x="3937391" y="1044005"/>
                  </a:cubicBezTo>
                  <a:cubicBezTo>
                    <a:pt x="3937391" y="1083798"/>
                    <a:pt x="3968978" y="1115386"/>
                    <a:pt x="4008772" y="1115386"/>
                  </a:cubicBezTo>
                  <a:close/>
                  <a:moveTo>
                    <a:pt x="829864" y="1115386"/>
                  </a:moveTo>
                  <a:cubicBezTo>
                    <a:pt x="869657" y="1115386"/>
                    <a:pt x="901244" y="1083798"/>
                    <a:pt x="901244" y="1044005"/>
                  </a:cubicBezTo>
                  <a:cubicBezTo>
                    <a:pt x="901244" y="1004212"/>
                    <a:pt x="869657" y="972624"/>
                    <a:pt x="829864" y="972624"/>
                  </a:cubicBezTo>
                  <a:cubicBezTo>
                    <a:pt x="790070" y="972624"/>
                    <a:pt x="758483" y="1004212"/>
                    <a:pt x="758483" y="1044005"/>
                  </a:cubicBezTo>
                  <a:cubicBezTo>
                    <a:pt x="758483" y="1083798"/>
                    <a:pt x="790070" y="1115386"/>
                    <a:pt x="829864" y="1115386"/>
                  </a:cubicBezTo>
                  <a:close/>
                  <a:moveTo>
                    <a:pt x="6512756" y="426134"/>
                  </a:moveTo>
                  <a:cubicBezTo>
                    <a:pt x="6512756" y="441439"/>
                    <a:pt x="6511714" y="460782"/>
                    <a:pt x="6510737" y="467946"/>
                  </a:cubicBezTo>
                  <a:lnTo>
                    <a:pt x="6219158" y="467946"/>
                  </a:lnTo>
                  <a:cubicBezTo>
                    <a:pt x="6224238" y="535224"/>
                    <a:pt x="6270154" y="562773"/>
                    <a:pt x="6322126" y="562773"/>
                  </a:cubicBezTo>
                  <a:cubicBezTo>
                    <a:pt x="6352736" y="562773"/>
                    <a:pt x="6381262" y="553590"/>
                    <a:pt x="6405751" y="529102"/>
                  </a:cubicBezTo>
                  <a:lnTo>
                    <a:pt x="6491394" y="601459"/>
                  </a:lnTo>
                  <a:cubicBezTo>
                    <a:pt x="6446521" y="657535"/>
                    <a:pt x="6378201" y="677919"/>
                    <a:pt x="6317046" y="677919"/>
                  </a:cubicBezTo>
                  <a:cubicBezTo>
                    <a:pt x="6176369" y="677919"/>
                    <a:pt x="6095805" y="569872"/>
                    <a:pt x="6095805" y="428153"/>
                  </a:cubicBezTo>
                  <a:cubicBezTo>
                    <a:pt x="6095805" y="274190"/>
                    <a:pt x="6190632" y="176302"/>
                    <a:pt x="6308905" y="176302"/>
                  </a:cubicBezTo>
                  <a:cubicBezTo>
                    <a:pt x="6435319" y="176302"/>
                    <a:pt x="6512821" y="287411"/>
                    <a:pt x="6512821" y="426069"/>
                  </a:cubicBezTo>
                  <a:close/>
                  <a:moveTo>
                    <a:pt x="6221177" y="374162"/>
                  </a:moveTo>
                  <a:lnTo>
                    <a:pt x="6392465" y="374162"/>
                  </a:lnTo>
                  <a:cubicBezTo>
                    <a:pt x="6388361" y="320105"/>
                    <a:pt x="6353713" y="283438"/>
                    <a:pt x="6304802" y="283438"/>
                  </a:cubicBezTo>
                  <a:cubicBezTo>
                    <a:pt x="6246708" y="283438"/>
                    <a:pt x="6224238" y="334433"/>
                    <a:pt x="6221177" y="374162"/>
                  </a:cubicBezTo>
                  <a:close/>
                  <a:moveTo>
                    <a:pt x="5702235" y="667825"/>
                  </a:moveTo>
                  <a:lnTo>
                    <a:pt x="5583963" y="667825"/>
                  </a:lnTo>
                  <a:lnTo>
                    <a:pt x="5583963" y="634153"/>
                  </a:lnTo>
                  <a:cubicBezTo>
                    <a:pt x="5557456" y="663721"/>
                    <a:pt x="5514666" y="677984"/>
                    <a:pt x="5471812" y="677984"/>
                  </a:cubicBezTo>
                  <a:cubicBezTo>
                    <a:pt x="5347417" y="677984"/>
                    <a:pt x="5300525" y="588238"/>
                    <a:pt x="5300525" y="458763"/>
                  </a:cubicBezTo>
                  <a:lnTo>
                    <a:pt x="5300525" y="186527"/>
                  </a:lnTo>
                  <a:lnTo>
                    <a:pt x="5420817" y="186527"/>
                  </a:lnTo>
                  <a:lnTo>
                    <a:pt x="5420817" y="448538"/>
                  </a:lnTo>
                  <a:cubicBezTo>
                    <a:pt x="5420817" y="513797"/>
                    <a:pt x="5434103" y="562708"/>
                    <a:pt x="5501380" y="562708"/>
                  </a:cubicBezTo>
                  <a:cubicBezTo>
                    <a:pt x="5568657" y="562708"/>
                    <a:pt x="5581944" y="511712"/>
                    <a:pt x="5581944" y="452576"/>
                  </a:cubicBezTo>
                  <a:lnTo>
                    <a:pt x="5581944" y="186462"/>
                  </a:lnTo>
                  <a:lnTo>
                    <a:pt x="5702235" y="186462"/>
                  </a:lnTo>
                  <a:lnTo>
                    <a:pt x="5702235" y="667695"/>
                  </a:lnTo>
                  <a:close/>
                  <a:moveTo>
                    <a:pt x="3895579" y="426134"/>
                  </a:moveTo>
                  <a:cubicBezTo>
                    <a:pt x="3895579" y="441439"/>
                    <a:pt x="3894537" y="460782"/>
                    <a:pt x="3893560" y="467946"/>
                  </a:cubicBezTo>
                  <a:lnTo>
                    <a:pt x="3601981" y="467946"/>
                  </a:lnTo>
                  <a:cubicBezTo>
                    <a:pt x="3607061" y="535224"/>
                    <a:pt x="3652976" y="562773"/>
                    <a:pt x="3704949" y="562773"/>
                  </a:cubicBezTo>
                  <a:cubicBezTo>
                    <a:pt x="3735559" y="562773"/>
                    <a:pt x="3764085" y="553590"/>
                    <a:pt x="3788573" y="529102"/>
                  </a:cubicBezTo>
                  <a:lnTo>
                    <a:pt x="3874217" y="601459"/>
                  </a:lnTo>
                  <a:cubicBezTo>
                    <a:pt x="3829343" y="657535"/>
                    <a:pt x="3761024" y="677919"/>
                    <a:pt x="3699868" y="677919"/>
                  </a:cubicBezTo>
                  <a:cubicBezTo>
                    <a:pt x="3559192" y="677919"/>
                    <a:pt x="3478628" y="569872"/>
                    <a:pt x="3478628" y="428153"/>
                  </a:cubicBezTo>
                  <a:cubicBezTo>
                    <a:pt x="3478628" y="274190"/>
                    <a:pt x="3573455" y="176302"/>
                    <a:pt x="3691727" y="176302"/>
                  </a:cubicBezTo>
                  <a:cubicBezTo>
                    <a:pt x="3818141" y="176302"/>
                    <a:pt x="3895644" y="287411"/>
                    <a:pt x="3895644" y="426069"/>
                  </a:cubicBezTo>
                  <a:close/>
                  <a:moveTo>
                    <a:pt x="3604000" y="374162"/>
                  </a:moveTo>
                  <a:lnTo>
                    <a:pt x="3775287" y="374162"/>
                  </a:lnTo>
                  <a:cubicBezTo>
                    <a:pt x="3771184" y="320105"/>
                    <a:pt x="3736536" y="283438"/>
                    <a:pt x="3687624" y="283438"/>
                  </a:cubicBezTo>
                  <a:cubicBezTo>
                    <a:pt x="3629530" y="283438"/>
                    <a:pt x="3607061" y="334433"/>
                    <a:pt x="3604000" y="374162"/>
                  </a:cubicBezTo>
                  <a:close/>
                  <a:moveTo>
                    <a:pt x="4579686" y="1638365"/>
                  </a:moveTo>
                  <a:lnTo>
                    <a:pt x="4455291" y="1638365"/>
                  </a:lnTo>
                  <a:lnTo>
                    <a:pt x="4455291" y="1606778"/>
                  </a:lnTo>
                  <a:cubicBezTo>
                    <a:pt x="4414521" y="1636346"/>
                    <a:pt x="4390032" y="1648590"/>
                    <a:pt x="4346201" y="1648590"/>
                  </a:cubicBezTo>
                  <a:cubicBezTo>
                    <a:pt x="4207543" y="1648590"/>
                    <a:pt x="4148406" y="1528299"/>
                    <a:pt x="4148406" y="1393678"/>
                  </a:cubicBezTo>
                  <a:cubicBezTo>
                    <a:pt x="4148406" y="1247856"/>
                    <a:pt x="4217703" y="1146973"/>
                    <a:pt x="4343140" y="1146973"/>
                  </a:cubicBezTo>
                  <a:cubicBezTo>
                    <a:pt x="4384952" y="1146973"/>
                    <a:pt x="4424681" y="1158175"/>
                    <a:pt x="4455291" y="1185724"/>
                  </a:cubicBezTo>
                  <a:lnTo>
                    <a:pt x="4455291" y="1031761"/>
                  </a:lnTo>
                  <a:lnTo>
                    <a:pt x="4579686" y="969564"/>
                  </a:lnTo>
                  <a:lnTo>
                    <a:pt x="4579686" y="1638365"/>
                  </a:lnTo>
                  <a:close/>
                  <a:moveTo>
                    <a:pt x="4455356" y="1489547"/>
                  </a:moveTo>
                  <a:lnTo>
                    <a:pt x="4455356" y="1306016"/>
                  </a:lnTo>
                  <a:cubicBezTo>
                    <a:pt x="4428849" y="1277490"/>
                    <a:pt x="4403384" y="1264204"/>
                    <a:pt x="4368670" y="1264204"/>
                  </a:cubicBezTo>
                  <a:cubicBezTo>
                    <a:pt x="4296313" y="1264204"/>
                    <a:pt x="4278924" y="1321321"/>
                    <a:pt x="4278924" y="1389575"/>
                  </a:cubicBezTo>
                  <a:cubicBezTo>
                    <a:pt x="4278924" y="1467078"/>
                    <a:pt x="4301328" y="1531294"/>
                    <a:pt x="4371731" y="1531294"/>
                  </a:cubicBezTo>
                  <a:cubicBezTo>
                    <a:pt x="4406380" y="1531294"/>
                    <a:pt x="4430868" y="1515989"/>
                    <a:pt x="4455356" y="1489482"/>
                  </a:cubicBezTo>
                  <a:close/>
                  <a:moveTo>
                    <a:pt x="3945532" y="1157198"/>
                  </a:moveTo>
                  <a:lnTo>
                    <a:pt x="3945532" y="1638430"/>
                  </a:lnTo>
                  <a:lnTo>
                    <a:pt x="4069927" y="1638430"/>
                  </a:lnTo>
                  <a:lnTo>
                    <a:pt x="4069927" y="1157198"/>
                  </a:lnTo>
                  <a:lnTo>
                    <a:pt x="3945532" y="1157198"/>
                  </a:lnTo>
                  <a:close/>
                  <a:moveTo>
                    <a:pt x="3873175" y="985911"/>
                  </a:moveTo>
                  <a:lnTo>
                    <a:pt x="3873175" y="1085817"/>
                  </a:lnTo>
                  <a:cubicBezTo>
                    <a:pt x="3854809" y="1079695"/>
                    <a:pt x="3830386" y="1076634"/>
                    <a:pt x="3812019" y="1076634"/>
                  </a:cubicBezTo>
                  <a:cubicBezTo>
                    <a:pt x="3776329" y="1076634"/>
                    <a:pt x="3760047" y="1087836"/>
                    <a:pt x="3760047" y="1118447"/>
                  </a:cubicBezTo>
                  <a:lnTo>
                    <a:pt x="3760047" y="1157198"/>
                  </a:lnTo>
                  <a:lnTo>
                    <a:pt x="3863015" y="1157198"/>
                  </a:lnTo>
                  <a:lnTo>
                    <a:pt x="3863015" y="1273452"/>
                  </a:lnTo>
                  <a:lnTo>
                    <a:pt x="3760047" y="1273452"/>
                  </a:lnTo>
                  <a:lnTo>
                    <a:pt x="3760047" y="1638430"/>
                  </a:lnTo>
                  <a:lnTo>
                    <a:pt x="3635652" y="1638430"/>
                  </a:lnTo>
                  <a:lnTo>
                    <a:pt x="3635652" y="1273452"/>
                  </a:lnTo>
                  <a:lnTo>
                    <a:pt x="3568375" y="1273452"/>
                  </a:lnTo>
                  <a:lnTo>
                    <a:pt x="3568375" y="1157198"/>
                  </a:lnTo>
                  <a:lnTo>
                    <a:pt x="3635652" y="1157198"/>
                  </a:lnTo>
                  <a:lnTo>
                    <a:pt x="3635652" y="1099104"/>
                  </a:lnTo>
                  <a:cubicBezTo>
                    <a:pt x="3635652" y="1009357"/>
                    <a:pt x="3691727" y="972690"/>
                    <a:pt x="3782451" y="972690"/>
                  </a:cubicBezTo>
                  <a:cubicBezTo>
                    <a:pt x="3808958" y="972690"/>
                    <a:pt x="3847710" y="975751"/>
                    <a:pt x="3873175" y="985976"/>
                  </a:cubicBezTo>
                  <a:close/>
                  <a:moveTo>
                    <a:pt x="3507154" y="1638365"/>
                  </a:moveTo>
                  <a:lnTo>
                    <a:pt x="3382759" y="1638365"/>
                  </a:lnTo>
                  <a:lnTo>
                    <a:pt x="3382759" y="1376355"/>
                  </a:lnTo>
                  <a:cubicBezTo>
                    <a:pt x="3382759" y="1309077"/>
                    <a:pt x="3367454" y="1264204"/>
                    <a:pt x="3300177" y="1264204"/>
                  </a:cubicBezTo>
                  <a:cubicBezTo>
                    <a:pt x="3236937" y="1264204"/>
                    <a:pt x="3216552" y="1301913"/>
                    <a:pt x="3216552" y="1373293"/>
                  </a:cubicBezTo>
                  <a:lnTo>
                    <a:pt x="3216552" y="1638365"/>
                  </a:lnTo>
                  <a:lnTo>
                    <a:pt x="3092157" y="1638365"/>
                  </a:lnTo>
                  <a:lnTo>
                    <a:pt x="3092157" y="1157133"/>
                  </a:lnTo>
                  <a:lnTo>
                    <a:pt x="3216552" y="1157133"/>
                  </a:lnTo>
                  <a:lnTo>
                    <a:pt x="3216552" y="1189762"/>
                  </a:lnTo>
                  <a:cubicBezTo>
                    <a:pt x="3242017" y="1164297"/>
                    <a:pt x="3279792" y="1146973"/>
                    <a:pt x="3333783" y="1146973"/>
                  </a:cubicBezTo>
                  <a:cubicBezTo>
                    <a:pt x="3464300" y="1146973"/>
                    <a:pt x="3507089" y="1247922"/>
                    <a:pt x="3507089" y="1366195"/>
                  </a:cubicBezTo>
                  <a:lnTo>
                    <a:pt x="3507089" y="1638430"/>
                  </a:lnTo>
                  <a:close/>
                  <a:moveTo>
                    <a:pt x="2792437" y="1146973"/>
                  </a:moveTo>
                  <a:cubicBezTo>
                    <a:pt x="2653779" y="1146973"/>
                    <a:pt x="2567094" y="1256063"/>
                    <a:pt x="2567094" y="1397782"/>
                  </a:cubicBezTo>
                  <a:cubicBezTo>
                    <a:pt x="2567094" y="1546665"/>
                    <a:pt x="2661920" y="1648590"/>
                    <a:pt x="2792437" y="1648590"/>
                  </a:cubicBezTo>
                  <a:cubicBezTo>
                    <a:pt x="2922954" y="1648590"/>
                    <a:pt x="3017781" y="1546665"/>
                    <a:pt x="3017781" y="1397782"/>
                  </a:cubicBezTo>
                  <a:cubicBezTo>
                    <a:pt x="3017781" y="1248899"/>
                    <a:pt x="2931095" y="1146973"/>
                    <a:pt x="2792437" y="1146973"/>
                  </a:cubicBezTo>
                  <a:close/>
                  <a:moveTo>
                    <a:pt x="2792437" y="1528299"/>
                  </a:moveTo>
                  <a:cubicBezTo>
                    <a:pt x="2712916" y="1528299"/>
                    <a:pt x="2695592" y="1451838"/>
                    <a:pt x="2695592" y="1397782"/>
                  </a:cubicBezTo>
                  <a:cubicBezTo>
                    <a:pt x="2695592" y="1323340"/>
                    <a:pt x="2726202" y="1266288"/>
                    <a:pt x="2792437" y="1266288"/>
                  </a:cubicBezTo>
                  <a:cubicBezTo>
                    <a:pt x="2858673" y="1266288"/>
                    <a:pt x="2889283" y="1323405"/>
                    <a:pt x="2889283" y="1397782"/>
                  </a:cubicBezTo>
                  <a:cubicBezTo>
                    <a:pt x="2889283" y="1451838"/>
                    <a:pt x="2871959" y="1528299"/>
                    <a:pt x="2792437" y="1528299"/>
                  </a:cubicBezTo>
                  <a:close/>
                  <a:moveTo>
                    <a:pt x="2446802" y="1467143"/>
                  </a:moveTo>
                  <a:lnTo>
                    <a:pt x="2526323" y="1542561"/>
                  </a:lnTo>
                  <a:cubicBezTo>
                    <a:pt x="2485553" y="1594534"/>
                    <a:pt x="2429478" y="1648590"/>
                    <a:pt x="2334651" y="1648590"/>
                  </a:cubicBezTo>
                  <a:cubicBezTo>
                    <a:pt x="2203157" y="1648590"/>
                    <a:pt x="2106246" y="1543604"/>
                    <a:pt x="2106246" y="1398823"/>
                  </a:cubicBezTo>
                  <a:cubicBezTo>
                    <a:pt x="2106246" y="1266288"/>
                    <a:pt x="2186810" y="1146973"/>
                    <a:pt x="2336670" y="1146973"/>
                  </a:cubicBezTo>
                  <a:cubicBezTo>
                    <a:pt x="2422314" y="1146973"/>
                    <a:pt x="2481450" y="1185724"/>
                    <a:pt x="2525281" y="1250983"/>
                  </a:cubicBezTo>
                  <a:lnTo>
                    <a:pt x="2443741" y="1333565"/>
                  </a:lnTo>
                  <a:cubicBezTo>
                    <a:pt x="2415215" y="1295856"/>
                    <a:pt x="2384604" y="1266288"/>
                    <a:pt x="2335693" y="1266288"/>
                  </a:cubicBezTo>
                  <a:cubicBezTo>
                    <a:pt x="2269393" y="1266288"/>
                    <a:pt x="2234744" y="1322363"/>
                    <a:pt x="2234744" y="1396804"/>
                  </a:cubicBezTo>
                  <a:cubicBezTo>
                    <a:pt x="2234744" y="1466101"/>
                    <a:pt x="2265355" y="1528299"/>
                    <a:pt x="2336670" y="1528299"/>
                  </a:cubicBezTo>
                  <a:cubicBezTo>
                    <a:pt x="2380501" y="1528299"/>
                    <a:pt x="2417234" y="1504852"/>
                    <a:pt x="2446802" y="1467143"/>
                  </a:cubicBezTo>
                  <a:close/>
                  <a:moveTo>
                    <a:pt x="1803530" y="1638365"/>
                  </a:moveTo>
                  <a:lnTo>
                    <a:pt x="1679135" y="1638365"/>
                  </a:lnTo>
                  <a:lnTo>
                    <a:pt x="1679135" y="1376355"/>
                  </a:lnTo>
                  <a:cubicBezTo>
                    <a:pt x="1679135" y="1309077"/>
                    <a:pt x="1663830" y="1264204"/>
                    <a:pt x="1596553" y="1264204"/>
                  </a:cubicBezTo>
                  <a:cubicBezTo>
                    <a:pt x="1533314" y="1264204"/>
                    <a:pt x="1511951" y="1301913"/>
                    <a:pt x="1511951" y="1373293"/>
                  </a:cubicBezTo>
                  <a:lnTo>
                    <a:pt x="1511951" y="1638365"/>
                  </a:lnTo>
                  <a:lnTo>
                    <a:pt x="1387557" y="1638365"/>
                  </a:lnTo>
                  <a:lnTo>
                    <a:pt x="1387557" y="1031761"/>
                  </a:lnTo>
                  <a:lnTo>
                    <a:pt x="1511951" y="969564"/>
                  </a:lnTo>
                  <a:lnTo>
                    <a:pt x="1511951" y="1189762"/>
                  </a:lnTo>
                  <a:cubicBezTo>
                    <a:pt x="1535398" y="1161236"/>
                    <a:pt x="1584309" y="1146973"/>
                    <a:pt x="1632243" y="1146973"/>
                  </a:cubicBezTo>
                  <a:cubicBezTo>
                    <a:pt x="1758657" y="1146973"/>
                    <a:pt x="1803530" y="1246880"/>
                    <a:pt x="1803530" y="1366195"/>
                  </a:cubicBezTo>
                  <a:lnTo>
                    <a:pt x="1803530" y="1638430"/>
                  </a:lnTo>
                  <a:close/>
                  <a:moveTo>
                    <a:pt x="1311031" y="1493650"/>
                  </a:moveTo>
                  <a:lnTo>
                    <a:pt x="1292665" y="1619022"/>
                  </a:lnTo>
                  <a:cubicBezTo>
                    <a:pt x="1267200" y="1639407"/>
                    <a:pt x="1205979" y="1648590"/>
                    <a:pt x="1173350" y="1648590"/>
                  </a:cubicBezTo>
                  <a:cubicBezTo>
                    <a:pt x="1097931" y="1648590"/>
                    <a:pt x="1043875" y="1588412"/>
                    <a:pt x="1043875" y="1504852"/>
                  </a:cubicBezTo>
                  <a:lnTo>
                    <a:pt x="1043875" y="1273387"/>
                  </a:lnTo>
                  <a:lnTo>
                    <a:pt x="960250" y="1273387"/>
                  </a:lnTo>
                  <a:lnTo>
                    <a:pt x="960250" y="1157133"/>
                  </a:lnTo>
                  <a:lnTo>
                    <a:pt x="1043875" y="1157133"/>
                  </a:lnTo>
                  <a:lnTo>
                    <a:pt x="1043875" y="1031761"/>
                  </a:lnTo>
                  <a:lnTo>
                    <a:pt x="1168270" y="969564"/>
                  </a:lnTo>
                  <a:lnTo>
                    <a:pt x="1168270" y="1157133"/>
                  </a:lnTo>
                  <a:lnTo>
                    <a:pt x="1308947" y="1157133"/>
                  </a:lnTo>
                  <a:lnTo>
                    <a:pt x="1308947" y="1273387"/>
                  </a:lnTo>
                  <a:lnTo>
                    <a:pt x="1168270" y="1273387"/>
                  </a:lnTo>
                  <a:lnTo>
                    <a:pt x="1168270" y="1471181"/>
                  </a:lnTo>
                  <a:cubicBezTo>
                    <a:pt x="1168270" y="1515012"/>
                    <a:pt x="1184552" y="1529275"/>
                    <a:pt x="1214120" y="1529275"/>
                  </a:cubicBezTo>
                  <a:cubicBezTo>
                    <a:pt x="1243688" y="1529275"/>
                    <a:pt x="1289539" y="1513970"/>
                    <a:pt x="1310966" y="1493585"/>
                  </a:cubicBezTo>
                  <a:close/>
                  <a:moveTo>
                    <a:pt x="767666" y="1157198"/>
                  </a:moveTo>
                  <a:lnTo>
                    <a:pt x="767666" y="1638430"/>
                  </a:lnTo>
                  <a:lnTo>
                    <a:pt x="892061" y="1638430"/>
                  </a:lnTo>
                  <a:lnTo>
                    <a:pt x="892061" y="1157198"/>
                  </a:lnTo>
                  <a:lnTo>
                    <a:pt x="767666" y="1157198"/>
                  </a:lnTo>
                  <a:close/>
                  <a:moveTo>
                    <a:pt x="702408" y="1157198"/>
                  </a:moveTo>
                  <a:lnTo>
                    <a:pt x="550529" y="1638430"/>
                  </a:lnTo>
                  <a:lnTo>
                    <a:pt x="436359" y="1638430"/>
                  </a:lnTo>
                  <a:lnTo>
                    <a:pt x="354819" y="1345809"/>
                  </a:lnTo>
                  <a:lnTo>
                    <a:pt x="272236" y="1638430"/>
                  </a:lnTo>
                  <a:lnTo>
                    <a:pt x="158066" y="1638430"/>
                  </a:lnTo>
                  <a:lnTo>
                    <a:pt x="7099" y="1157198"/>
                  </a:lnTo>
                  <a:lnTo>
                    <a:pt x="145757" y="1157198"/>
                  </a:lnTo>
                  <a:lnTo>
                    <a:pt x="218114" y="1436533"/>
                  </a:lnTo>
                  <a:lnTo>
                    <a:pt x="299655" y="1157198"/>
                  </a:lnTo>
                  <a:lnTo>
                    <a:pt x="412848" y="1157198"/>
                  </a:lnTo>
                  <a:lnTo>
                    <a:pt x="494388" y="1436533"/>
                  </a:lnTo>
                  <a:lnTo>
                    <a:pt x="567788" y="1157198"/>
                  </a:lnTo>
                  <a:lnTo>
                    <a:pt x="702343" y="1157198"/>
                  </a:lnTo>
                  <a:close/>
                  <a:moveTo>
                    <a:pt x="4436990" y="16282"/>
                  </a:moveTo>
                  <a:lnTo>
                    <a:pt x="4436990" y="115147"/>
                  </a:lnTo>
                  <a:cubicBezTo>
                    <a:pt x="4409441" y="107983"/>
                    <a:pt x="4391139" y="104921"/>
                    <a:pt x="4374792" y="104921"/>
                  </a:cubicBezTo>
                  <a:cubicBezTo>
                    <a:pt x="4332003" y="104921"/>
                    <a:pt x="4322820" y="120227"/>
                    <a:pt x="4322820" y="144715"/>
                  </a:cubicBezTo>
                  <a:lnTo>
                    <a:pt x="4322820" y="186527"/>
                  </a:lnTo>
                  <a:lnTo>
                    <a:pt x="4404361" y="186527"/>
                  </a:lnTo>
                  <a:lnTo>
                    <a:pt x="4404361" y="302781"/>
                  </a:lnTo>
                  <a:lnTo>
                    <a:pt x="4322820" y="302781"/>
                  </a:lnTo>
                  <a:lnTo>
                    <a:pt x="4322820" y="667759"/>
                  </a:lnTo>
                  <a:lnTo>
                    <a:pt x="4202528" y="667759"/>
                  </a:lnTo>
                  <a:lnTo>
                    <a:pt x="4202528" y="302781"/>
                  </a:lnTo>
                  <a:lnTo>
                    <a:pt x="4143392" y="302781"/>
                  </a:lnTo>
                  <a:lnTo>
                    <a:pt x="4143392" y="186527"/>
                  </a:lnTo>
                  <a:lnTo>
                    <a:pt x="4202528" y="186527"/>
                  </a:lnTo>
                  <a:lnTo>
                    <a:pt x="4202528" y="128433"/>
                  </a:lnTo>
                  <a:cubicBezTo>
                    <a:pt x="4202528" y="44808"/>
                    <a:pt x="4246360" y="2019"/>
                    <a:pt x="4348350" y="2019"/>
                  </a:cubicBezTo>
                  <a:cubicBezTo>
                    <a:pt x="4380980" y="2019"/>
                    <a:pt x="4407487" y="8141"/>
                    <a:pt x="4437055" y="16282"/>
                  </a:cubicBezTo>
                  <a:close/>
                  <a:moveTo>
                    <a:pt x="2957602" y="527083"/>
                  </a:moveTo>
                  <a:lnTo>
                    <a:pt x="2940278" y="649458"/>
                  </a:lnTo>
                  <a:cubicBezTo>
                    <a:pt x="2915790" y="668802"/>
                    <a:pt x="2873001" y="677984"/>
                    <a:pt x="2843433" y="677984"/>
                  </a:cubicBezTo>
                  <a:cubicBezTo>
                    <a:pt x="2770033" y="677984"/>
                    <a:pt x="2712916" y="622951"/>
                    <a:pt x="2712916" y="535224"/>
                  </a:cubicBezTo>
                  <a:lnTo>
                    <a:pt x="2712916" y="301739"/>
                  </a:lnTo>
                  <a:lnTo>
                    <a:pt x="2629291" y="301739"/>
                  </a:lnTo>
                  <a:lnTo>
                    <a:pt x="2629291" y="186527"/>
                  </a:lnTo>
                  <a:lnTo>
                    <a:pt x="2712916" y="186527"/>
                  </a:lnTo>
                  <a:lnTo>
                    <a:pt x="2712916" y="61155"/>
                  </a:lnTo>
                  <a:lnTo>
                    <a:pt x="2833208" y="0"/>
                  </a:lnTo>
                  <a:lnTo>
                    <a:pt x="2833208" y="186592"/>
                  </a:lnTo>
                  <a:lnTo>
                    <a:pt x="2945358" y="186592"/>
                  </a:lnTo>
                  <a:lnTo>
                    <a:pt x="2945358" y="301804"/>
                  </a:lnTo>
                  <a:lnTo>
                    <a:pt x="2833208" y="301804"/>
                  </a:lnTo>
                  <a:lnTo>
                    <a:pt x="2833208" y="503701"/>
                  </a:lnTo>
                  <a:cubicBezTo>
                    <a:pt x="2833208" y="545514"/>
                    <a:pt x="2850532" y="560819"/>
                    <a:pt x="2880100" y="560819"/>
                  </a:cubicBezTo>
                  <a:cubicBezTo>
                    <a:pt x="2909668" y="560819"/>
                    <a:pt x="2938194" y="545514"/>
                    <a:pt x="2957602" y="527148"/>
                  </a:cubicBezTo>
                  <a:close/>
                  <a:moveTo>
                    <a:pt x="2397891" y="426134"/>
                  </a:moveTo>
                  <a:cubicBezTo>
                    <a:pt x="2397891" y="441439"/>
                    <a:pt x="2396849" y="460782"/>
                    <a:pt x="2395872" y="467946"/>
                  </a:cubicBezTo>
                  <a:lnTo>
                    <a:pt x="2114453" y="467946"/>
                  </a:lnTo>
                  <a:cubicBezTo>
                    <a:pt x="2119533" y="535224"/>
                    <a:pt x="2166425" y="562773"/>
                    <a:pt x="2218462" y="562773"/>
                  </a:cubicBezTo>
                  <a:cubicBezTo>
                    <a:pt x="2249073" y="562773"/>
                    <a:pt x="2276557" y="553590"/>
                    <a:pt x="2301045" y="529102"/>
                  </a:cubicBezTo>
                  <a:lnTo>
                    <a:pt x="2386689" y="601459"/>
                  </a:lnTo>
                  <a:cubicBezTo>
                    <a:pt x="2346895" y="654473"/>
                    <a:pt x="2274538" y="677919"/>
                    <a:pt x="2210321" y="677919"/>
                  </a:cubicBezTo>
                  <a:cubicBezTo>
                    <a:pt x="2072705" y="677919"/>
                    <a:pt x="1991100" y="569872"/>
                    <a:pt x="1991100" y="429130"/>
                  </a:cubicBezTo>
                  <a:cubicBezTo>
                    <a:pt x="1991100" y="288388"/>
                    <a:pt x="2079804" y="176302"/>
                    <a:pt x="2205176" y="176302"/>
                  </a:cubicBezTo>
                  <a:cubicBezTo>
                    <a:pt x="2339731" y="176302"/>
                    <a:pt x="2397891" y="298678"/>
                    <a:pt x="2397891" y="426069"/>
                  </a:cubicBezTo>
                  <a:close/>
                  <a:moveTo>
                    <a:pt x="2116472" y="374162"/>
                  </a:moveTo>
                  <a:lnTo>
                    <a:pt x="2287759" y="374162"/>
                  </a:lnTo>
                  <a:cubicBezTo>
                    <a:pt x="2282679" y="320105"/>
                    <a:pt x="2251027" y="283438"/>
                    <a:pt x="2199054" y="283438"/>
                  </a:cubicBezTo>
                  <a:cubicBezTo>
                    <a:pt x="2144021" y="283438"/>
                    <a:pt x="2119533" y="334433"/>
                    <a:pt x="2116472" y="374162"/>
                  </a:cubicBezTo>
                  <a:close/>
                  <a:moveTo>
                    <a:pt x="1933982" y="428218"/>
                  </a:moveTo>
                  <a:cubicBezTo>
                    <a:pt x="1933982" y="551571"/>
                    <a:pt x="1882987" y="677984"/>
                    <a:pt x="1746413" y="677984"/>
                  </a:cubicBezTo>
                  <a:cubicBezTo>
                    <a:pt x="1693399" y="677984"/>
                    <a:pt x="1660769" y="658642"/>
                    <a:pt x="1639342" y="638191"/>
                  </a:cubicBezTo>
                  <a:lnTo>
                    <a:pt x="1639342" y="784990"/>
                  </a:lnTo>
                  <a:lnTo>
                    <a:pt x="1519050" y="845169"/>
                  </a:lnTo>
                  <a:lnTo>
                    <a:pt x="1519050" y="186527"/>
                  </a:lnTo>
                  <a:lnTo>
                    <a:pt x="1639342" y="186527"/>
                  </a:lnTo>
                  <a:lnTo>
                    <a:pt x="1639342" y="219157"/>
                  </a:lnTo>
                  <a:cubicBezTo>
                    <a:pt x="1670929" y="190630"/>
                    <a:pt x="1703559" y="176367"/>
                    <a:pt x="1748432" y="176367"/>
                  </a:cubicBezTo>
                  <a:cubicBezTo>
                    <a:pt x="1877907" y="176367"/>
                    <a:pt x="1933982" y="298743"/>
                    <a:pt x="1933982" y="428218"/>
                  </a:cubicBezTo>
                  <a:close/>
                  <a:moveTo>
                    <a:pt x="1809587" y="434340"/>
                  </a:moveTo>
                  <a:cubicBezTo>
                    <a:pt x="1809587" y="364002"/>
                    <a:pt x="1791221" y="292621"/>
                    <a:pt x="1718864" y="292621"/>
                  </a:cubicBezTo>
                  <a:cubicBezTo>
                    <a:pt x="1685193" y="292621"/>
                    <a:pt x="1658685" y="307926"/>
                    <a:pt x="1639342" y="335410"/>
                  </a:cubicBezTo>
                  <a:lnTo>
                    <a:pt x="1639342" y="518942"/>
                  </a:lnTo>
                  <a:cubicBezTo>
                    <a:pt x="1658685" y="546491"/>
                    <a:pt x="1691315" y="562773"/>
                    <a:pt x="1726028" y="562773"/>
                  </a:cubicBezTo>
                  <a:cubicBezTo>
                    <a:pt x="1793305" y="562773"/>
                    <a:pt x="1809652" y="501618"/>
                    <a:pt x="1809652" y="434340"/>
                  </a:cubicBezTo>
                  <a:close/>
                  <a:moveTo>
                    <a:pt x="1435426" y="667825"/>
                  </a:moveTo>
                  <a:lnTo>
                    <a:pt x="1315134" y="667825"/>
                  </a:lnTo>
                  <a:lnTo>
                    <a:pt x="1315134" y="634153"/>
                  </a:lnTo>
                  <a:cubicBezTo>
                    <a:pt x="1286608" y="662680"/>
                    <a:pt x="1249876" y="677984"/>
                    <a:pt x="1202983" y="677984"/>
                  </a:cubicBezTo>
                  <a:cubicBezTo>
                    <a:pt x="1108157" y="677984"/>
                    <a:pt x="1033715" y="616829"/>
                    <a:pt x="1033715" y="510800"/>
                  </a:cubicBezTo>
                  <a:cubicBezTo>
                    <a:pt x="1033715" y="404772"/>
                    <a:pt x="1106072" y="348696"/>
                    <a:pt x="1221284" y="348696"/>
                  </a:cubicBezTo>
                  <a:cubicBezTo>
                    <a:pt x="1251894" y="348696"/>
                    <a:pt x="1283482" y="352799"/>
                    <a:pt x="1315069" y="368040"/>
                  </a:cubicBezTo>
                  <a:lnTo>
                    <a:pt x="1315069" y="342574"/>
                  </a:lnTo>
                  <a:cubicBezTo>
                    <a:pt x="1315069" y="297701"/>
                    <a:pt x="1285501" y="279335"/>
                    <a:pt x="1232486" y="279335"/>
                  </a:cubicBezTo>
                  <a:cubicBezTo>
                    <a:pt x="1194777" y="279335"/>
                    <a:pt x="1159087" y="288518"/>
                    <a:pt x="1121378" y="310922"/>
                  </a:cubicBezTo>
                  <a:lnTo>
                    <a:pt x="1073443" y="225278"/>
                  </a:lnTo>
                  <a:cubicBezTo>
                    <a:pt x="1125416" y="192649"/>
                    <a:pt x="1175369" y="176367"/>
                    <a:pt x="1239650" y="176367"/>
                  </a:cubicBezTo>
                  <a:cubicBezTo>
                    <a:pt x="1360984" y="176367"/>
                    <a:pt x="1435426" y="235503"/>
                    <a:pt x="1435426" y="344593"/>
                  </a:cubicBezTo>
                  <a:lnTo>
                    <a:pt x="1435426" y="667759"/>
                  </a:lnTo>
                  <a:close/>
                  <a:moveTo>
                    <a:pt x="1315134" y="527083"/>
                  </a:moveTo>
                  <a:lnTo>
                    <a:pt x="1315134" y="465927"/>
                  </a:lnTo>
                  <a:cubicBezTo>
                    <a:pt x="1290646" y="450622"/>
                    <a:pt x="1259059" y="445542"/>
                    <a:pt x="1234570" y="445542"/>
                  </a:cubicBezTo>
                  <a:cubicBezTo>
                    <a:pt x="1181556" y="445542"/>
                    <a:pt x="1156091" y="468988"/>
                    <a:pt x="1156091" y="507740"/>
                  </a:cubicBezTo>
                  <a:cubicBezTo>
                    <a:pt x="1156091" y="544472"/>
                    <a:pt x="1179537" y="574040"/>
                    <a:pt x="1224410" y="574040"/>
                  </a:cubicBezTo>
                  <a:cubicBezTo>
                    <a:pt x="1247857" y="574040"/>
                    <a:pt x="1288627" y="565899"/>
                    <a:pt x="1315134" y="527148"/>
                  </a:cubicBezTo>
                  <a:close/>
                  <a:moveTo>
                    <a:pt x="967480" y="667825"/>
                  </a:moveTo>
                  <a:lnTo>
                    <a:pt x="847188" y="667825"/>
                  </a:lnTo>
                  <a:lnTo>
                    <a:pt x="847188" y="405814"/>
                  </a:lnTo>
                  <a:cubicBezTo>
                    <a:pt x="847188" y="340555"/>
                    <a:pt x="832925" y="292621"/>
                    <a:pt x="765647" y="292621"/>
                  </a:cubicBezTo>
                  <a:cubicBezTo>
                    <a:pt x="698370" y="292621"/>
                    <a:pt x="683065" y="336452"/>
                    <a:pt x="683065" y="402753"/>
                  </a:cubicBezTo>
                  <a:lnTo>
                    <a:pt x="683065" y="667825"/>
                  </a:lnTo>
                  <a:lnTo>
                    <a:pt x="562773" y="667825"/>
                  </a:lnTo>
                  <a:lnTo>
                    <a:pt x="562773" y="61221"/>
                  </a:lnTo>
                  <a:lnTo>
                    <a:pt x="683065" y="65"/>
                  </a:lnTo>
                  <a:lnTo>
                    <a:pt x="683065" y="220264"/>
                  </a:lnTo>
                  <a:cubicBezTo>
                    <a:pt x="709572" y="193756"/>
                    <a:pt x="742201" y="176432"/>
                    <a:pt x="796258" y="176432"/>
                  </a:cubicBezTo>
                  <a:cubicBezTo>
                    <a:pt x="923713" y="176432"/>
                    <a:pt x="967545" y="274320"/>
                    <a:pt x="967545" y="396631"/>
                  </a:cubicBezTo>
                  <a:lnTo>
                    <a:pt x="967545" y="667825"/>
                  </a:lnTo>
                  <a:close/>
                  <a:moveTo>
                    <a:pt x="496472" y="475110"/>
                  </a:moveTo>
                  <a:cubicBezTo>
                    <a:pt x="496472" y="619890"/>
                    <a:pt x="386341" y="677984"/>
                    <a:pt x="255889" y="677984"/>
                  </a:cubicBezTo>
                  <a:cubicBezTo>
                    <a:pt x="162104" y="677984"/>
                    <a:pt x="58094" y="648416"/>
                    <a:pt x="0" y="562773"/>
                  </a:cubicBezTo>
                  <a:lnTo>
                    <a:pt x="89747" y="483251"/>
                  </a:lnTo>
                  <a:cubicBezTo>
                    <a:pt x="131559" y="533205"/>
                    <a:pt x="191672" y="556651"/>
                    <a:pt x="252893" y="556651"/>
                  </a:cubicBezTo>
                  <a:cubicBezTo>
                    <a:pt x="325250" y="556651"/>
                    <a:pt x="367063" y="524022"/>
                    <a:pt x="367063" y="478171"/>
                  </a:cubicBezTo>
                  <a:cubicBezTo>
                    <a:pt x="367063" y="459805"/>
                    <a:pt x="359899" y="441439"/>
                    <a:pt x="329353" y="426199"/>
                  </a:cubicBezTo>
                  <a:cubicBezTo>
                    <a:pt x="306949" y="414997"/>
                    <a:pt x="279400" y="407833"/>
                    <a:pt x="225344" y="394612"/>
                  </a:cubicBezTo>
                  <a:cubicBezTo>
                    <a:pt x="191672" y="386471"/>
                    <a:pt x="122376" y="370124"/>
                    <a:pt x="79522" y="335475"/>
                  </a:cubicBezTo>
                  <a:cubicBezTo>
                    <a:pt x="36732" y="300827"/>
                    <a:pt x="24488" y="250874"/>
                    <a:pt x="24488" y="207042"/>
                  </a:cubicBezTo>
                  <a:cubicBezTo>
                    <a:pt x="24488" y="71445"/>
                    <a:pt x="140742" y="16412"/>
                    <a:pt x="254912" y="16412"/>
                  </a:cubicBezTo>
                  <a:cubicBezTo>
                    <a:pt x="353776" y="16412"/>
                    <a:pt x="425157" y="57182"/>
                    <a:pt x="482274" y="115277"/>
                  </a:cubicBezTo>
                  <a:lnTo>
                    <a:pt x="392528" y="202939"/>
                  </a:lnTo>
                  <a:cubicBezTo>
                    <a:pt x="350715" y="161127"/>
                    <a:pt x="309945" y="137681"/>
                    <a:pt x="246706" y="137681"/>
                  </a:cubicBezTo>
                  <a:cubicBezTo>
                    <a:pt x="192649" y="137681"/>
                    <a:pt x="152921" y="155005"/>
                    <a:pt x="152921" y="199878"/>
                  </a:cubicBezTo>
                  <a:cubicBezTo>
                    <a:pt x="152921" y="219221"/>
                    <a:pt x="160085" y="232508"/>
                    <a:pt x="179428" y="243710"/>
                  </a:cubicBezTo>
                  <a:cubicBezTo>
                    <a:pt x="201832" y="255954"/>
                    <a:pt x="233485" y="265137"/>
                    <a:pt x="282396" y="277381"/>
                  </a:cubicBezTo>
                  <a:cubicBezTo>
                    <a:pt x="340490" y="292686"/>
                    <a:pt x="394547" y="305907"/>
                    <a:pt x="438378" y="341598"/>
                  </a:cubicBezTo>
                  <a:cubicBezTo>
                    <a:pt x="477129" y="373185"/>
                    <a:pt x="496472" y="414997"/>
                    <a:pt x="496472" y="475176"/>
                  </a:cubicBezTo>
                  <a:close/>
                  <a:moveTo>
                    <a:pt x="6100885" y="208996"/>
                  </a:moveTo>
                  <a:lnTo>
                    <a:pt x="6051778" y="329288"/>
                  </a:lnTo>
                  <a:cubicBezTo>
                    <a:pt x="6033413" y="311964"/>
                    <a:pt x="6011985" y="299720"/>
                    <a:pt x="5982482" y="299720"/>
                  </a:cubicBezTo>
                  <a:cubicBezTo>
                    <a:pt x="5925365" y="299720"/>
                    <a:pt x="5911232" y="347654"/>
                    <a:pt x="5911232" y="405749"/>
                  </a:cubicBezTo>
                  <a:lnTo>
                    <a:pt x="5911232" y="667759"/>
                  </a:lnTo>
                  <a:lnTo>
                    <a:pt x="5790940" y="667759"/>
                  </a:lnTo>
                  <a:lnTo>
                    <a:pt x="5790940" y="186527"/>
                  </a:lnTo>
                  <a:lnTo>
                    <a:pt x="5911232" y="186527"/>
                  </a:lnTo>
                  <a:lnTo>
                    <a:pt x="5911232" y="220198"/>
                  </a:lnTo>
                  <a:cubicBezTo>
                    <a:pt x="5938781" y="192649"/>
                    <a:pt x="5973429" y="176367"/>
                    <a:pt x="6012181" y="176367"/>
                  </a:cubicBezTo>
                  <a:cubicBezTo>
                    <a:pt x="6045852" y="176367"/>
                    <a:pt x="6075420" y="186592"/>
                    <a:pt x="6100885" y="208996"/>
                  </a:cubicBezTo>
                  <a:close/>
                </a:path>
              </a:pathLst>
            </a:custGeom>
            <a:solidFill>
              <a:schemeClr val="bg2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153994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Blank_with_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897186E-D73E-46D0-965A-D83686BA73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537F5B-E0D1-4EAF-91A0-3FB420B2B876}" type="datetime3">
              <a:rPr lang="en-US" noProof="0" smtClean="0"/>
              <a:t>27 March 2025</a:t>
            </a:fld>
            <a:endParaRPr lang="en-US" noProof="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DEF40EA-FE63-4D50-8C90-EC25A860C0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EY DE PPT Gallery</a:t>
            </a:r>
            <a:endParaRPr lang="en-US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37420B-CF82-4784-8E9C-5C496E27C5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noProof="0" dirty="0"/>
              <a:t>Page </a:t>
            </a:r>
            <a:fld id="{F1BC30E3-FFE5-4B91-AA19-87A149EBB9E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8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283" y="4207757"/>
            <a:ext cx="647663" cy="648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1143303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blurry image of a colorful light&#10;&#10;Description automatically generated">
            <a:extLst>
              <a:ext uri="{FF2B5EF4-FFF2-40B4-BE49-F238E27FC236}">
                <a16:creationId xmlns:a16="http://schemas.microsoft.com/office/drawing/2014/main" id="{388CF986-E6D2-86D0-6501-D59429EAD0A3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32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CB74E28-9D0B-F1B4-F101-2628EB1EA4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775" y="1970406"/>
            <a:ext cx="7394575" cy="2869882"/>
          </a:xfrm>
        </p:spPr>
        <p:txBody>
          <a:bodyPr anchor="t"/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75298B-22BF-3DF1-FBE7-DF673E5A27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5775" y="370800"/>
            <a:ext cx="7394575" cy="313932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lang="en-US" sz="2400" b="1" i="0" kern="1200" dirty="0">
                <a:solidFill>
                  <a:schemeClr val="tx2"/>
                </a:solidFill>
                <a:latin typeface="EYInterstate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 dirty="0"/>
              <a:t>Chapter 00</a:t>
            </a:r>
            <a:endParaRPr lang="en-US" dirty="0"/>
          </a:p>
        </p:txBody>
      </p:sp>
      <p:sp>
        <p:nvSpPr>
          <p:cNvPr id="16" name="Date Placeholder 15">
            <a:extLst>
              <a:ext uri="{FF2B5EF4-FFF2-40B4-BE49-F238E27FC236}">
                <a16:creationId xmlns:a16="http://schemas.microsoft.com/office/drawing/2014/main" id="{DB4372B3-E211-F19D-CBD9-6CEDF871BD0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BCF1D76-2CEC-4E02-ACB7-01F89831CB77}" type="datetime3">
              <a:rPr lang="en-US" smtClean="0"/>
              <a:t>27 March 2025</a:t>
            </a:fld>
            <a:endParaRPr lang="en-US" dirty="0"/>
          </a:p>
        </p:txBody>
      </p: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53173B02-1E93-D358-4602-350A7447C76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nsert footer text here</a:t>
            </a:r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A5E3423F-0FF8-8E54-CEB8-1F15261AFD0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1BC30E3-FFE5-4B91-AA19-87A149EBB9EE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13" name="Group 4">
            <a:extLst>
              <a:ext uri="{FF2B5EF4-FFF2-40B4-BE49-F238E27FC236}">
                <a16:creationId xmlns:a16="http://schemas.microsoft.com/office/drawing/2014/main" id="{BD5D0521-4094-9D8B-52E6-631237D5BD0E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3900" y="6276977"/>
            <a:ext cx="346158" cy="355219"/>
            <a:chOff x="7110" y="4004"/>
            <a:chExt cx="191" cy="196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5F3A4557-DC1B-62FA-EE9B-0CB917BAEA5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86BA2D9F-0D2F-D79E-E499-30F4B3FB3EA5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3FC8F491-4D00-1C16-D6B2-ACD76153663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0325797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blurry image of a colorful light&#10;&#10;Description automatically generated">
            <a:extLst>
              <a:ext uri="{FF2B5EF4-FFF2-40B4-BE49-F238E27FC236}">
                <a16:creationId xmlns:a16="http://schemas.microsoft.com/office/drawing/2014/main" id="{ADC82D1B-1943-B3BC-B7E9-DADF1458A765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32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CB74E28-9D0B-F1B4-F101-2628EB1EA4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775" y="1970406"/>
            <a:ext cx="7394575" cy="2869882"/>
          </a:xfrm>
        </p:spPr>
        <p:txBody>
          <a:bodyPr anchor="t"/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75298B-22BF-3DF1-FBE7-DF673E5A27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5775" y="370800"/>
            <a:ext cx="7394575" cy="313932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lang="en-US" sz="2400" b="1" i="0" kern="1200" dirty="0">
                <a:solidFill>
                  <a:schemeClr val="tx2"/>
                </a:solidFill>
                <a:latin typeface="EYInterstate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 dirty="0"/>
              <a:t>Chapter 00</a:t>
            </a:r>
            <a:endParaRPr lang="en-US" dirty="0"/>
          </a:p>
        </p:txBody>
      </p:sp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FF04263E-9F32-7609-1152-7E305FEBE74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0863536-16E3-41B3-8EE3-6336C0F15EC9}" type="datetime3">
              <a:rPr lang="en-US" smtClean="0"/>
              <a:t>27 March 2025</a:t>
            </a:fld>
            <a:endParaRPr lang="en-US" dirty="0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F7F02905-9FFE-65B7-8565-3E827BBAECD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nsert footer text here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10BD8AE-BB2B-B523-1D74-4E8DBE2102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1BC30E3-FFE5-4B91-AA19-87A149EBB9EE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3" name="Group 4">
            <a:extLst>
              <a:ext uri="{FF2B5EF4-FFF2-40B4-BE49-F238E27FC236}">
                <a16:creationId xmlns:a16="http://schemas.microsoft.com/office/drawing/2014/main" id="{2ACB4367-2799-0576-B281-23496773778C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3900" y="6276977"/>
            <a:ext cx="346158" cy="355219"/>
            <a:chOff x="7110" y="4004"/>
            <a:chExt cx="191" cy="196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3162AF18-04FB-0708-AF33-E552339B930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4BD16F51-032F-C324-8E27-9D3386376CF6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  <p:sp>
          <p:nvSpPr>
            <p:cNvPr id="6" name="Freeform 7">
              <a:extLst>
                <a:ext uri="{FF2B5EF4-FFF2-40B4-BE49-F238E27FC236}">
                  <a16:creationId xmlns:a16="http://schemas.microsoft.com/office/drawing/2014/main" id="{ACB3712E-B0C7-5DF8-727F-B342B14E852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349536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olorful light in the dark&#10;&#10;Description automatically generated">
            <a:extLst>
              <a:ext uri="{FF2B5EF4-FFF2-40B4-BE49-F238E27FC236}">
                <a16:creationId xmlns:a16="http://schemas.microsoft.com/office/drawing/2014/main" id="{A6C92DE9-1F7F-6A8E-389D-FBCE38254ADC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32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CB74E28-9D0B-F1B4-F101-2628EB1EA4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775" y="1970406"/>
            <a:ext cx="7394575" cy="2869882"/>
          </a:xfrm>
        </p:spPr>
        <p:txBody>
          <a:bodyPr anchor="t"/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75298B-22BF-3DF1-FBE7-DF673E5A27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5775" y="370800"/>
            <a:ext cx="7394575" cy="313932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lang="en-US" sz="2400" b="1" i="0" kern="1200" dirty="0">
                <a:solidFill>
                  <a:schemeClr val="tx2"/>
                </a:solidFill>
                <a:latin typeface="EYInterstate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 dirty="0"/>
              <a:t>Chapter 00</a:t>
            </a:r>
            <a:endParaRPr lang="en-US" dirty="0"/>
          </a:p>
        </p:txBody>
      </p:sp>
      <p:sp>
        <p:nvSpPr>
          <p:cNvPr id="13" name="Date Placeholder 12">
            <a:extLst>
              <a:ext uri="{FF2B5EF4-FFF2-40B4-BE49-F238E27FC236}">
                <a16:creationId xmlns:a16="http://schemas.microsoft.com/office/drawing/2014/main" id="{A4B60AF8-644E-A0B2-7653-4332A03759F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46F9600-6ED5-4C9A-A224-B4DA76B2A994}" type="datetime3">
              <a:rPr lang="en-US" smtClean="0"/>
              <a:t>27 March 2025</a:t>
            </a:fld>
            <a:endParaRPr lang="en-US" dirty="0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466D1FDE-8AD4-4D56-5318-1DD8ED2FCA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nsert footer text here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180F9161-0A5B-9390-AAC5-925D1AE2AA8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1BC30E3-FFE5-4B91-AA19-87A149EBB9EE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4" name="Group 4">
            <a:extLst>
              <a:ext uri="{FF2B5EF4-FFF2-40B4-BE49-F238E27FC236}">
                <a16:creationId xmlns:a16="http://schemas.microsoft.com/office/drawing/2014/main" id="{3AF7C041-0026-0AA4-CDB7-598AF37652E2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3900" y="6276977"/>
            <a:ext cx="346158" cy="355219"/>
            <a:chOff x="7110" y="4004"/>
            <a:chExt cx="191" cy="196"/>
          </a:xfrm>
        </p:grpSpPr>
        <p:sp>
          <p:nvSpPr>
            <p:cNvPr id="5" name="Freeform 5">
              <a:extLst>
                <a:ext uri="{FF2B5EF4-FFF2-40B4-BE49-F238E27FC236}">
                  <a16:creationId xmlns:a16="http://schemas.microsoft.com/office/drawing/2014/main" id="{63DF9604-9FFE-5366-14B1-6E98FF54FD3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  <p:sp>
          <p:nvSpPr>
            <p:cNvPr id="6" name="Freeform 6">
              <a:extLst>
                <a:ext uri="{FF2B5EF4-FFF2-40B4-BE49-F238E27FC236}">
                  <a16:creationId xmlns:a16="http://schemas.microsoft.com/office/drawing/2014/main" id="{0B4DC74D-09B1-00C3-C853-2FCB83D83F2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  <p:sp>
          <p:nvSpPr>
            <p:cNvPr id="7" name="Freeform 7">
              <a:extLst>
                <a:ext uri="{FF2B5EF4-FFF2-40B4-BE49-F238E27FC236}">
                  <a16:creationId xmlns:a16="http://schemas.microsoft.com/office/drawing/2014/main" id="{F1BCCEAD-5BD2-139C-B8CA-47AA22CF5B9B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6063587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blurry image of a rainbow&#10;&#10;Description automatically generated">
            <a:extLst>
              <a:ext uri="{FF2B5EF4-FFF2-40B4-BE49-F238E27FC236}">
                <a16:creationId xmlns:a16="http://schemas.microsoft.com/office/drawing/2014/main" id="{C8E8709F-6A78-59BB-D254-AE4C7F2A57D8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32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CB74E28-9D0B-F1B4-F101-2628EB1EA4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775" y="1970406"/>
            <a:ext cx="7394575" cy="2869882"/>
          </a:xfrm>
        </p:spPr>
        <p:txBody>
          <a:bodyPr anchor="t"/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75298B-22BF-3DF1-FBE7-DF673E5A27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5775" y="370800"/>
            <a:ext cx="7394575" cy="313932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lang="en-US" sz="2400" b="1" i="0" kern="1200" dirty="0">
                <a:solidFill>
                  <a:schemeClr val="tx2"/>
                </a:solidFill>
                <a:latin typeface="EYInterstate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 dirty="0"/>
              <a:t>Chapter 00</a:t>
            </a:r>
            <a:endParaRPr lang="en-US" dirty="0"/>
          </a:p>
        </p:txBody>
      </p:sp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FA3F83A6-1D48-7A59-F89B-1AD446292A9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1FB31CB-384F-4A8F-9510-FCD4F8A771B9}" type="datetime3">
              <a:rPr lang="en-US" smtClean="0"/>
              <a:t>27 March 2025</a:t>
            </a:fld>
            <a:endParaRPr lang="en-US" dirty="0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7E103D91-874B-B49F-B9D9-85F52EAD810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nsert footer text here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C95BFB4-BABD-DFFF-43A5-9ABB8A6638B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1BC30E3-FFE5-4B91-AA19-87A149EBB9EE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3" name="Group 4">
            <a:extLst>
              <a:ext uri="{FF2B5EF4-FFF2-40B4-BE49-F238E27FC236}">
                <a16:creationId xmlns:a16="http://schemas.microsoft.com/office/drawing/2014/main" id="{270CFE58-C48C-EB78-A7C2-9DAD5AE279F8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3900" y="6276977"/>
            <a:ext cx="346158" cy="355219"/>
            <a:chOff x="7110" y="4004"/>
            <a:chExt cx="191" cy="196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2F9EF071-FB10-CF45-4D4C-CC7A0F2F44E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CE95E037-9B68-6C43-6E58-19731A170D1C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  <p:sp>
          <p:nvSpPr>
            <p:cNvPr id="6" name="Freeform 7">
              <a:extLst>
                <a:ext uri="{FF2B5EF4-FFF2-40B4-BE49-F238E27FC236}">
                  <a16:creationId xmlns:a16="http://schemas.microsoft.com/office/drawing/2014/main" id="{88EF229A-7417-0859-E03A-6DE977AAA537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6598730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colorful circle on a black background&#10;&#10;Description automatically generated">
            <a:extLst>
              <a:ext uri="{FF2B5EF4-FFF2-40B4-BE49-F238E27FC236}">
                <a16:creationId xmlns:a16="http://schemas.microsoft.com/office/drawing/2014/main" id="{9B1A0959-0F7F-FF84-F8C5-2E76E9D45F4F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32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CB74E28-9D0B-F1B4-F101-2628EB1EA4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775" y="1970406"/>
            <a:ext cx="7394575" cy="2869882"/>
          </a:xfrm>
        </p:spPr>
        <p:txBody>
          <a:bodyPr anchor="t"/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75298B-22BF-3DF1-FBE7-DF673E5A27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5775" y="370800"/>
            <a:ext cx="7394575" cy="313932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lang="en-US" sz="2400" b="1" i="0" kern="1200" dirty="0">
                <a:solidFill>
                  <a:schemeClr val="tx2"/>
                </a:solidFill>
                <a:latin typeface="EYInterstate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 dirty="0"/>
              <a:t>Chapter 00</a:t>
            </a:r>
            <a:endParaRPr lang="en-US" dirty="0"/>
          </a:p>
        </p:txBody>
      </p:sp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B5D9BED5-140F-F03D-CA60-9453F1A86D9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6A3CE14-CA98-4346-A092-1EF8A638A488}" type="datetime3">
              <a:rPr lang="en-US" smtClean="0"/>
              <a:t>27 March 2025</a:t>
            </a:fld>
            <a:endParaRPr lang="en-US" dirty="0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E931943E-2952-F25A-ECCA-F329235A737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nsert footer text here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EBCB7712-53BF-0892-3D4B-354DE5C528E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1BC30E3-FFE5-4B91-AA19-87A149EBB9EE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3" name="Group 4">
            <a:extLst>
              <a:ext uri="{FF2B5EF4-FFF2-40B4-BE49-F238E27FC236}">
                <a16:creationId xmlns:a16="http://schemas.microsoft.com/office/drawing/2014/main" id="{9E60EA83-A995-4505-DF09-49ACD12C00EC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3900" y="6276977"/>
            <a:ext cx="346158" cy="355219"/>
            <a:chOff x="7110" y="4004"/>
            <a:chExt cx="191" cy="196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9E24CB42-4B4A-FBF9-0318-8441E851EE4A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2A995D54-A48E-D49D-D858-C351B74BD969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  <p:sp>
          <p:nvSpPr>
            <p:cNvPr id="6" name="Freeform 7">
              <a:extLst>
                <a:ext uri="{FF2B5EF4-FFF2-40B4-BE49-F238E27FC236}">
                  <a16:creationId xmlns:a16="http://schemas.microsoft.com/office/drawing/2014/main" id="{24627D92-7A05-96EE-D2CC-1DCE97AE03E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9396527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blurry image of a rainbow&#10;&#10;Description automatically generated">
            <a:extLst>
              <a:ext uri="{FF2B5EF4-FFF2-40B4-BE49-F238E27FC236}">
                <a16:creationId xmlns:a16="http://schemas.microsoft.com/office/drawing/2014/main" id="{36630E4E-7F64-A84B-6022-F16994E95375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32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CB74E28-9D0B-F1B4-F101-2628EB1EA4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775" y="3053616"/>
            <a:ext cx="7394575" cy="2869882"/>
          </a:xfrm>
        </p:spPr>
        <p:txBody>
          <a:bodyPr anchor="t"/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75298B-22BF-3DF1-FBE7-DF673E5A27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5775" y="370800"/>
            <a:ext cx="7394575" cy="2169200"/>
          </a:xfrm>
        </p:spPr>
        <p:txBody>
          <a:bodyPr lIns="0" tIns="0" rIns="0" bIns="0" anchor="b">
            <a:noAutofit/>
          </a:bodyPr>
          <a:lstStyle>
            <a:lvl1pPr marL="0" indent="0">
              <a:lnSpc>
                <a:spcPct val="85000"/>
              </a:lnSpc>
              <a:spcAft>
                <a:spcPts val="0"/>
              </a:spcAft>
              <a:buNone/>
              <a:defRPr kumimoji="0" lang="en-US" sz="16600" b="1" i="0" u="none" strike="noStrike" kern="1200" cap="none" spc="0" normalizeH="0" baseline="0" dirty="0">
                <a:ln>
                  <a:noFill/>
                </a:ln>
                <a:solidFill>
                  <a:srgbClr val="747480">
                    <a:alpha val="50000"/>
                  </a:srgbClr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defRPr>
            </a:lvl1pPr>
          </a:lstStyle>
          <a:p>
            <a:pPr marL="0" marR="0" lvl="0" indent="0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00</a:t>
            </a:r>
            <a:endParaRPr lang="en-US" dirty="0"/>
          </a:p>
        </p:txBody>
      </p:sp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B5D9BED5-140F-F03D-CA60-9453F1A86D9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332A259-F8E3-4784-BD8A-EF60F0C6BC42}" type="datetime3">
              <a:rPr lang="en-US" smtClean="0"/>
              <a:t>27 March 2025</a:t>
            </a:fld>
            <a:endParaRPr lang="en-US" dirty="0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E931943E-2952-F25A-ECCA-F329235A737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nsert footer text here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EBCB7712-53BF-0892-3D4B-354DE5C528E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1BC30E3-FFE5-4B91-AA19-87A149EBB9EE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3" name="Group 4">
            <a:extLst>
              <a:ext uri="{FF2B5EF4-FFF2-40B4-BE49-F238E27FC236}">
                <a16:creationId xmlns:a16="http://schemas.microsoft.com/office/drawing/2014/main" id="{9696C931-4C81-6F33-3CA2-708B10471C3A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3900" y="6276977"/>
            <a:ext cx="346158" cy="355219"/>
            <a:chOff x="7110" y="4004"/>
            <a:chExt cx="191" cy="196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830BE3B6-2EB9-156E-3A7A-7F956DB536C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  <p:sp>
          <p:nvSpPr>
            <p:cNvPr id="6" name="Freeform 6">
              <a:extLst>
                <a:ext uri="{FF2B5EF4-FFF2-40B4-BE49-F238E27FC236}">
                  <a16:creationId xmlns:a16="http://schemas.microsoft.com/office/drawing/2014/main" id="{021EE694-476F-48E9-DBF3-00C4B0D561A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  <p:sp>
          <p:nvSpPr>
            <p:cNvPr id="7" name="Freeform 7">
              <a:extLst>
                <a:ext uri="{FF2B5EF4-FFF2-40B4-BE49-F238E27FC236}">
                  <a16:creationId xmlns:a16="http://schemas.microsoft.com/office/drawing/2014/main" id="{1B209E70-506F-D144-1E7B-6713638814A5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9175395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blurry image of a rainbow&#10;&#10;Description automatically generated">
            <a:extLst>
              <a:ext uri="{FF2B5EF4-FFF2-40B4-BE49-F238E27FC236}">
                <a16:creationId xmlns:a16="http://schemas.microsoft.com/office/drawing/2014/main" id="{0CF60EBF-BB0E-A13F-6F1D-8E03C5FC39A6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32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930FFC6-DEA1-5FCD-0ABD-350186ADBF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523" y="369888"/>
            <a:ext cx="3314701" cy="470898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Contents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B8AEA00-448F-1217-B10E-ABF6D402B4C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5775" y="1411287"/>
            <a:ext cx="5099050" cy="4638675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 sz="24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Introduction text goes here and delete the bullet if not required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6" name="Date Placeholder 15">
            <a:extLst>
              <a:ext uri="{FF2B5EF4-FFF2-40B4-BE49-F238E27FC236}">
                <a16:creationId xmlns:a16="http://schemas.microsoft.com/office/drawing/2014/main" id="{6B67F104-BCCD-4057-9F3C-70C29E057A50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39251F1-7BB6-483D-8AA9-8EF84A63B40F}" type="datetime3">
              <a:rPr lang="en-US" smtClean="0"/>
              <a:t>27 March 2025</a:t>
            </a:fld>
            <a:endParaRPr lang="en-US" dirty="0"/>
          </a:p>
        </p:txBody>
      </p: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6880D4C2-A728-3810-8EAF-6AC78A949BE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nsert footer text here</a:t>
            </a:r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4CB206C2-DFD0-9033-25AE-68BCB50C193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1BC30E3-FFE5-4B91-AA19-87A149EBB9EE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3" name="Group 4">
            <a:extLst>
              <a:ext uri="{FF2B5EF4-FFF2-40B4-BE49-F238E27FC236}">
                <a16:creationId xmlns:a16="http://schemas.microsoft.com/office/drawing/2014/main" id="{90438EF0-1449-85A8-FBE7-6ACEB03F8A8F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3900" y="6276977"/>
            <a:ext cx="346158" cy="355219"/>
            <a:chOff x="7110" y="4004"/>
            <a:chExt cx="191" cy="196"/>
          </a:xfrm>
        </p:grpSpPr>
        <p:sp>
          <p:nvSpPr>
            <p:cNvPr id="5" name="Freeform 5">
              <a:extLst>
                <a:ext uri="{FF2B5EF4-FFF2-40B4-BE49-F238E27FC236}">
                  <a16:creationId xmlns:a16="http://schemas.microsoft.com/office/drawing/2014/main" id="{A11353AE-2D42-C6F1-6790-6AC38AEF162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  <p:sp>
          <p:nvSpPr>
            <p:cNvPr id="6" name="Freeform 6">
              <a:extLst>
                <a:ext uri="{FF2B5EF4-FFF2-40B4-BE49-F238E27FC236}">
                  <a16:creationId xmlns:a16="http://schemas.microsoft.com/office/drawing/2014/main" id="{053A18AE-475B-441E-3104-964AD8366011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95581FA5-36F5-CE9F-B03C-3AE435012569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C8D62577-E867-CFB5-4396-A62B9BC9767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096000" y="1411287"/>
            <a:ext cx="5610225" cy="4638675"/>
          </a:xfrm>
        </p:spPr>
        <p:txBody>
          <a:bodyPr/>
          <a:lstStyle>
            <a:lvl1pPr marL="457200" indent="-457200">
              <a:buFont typeface="+mj-lt"/>
              <a:buAutoNum type="arabicPeriod"/>
              <a:defRPr sz="1800">
                <a:solidFill>
                  <a:schemeClr val="tx1"/>
                </a:solidFill>
              </a:defRPr>
            </a:lvl1pPr>
            <a:lvl2pPr marL="914400" indent="-457200">
              <a:defRPr sz="1600">
                <a:solidFill>
                  <a:schemeClr val="tx1"/>
                </a:solidFill>
              </a:defRPr>
            </a:lvl2pPr>
            <a:lvl3pPr marL="914400" indent="-457200">
              <a:defRPr sz="1600">
                <a:solidFill>
                  <a:schemeClr val="tx1"/>
                </a:solidFill>
              </a:defRPr>
            </a:lvl3pPr>
            <a:lvl4pPr marL="914400" indent="-457200">
              <a:defRPr sz="1400">
                <a:solidFill>
                  <a:schemeClr val="tx1"/>
                </a:solidFill>
              </a:defRPr>
            </a:lvl4pPr>
            <a:lvl5pPr marL="914400" indent="-457200"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IN" dirty="0"/>
              <a:t>Section header goes here and to insert page numbers use the tab button on the keyboard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503513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bright light in the dark&#10;&#10;Description automatically generated">
            <a:extLst>
              <a:ext uri="{FF2B5EF4-FFF2-40B4-BE49-F238E27FC236}">
                <a16:creationId xmlns:a16="http://schemas.microsoft.com/office/drawing/2014/main" id="{C6893964-B096-BBF5-42BC-1EAE055022BA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3200" cy="6858000"/>
          </a:xfrm>
          <a:prstGeom prst="rect">
            <a:avLst/>
          </a:prstGeom>
        </p:spPr>
      </p:pic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B9199D71-1BDD-2925-CD92-9B0B3F8439E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756957" y="1411287"/>
            <a:ext cx="1873220" cy="2031325"/>
          </a:xfrm>
        </p:spPr>
        <p:txBody>
          <a:bodyPr wrap="square">
            <a:spAutoFit/>
          </a:bodyPr>
          <a:lstStyle>
            <a:lvl1pPr marL="0" indent="0">
              <a:buNone/>
              <a:defRPr sz="13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0</a:t>
            </a:r>
            <a:endParaRPr lang="en-US" dirty="0"/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F8391354-FDE4-DE4D-8084-A61467B9F4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 flipH="1">
            <a:off x="2845421" y="3642518"/>
            <a:ext cx="1784756" cy="240744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Agenda text goes here and delete the bullet if not required</a:t>
            </a:r>
            <a:endParaRPr lang="en-US" dirty="0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F575A1BC-5BD6-1793-C917-0720FC3DE98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116855" y="1411287"/>
            <a:ext cx="1873220" cy="2031325"/>
          </a:xfrm>
        </p:spPr>
        <p:txBody>
          <a:bodyPr wrap="square">
            <a:spAutoFit/>
          </a:bodyPr>
          <a:lstStyle>
            <a:lvl1pPr marL="0" indent="0">
              <a:buNone/>
              <a:defRPr sz="13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0</a:t>
            </a:r>
            <a:endParaRPr lang="en-US" dirty="0"/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F9CBCE1B-3F39-C7B5-CCE2-AE84242E774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 flipH="1">
            <a:off x="5205319" y="3642518"/>
            <a:ext cx="1784756" cy="240744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Agenda text goes here and delete the bullet if not required</a:t>
            </a:r>
            <a:endParaRPr lang="en-US" dirty="0"/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814015C2-B8E4-B890-4CD0-F6A3A2052CAC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565217" y="3642518"/>
            <a:ext cx="1784756" cy="240744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Agenda text goes here and delete the bullet if not required</a:t>
            </a:r>
            <a:endParaRPr lang="en-US" dirty="0"/>
          </a:p>
        </p:txBody>
      </p:sp>
      <p:sp>
        <p:nvSpPr>
          <p:cNvPr id="30" name="Text Placeholder 9">
            <a:extLst>
              <a:ext uri="{FF2B5EF4-FFF2-40B4-BE49-F238E27FC236}">
                <a16:creationId xmlns:a16="http://schemas.microsoft.com/office/drawing/2014/main" id="{37959C9A-F406-FB92-6FFF-08F42234CF91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836650" y="1411287"/>
            <a:ext cx="1873220" cy="2031325"/>
          </a:xfrm>
        </p:spPr>
        <p:txBody>
          <a:bodyPr wrap="square">
            <a:spAutoFit/>
          </a:bodyPr>
          <a:lstStyle>
            <a:lvl1pPr marL="0" indent="0">
              <a:buNone/>
              <a:defRPr sz="13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0</a:t>
            </a:r>
            <a:endParaRPr lang="en-US" dirty="0"/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BC6A6256-32C1-F83C-4A32-D674785CF1D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925114" y="3642518"/>
            <a:ext cx="1784756" cy="240744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Agenda text goes here and delete the bullet if not required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49EC5F5-14E0-4B05-29E6-E9A059AA10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523" y="369888"/>
            <a:ext cx="11224347" cy="470898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Agenda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20A2165-CDB3-28AA-F42A-E5E3D72C144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7311" y="1411287"/>
            <a:ext cx="1873220" cy="2031325"/>
          </a:xfrm>
        </p:spPr>
        <p:txBody>
          <a:bodyPr wrap="square">
            <a:spAutoFit/>
          </a:bodyPr>
          <a:lstStyle>
            <a:lvl1pPr marL="0" indent="0">
              <a:buNone/>
              <a:defRPr sz="13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0</a:t>
            </a:r>
            <a:endParaRPr lang="en-US" dirty="0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F78D4931-12A7-7D80-F380-EDF6BE10CA4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85523" y="3642518"/>
            <a:ext cx="1784756" cy="240744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Agenda text goes here and delete the bullet if not required</a:t>
            </a:r>
            <a:endParaRPr lang="en-US" dirty="0"/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38D52684-7A0E-2BDF-C56C-F721FED04E3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476754" y="1411287"/>
            <a:ext cx="1873220" cy="2031325"/>
          </a:xfrm>
        </p:spPr>
        <p:txBody>
          <a:bodyPr wrap="square">
            <a:spAutoFit/>
          </a:bodyPr>
          <a:lstStyle>
            <a:lvl1pPr marL="0" indent="0">
              <a:buNone/>
              <a:defRPr sz="13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0</a:t>
            </a:r>
            <a:endParaRPr lang="en-US" dirty="0"/>
          </a:p>
        </p:txBody>
      </p:sp>
      <p:sp>
        <p:nvSpPr>
          <p:cNvPr id="36" name="SmartArt Placeholder 35">
            <a:extLst>
              <a:ext uri="{FF2B5EF4-FFF2-40B4-BE49-F238E27FC236}">
                <a16:creationId xmlns:a16="http://schemas.microsoft.com/office/drawing/2014/main" id="{6D23DAA3-59C7-A352-8728-D157F22D25EF}"/>
              </a:ext>
            </a:extLst>
          </p:cNvPr>
          <p:cNvSpPr>
            <a:spLocks noGrp="1"/>
          </p:cNvSpPr>
          <p:nvPr>
            <p:ph type="dgm" sz="quarter" idx="36" hasCustomPrompt="1"/>
          </p:nvPr>
        </p:nvSpPr>
        <p:spPr>
          <a:xfrm>
            <a:off x="2556050" y="2020781"/>
            <a:ext cx="3600" cy="4030662"/>
          </a:xfrm>
          <a:solidFill>
            <a:schemeClr val="tx1"/>
          </a:solidFill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37" name="SmartArt Placeholder 35">
            <a:extLst>
              <a:ext uri="{FF2B5EF4-FFF2-40B4-BE49-F238E27FC236}">
                <a16:creationId xmlns:a16="http://schemas.microsoft.com/office/drawing/2014/main" id="{D33DFC67-321E-4CFE-436A-CF6FA96BA7E4}"/>
              </a:ext>
            </a:extLst>
          </p:cNvPr>
          <p:cNvSpPr>
            <a:spLocks noGrp="1"/>
          </p:cNvSpPr>
          <p:nvPr>
            <p:ph type="dgm" sz="quarter" idx="37" hasCustomPrompt="1"/>
          </p:nvPr>
        </p:nvSpPr>
        <p:spPr>
          <a:xfrm flipH="1">
            <a:off x="4915948" y="2020781"/>
            <a:ext cx="3600" cy="4030662"/>
          </a:xfrm>
          <a:solidFill>
            <a:schemeClr val="tx1"/>
          </a:solidFill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38" name="SmartArt Placeholder 35">
            <a:extLst>
              <a:ext uri="{FF2B5EF4-FFF2-40B4-BE49-F238E27FC236}">
                <a16:creationId xmlns:a16="http://schemas.microsoft.com/office/drawing/2014/main" id="{A43CB924-4778-AEB3-1D6C-5B802CD043B0}"/>
              </a:ext>
            </a:extLst>
          </p:cNvPr>
          <p:cNvSpPr>
            <a:spLocks noGrp="1"/>
          </p:cNvSpPr>
          <p:nvPr>
            <p:ph type="dgm" sz="quarter" idx="38" hasCustomPrompt="1"/>
          </p:nvPr>
        </p:nvSpPr>
        <p:spPr>
          <a:xfrm>
            <a:off x="7275846" y="2020781"/>
            <a:ext cx="3600" cy="4030662"/>
          </a:xfrm>
          <a:solidFill>
            <a:schemeClr val="tx1"/>
          </a:solidFill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39" name="SmartArt Placeholder 35">
            <a:extLst>
              <a:ext uri="{FF2B5EF4-FFF2-40B4-BE49-F238E27FC236}">
                <a16:creationId xmlns:a16="http://schemas.microsoft.com/office/drawing/2014/main" id="{225723D6-9330-76F1-3F3B-6A582AC1C154}"/>
              </a:ext>
            </a:extLst>
          </p:cNvPr>
          <p:cNvSpPr>
            <a:spLocks noGrp="1"/>
          </p:cNvSpPr>
          <p:nvPr>
            <p:ph type="dgm" sz="quarter" idx="39" hasCustomPrompt="1"/>
          </p:nvPr>
        </p:nvSpPr>
        <p:spPr>
          <a:xfrm>
            <a:off x="9635744" y="2020781"/>
            <a:ext cx="3600" cy="4030662"/>
          </a:xfrm>
          <a:solidFill>
            <a:schemeClr val="tx1"/>
          </a:solidFill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019C0555-55BD-32D2-B375-0C0BC6641F54}"/>
              </a:ext>
            </a:extLst>
          </p:cNvPr>
          <p:cNvSpPr>
            <a:spLocks noGrp="1"/>
          </p:cNvSpPr>
          <p:nvPr>
            <p:ph type="dt" sz="half" idx="4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722AE78-E772-4DEF-96E4-D0AB4115C504}" type="datetime3">
              <a:rPr lang="en-US" smtClean="0"/>
              <a:t>27 March 2025</a:t>
            </a:fld>
            <a:endParaRPr lang="en-US" dirty="0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CAA8F600-C044-B2C2-407F-BE157F6651C1}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nsert footer text here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4E7CD09-1595-ACE1-D22D-0DB2944898EF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1BC30E3-FFE5-4B91-AA19-87A149EBB9EE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4" name="Group 4">
            <a:extLst>
              <a:ext uri="{FF2B5EF4-FFF2-40B4-BE49-F238E27FC236}">
                <a16:creationId xmlns:a16="http://schemas.microsoft.com/office/drawing/2014/main" id="{8453F1BC-17EA-77B8-592E-FCFE83B19F75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3900" y="6276977"/>
            <a:ext cx="346158" cy="355219"/>
            <a:chOff x="7110" y="4004"/>
            <a:chExt cx="191" cy="196"/>
          </a:xfrm>
        </p:grpSpPr>
        <p:sp>
          <p:nvSpPr>
            <p:cNvPr id="5" name="Freeform 5">
              <a:extLst>
                <a:ext uri="{FF2B5EF4-FFF2-40B4-BE49-F238E27FC236}">
                  <a16:creationId xmlns:a16="http://schemas.microsoft.com/office/drawing/2014/main" id="{9B26ED38-5705-7F09-4DBF-E084B72B0749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  <p:sp>
          <p:nvSpPr>
            <p:cNvPr id="6" name="Freeform 6">
              <a:extLst>
                <a:ext uri="{FF2B5EF4-FFF2-40B4-BE49-F238E27FC236}">
                  <a16:creationId xmlns:a16="http://schemas.microsoft.com/office/drawing/2014/main" id="{1C5BFB2A-1E13-09AB-7074-98B802DA0A9A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  <p:sp>
          <p:nvSpPr>
            <p:cNvPr id="7" name="Freeform 7">
              <a:extLst>
                <a:ext uri="{FF2B5EF4-FFF2-40B4-BE49-F238E27FC236}">
                  <a16:creationId xmlns:a16="http://schemas.microsoft.com/office/drawing/2014/main" id="{5EF03636-2B32-4286-9F50-04A4BF522262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4213240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colorful circle on a black background&#10;&#10;Description automatically generated">
            <a:extLst>
              <a:ext uri="{FF2B5EF4-FFF2-40B4-BE49-F238E27FC236}">
                <a16:creationId xmlns:a16="http://schemas.microsoft.com/office/drawing/2014/main" id="{C39DD3F9-9341-288C-0536-DED981D0E40F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3200" cy="6858000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1F20FD9-346B-5423-9ECF-F0D4E362CCC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5774" y="1947546"/>
            <a:ext cx="11218863" cy="4304030"/>
          </a:xfrm>
        </p:spPr>
        <p:txBody>
          <a:bodyPr/>
          <a:lstStyle>
            <a:lvl1pPr marL="0" indent="0">
              <a:lnSpc>
                <a:spcPct val="85000"/>
              </a:lnSpc>
              <a:buNone/>
              <a:defRPr sz="8000" b="1">
                <a:solidFill>
                  <a:schemeClr val="tx1"/>
                </a:solidFill>
                <a:latin typeface="EYInterstate" panose="02000503020000020004" pitchFamily="2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D2006E5E-EB55-C43F-A9B4-8DABEB5C239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FF0D423-2F6A-40D7-A2CE-8B6843F98C8C}" type="datetime3">
              <a:rPr lang="en-US" smtClean="0"/>
              <a:t>27 March 2025</a:t>
            </a:fld>
            <a:endParaRPr lang="en-US" dirty="0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445F7D0D-6905-1D3D-D30A-EBA5E1125CB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nsert footer text here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97363F73-563F-BF23-4175-916ADF6ADD1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1BC30E3-FFE5-4B91-AA19-87A149EBB9EE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2" name="Group 4">
            <a:extLst>
              <a:ext uri="{FF2B5EF4-FFF2-40B4-BE49-F238E27FC236}">
                <a16:creationId xmlns:a16="http://schemas.microsoft.com/office/drawing/2014/main" id="{E0806E92-9CA8-7CD6-8C03-853AAAF98846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3900" y="6276977"/>
            <a:ext cx="346158" cy="355219"/>
            <a:chOff x="7110" y="4004"/>
            <a:chExt cx="191" cy="196"/>
          </a:xfrm>
        </p:grpSpPr>
        <p:sp>
          <p:nvSpPr>
            <p:cNvPr id="3" name="Freeform 5">
              <a:extLst>
                <a:ext uri="{FF2B5EF4-FFF2-40B4-BE49-F238E27FC236}">
                  <a16:creationId xmlns:a16="http://schemas.microsoft.com/office/drawing/2014/main" id="{F98ACE82-2958-251A-9634-105994D7768C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  <p:sp>
          <p:nvSpPr>
            <p:cNvPr id="4" name="Freeform 6">
              <a:extLst>
                <a:ext uri="{FF2B5EF4-FFF2-40B4-BE49-F238E27FC236}">
                  <a16:creationId xmlns:a16="http://schemas.microsoft.com/office/drawing/2014/main" id="{8A190E6F-E59B-12A9-9497-C41DFEF6B3DC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  <p:sp>
          <p:nvSpPr>
            <p:cNvPr id="5" name="Freeform 7">
              <a:extLst>
                <a:ext uri="{FF2B5EF4-FFF2-40B4-BE49-F238E27FC236}">
                  <a16:creationId xmlns:a16="http://schemas.microsoft.com/office/drawing/2014/main" id="{B2FA1C3C-0418-38FF-CF34-587CFC0C570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8123614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blurry image of a colorful light&#10;&#10;Description automatically generated">
            <a:extLst>
              <a:ext uri="{FF2B5EF4-FFF2-40B4-BE49-F238E27FC236}">
                <a16:creationId xmlns:a16="http://schemas.microsoft.com/office/drawing/2014/main" id="{BFF9BC5C-A44C-B902-3ACE-C29AC4CE3E4C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3200" cy="6858000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1F20FD9-346B-5423-9ECF-F0D4E362CCC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5774" y="1947546"/>
            <a:ext cx="11218863" cy="4304030"/>
          </a:xfrm>
        </p:spPr>
        <p:txBody>
          <a:bodyPr/>
          <a:lstStyle>
            <a:lvl1pPr marL="0" indent="0">
              <a:lnSpc>
                <a:spcPct val="85000"/>
              </a:lnSpc>
              <a:buNone/>
              <a:defRPr sz="8000" b="1">
                <a:solidFill>
                  <a:schemeClr val="tx1"/>
                </a:solidFill>
                <a:latin typeface="EYInterstate" panose="02000503020000020004" pitchFamily="2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7" name="Date Placeholder 16">
            <a:extLst>
              <a:ext uri="{FF2B5EF4-FFF2-40B4-BE49-F238E27FC236}">
                <a16:creationId xmlns:a16="http://schemas.microsoft.com/office/drawing/2014/main" id="{81B29507-2BB1-EC71-EE9B-8A9EE3F01E0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A3838CF-E956-4CBC-A657-88B9F9FEF984}" type="datetime3">
              <a:rPr lang="en-US" smtClean="0"/>
              <a:t>27 March 2025</a:t>
            </a:fld>
            <a:endParaRPr lang="en-US" dirty="0"/>
          </a:p>
        </p:txBody>
      </p: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E046374F-F6C3-5157-DBE0-F11F0D83F93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nsert footer text here</a:t>
            </a: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C71B9A51-27B6-2F80-3AE9-7FB15995610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1BC30E3-FFE5-4B91-AA19-87A149EBB9EE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2" name="Group 4">
            <a:extLst>
              <a:ext uri="{FF2B5EF4-FFF2-40B4-BE49-F238E27FC236}">
                <a16:creationId xmlns:a16="http://schemas.microsoft.com/office/drawing/2014/main" id="{1CDE27BD-46C7-A524-5EB7-8B5FEEA62B74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3900" y="6276977"/>
            <a:ext cx="346158" cy="355219"/>
            <a:chOff x="7110" y="4004"/>
            <a:chExt cx="191" cy="196"/>
          </a:xfrm>
        </p:grpSpPr>
        <p:sp>
          <p:nvSpPr>
            <p:cNvPr id="3" name="Freeform 5">
              <a:extLst>
                <a:ext uri="{FF2B5EF4-FFF2-40B4-BE49-F238E27FC236}">
                  <a16:creationId xmlns:a16="http://schemas.microsoft.com/office/drawing/2014/main" id="{A4C2A58F-B939-7AED-F76A-0D247C5D6F1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  <p:sp>
          <p:nvSpPr>
            <p:cNvPr id="4" name="Freeform 6">
              <a:extLst>
                <a:ext uri="{FF2B5EF4-FFF2-40B4-BE49-F238E27FC236}">
                  <a16:creationId xmlns:a16="http://schemas.microsoft.com/office/drawing/2014/main" id="{41374777-5950-D16E-5C8A-CEEBDD9C5F6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  <p:sp>
          <p:nvSpPr>
            <p:cNvPr id="5" name="Freeform 7">
              <a:extLst>
                <a:ext uri="{FF2B5EF4-FFF2-40B4-BE49-F238E27FC236}">
                  <a16:creationId xmlns:a16="http://schemas.microsoft.com/office/drawing/2014/main" id="{86648B71-A102-284C-B1D1-FB11D93E1D12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781362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Grafik 19">
            <a:extLst>
              <a:ext uri="{FF2B5EF4-FFF2-40B4-BE49-F238E27FC236}">
                <a16:creationId xmlns:a16="http://schemas.microsoft.com/office/drawing/2014/main" id="{27AFDD07-61AF-49C8-B074-26A39CFBB7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74" y="1"/>
            <a:ext cx="12188826" cy="6858000"/>
          </a:xfrm>
          <a:prstGeom prst="rect">
            <a:avLst/>
          </a:prstGeom>
        </p:spPr>
      </p:pic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576DE017-86A7-4C6D-BB8C-59DE6F188C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7652514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18" progId="TCLayout.ActiveDocument.1">
                  <p:embed/>
                </p:oleObj>
              </mc:Choice>
              <mc:Fallback>
                <p:oleObj name="think-cell Slide" r:id="rId5" imgW="352" imgH="318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576DE017-86A7-4C6D-BB8C-59DE6F188C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>
            <a:extLst>
              <a:ext uri="{FF2B5EF4-FFF2-40B4-BE49-F238E27FC236}">
                <a16:creationId xmlns:a16="http://schemas.microsoft.com/office/drawing/2014/main" id="{5D5E9AE9-AEC6-45A6-BB0F-E145C7CB6D0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rgbClr val="D2D2DA"/>
          </a:solidFill>
          <a:ln w="12700" cap="sq" cmpd="sng" algn="ctr">
            <a:noFill/>
            <a:prstDash val="solid"/>
            <a:miter lim="800000"/>
            <a:tailEnd type="none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999" b="0" i="0" u="none" strike="noStrike" kern="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2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622616" y="795662"/>
            <a:ext cx="4927845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 noProof="0" dirty="0"/>
          </a:p>
        </p:txBody>
      </p:sp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899860" y="1954221"/>
            <a:ext cx="4326679" cy="979702"/>
          </a:xfr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99860" y="3046159"/>
            <a:ext cx="4326679" cy="104632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Aft>
                <a:spcPts val="1199"/>
              </a:spcAft>
              <a:buNone/>
              <a:defRPr sz="1999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599" b="1">
                <a:solidFill>
                  <a:srgbClr val="404040"/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CA136E10-210B-4129-8270-AB5126B48E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9966" b="100000" l="1667" r="95917">
                        <a14:foregroundMark x1="4583" y1="56588" x2="7750" y2="61824"/>
                        <a14:foregroundMark x1="7750" y1="61824" x2="66167" y2="91892"/>
                        <a14:foregroundMark x1="66167" y1="91892" x2="80417" y2="94257"/>
                        <a14:foregroundMark x1="80417" y1="94257" x2="84583" y2="94257"/>
                        <a14:foregroundMark x1="84583" y1="94257" x2="43750" y2="95270"/>
                        <a14:foregroundMark x1="43750" y1="95270" x2="9000" y2="78547"/>
                        <a14:foregroundMark x1="9000" y1="78547" x2="11917" y2="86824"/>
                        <a14:foregroundMark x1="11917" y1="86824" x2="23000" y2="96791"/>
                        <a14:foregroundMark x1="23000" y1="96791" x2="51917" y2="99831"/>
                        <a14:foregroundMark x1="1667" y1="76858" x2="8167" y2="99831"/>
                        <a14:foregroundMark x1="1667" y1="76858" x2="1083" y2="68750"/>
                        <a14:foregroundMark x1="1083" y1="68750" x2="1833" y2="60811"/>
                        <a14:foregroundMark x1="1833" y1="60811" x2="6417" y2="58108"/>
                        <a14:foregroundMark x1="6417" y1="58108" x2="86583" y2="96791"/>
                        <a14:foregroundMark x1="86583" y1="96791" x2="91833" y2="96622"/>
                        <a14:foregroundMark x1="91833" y1="96622" x2="96500" y2="97297"/>
                        <a14:foregroundMark x1="96417" y1="97297" x2="94500" y2="99831"/>
                        <a14:foregroundMark x1="2500" y1="51520" x2="3333" y2="60135"/>
                        <a14:foregroundMark x1="3333" y1="60135" x2="5917" y2="66723"/>
                        <a14:foregroundMark x1="5917" y1="66723" x2="25000" y2="82095"/>
                        <a14:foregroundMark x1="25000" y1="82095" x2="24750" y2="81250"/>
                        <a14:foregroundMark x1="37667" y1="80405" x2="29083" y2="78378"/>
                        <a14:foregroundMark x1="42500" y1="83784" x2="38583" y2="83277"/>
                        <a14:foregroundMark x1="38583" y1="83277" x2="38500" y2="83108"/>
                        <a14:foregroundMark x1="29000" y1="79899" x2="27167" y2="79730"/>
                        <a14:foregroundMark x1="1667" y1="51858" x2="2250" y2="77872"/>
                        <a14:foregroundMark x1="26333" y1="78716" x2="30583" y2="79899"/>
                        <a14:foregroundMark x1="30583" y1="79899" x2="28417" y2="80236"/>
                        <a14:foregroundMark x1="70250" y1="79223" x2="71917" y2="79392"/>
                        <a14:foregroundMark x1="71083" y1="78547" x2="67250" y2="77872"/>
                        <a14:foregroundMark x1="72583" y1="79730" x2="68083" y2="77196"/>
                        <a14:foregroundMark x1="75417" y1="83615" x2="79583" y2="88176"/>
                        <a14:foregroundMark x1="79583" y1="88176" x2="95917" y2="92230"/>
                        <a14:foregroundMark x1="76333" y1="83615" x2="75583" y2="81419"/>
                        <a14:foregroundMark x1="77250" y1="82095" x2="74917" y2="80405"/>
                        <a14:backgroundMark x1="23667" y1="35135" x2="78250" y2="64358"/>
                        <a14:backgroundMark x1="78250" y1="64358" x2="78333" y2="64189"/>
                        <a14:backgroundMark x1="75250" y1="75169" x2="78167" y2="80236"/>
                        <a14:backgroundMark x1="78167" y1="80236" x2="85667" y2="82939"/>
                        <a14:backgroundMark x1="85667" y1="82939" x2="88250" y2="76520"/>
                        <a14:backgroundMark x1="88250" y1="76520" x2="81000" y2="71115"/>
                        <a14:backgroundMark x1="81000" y1="71115" x2="77000" y2="71284"/>
                        <a14:backgroundMark x1="77000" y1="71284" x2="76083" y2="78209"/>
                        <a14:backgroundMark x1="92000" y1="87331" x2="92667" y2="86655"/>
                        <a14:backgroundMark x1="92667" y1="86655" x2="88500" y2="79054"/>
                        <a14:backgroundMark x1="88500" y1="79054" x2="84083" y2="81757"/>
                        <a14:backgroundMark x1="84083" y1="81757" x2="85667" y2="85811"/>
                        <a14:backgroundMark x1="87667" y1="86318" x2="90583" y2="80236"/>
                        <a14:backgroundMark x1="90583" y1="80236" x2="83667" y2="75000"/>
                        <a14:backgroundMark x1="83667" y1="75000" x2="79750" y2="78547"/>
                        <a14:backgroundMark x1="79750" y1="78547" x2="76417" y2="74831"/>
                        <a14:backgroundMark x1="76417" y1="74831" x2="72833" y2="76520"/>
                        <a14:backgroundMark x1="32750" y1="25507" x2="37167" y2="31250"/>
                        <a14:backgroundMark x1="37167" y1="31250" x2="42583" y2="31757"/>
                        <a14:backgroundMark x1="42583" y1="31757" x2="45583" y2="25338"/>
                        <a14:backgroundMark x1="45583" y1="25338" x2="38667" y2="22466"/>
                        <a14:backgroundMark x1="38667" y1="22466" x2="34417" y2="27534"/>
                        <a14:backgroundMark x1="34417" y1="27534" x2="40000" y2="33108"/>
                        <a14:backgroundMark x1="40000" y1="33108" x2="45667" y2="32939"/>
                        <a14:backgroundMark x1="45667" y1="32939" x2="43667" y2="23480"/>
                        <a14:backgroundMark x1="43667" y1="23480" x2="37000" y2="22128"/>
                        <a14:backgroundMark x1="37000" y1="22128" x2="34667" y2="28547"/>
                        <a14:backgroundMark x1="34667" y1="28547" x2="38000" y2="32601"/>
                        <a14:backgroundMark x1="38000" y1="32601" x2="43250" y2="33953"/>
                        <a14:backgroundMark x1="43250" y1="33953" x2="47833" y2="31081"/>
                        <a14:backgroundMark x1="47833" y1="31081" x2="48500" y2="20608"/>
                        <a14:backgroundMark x1="48500" y1="20608" x2="43750" y2="17905"/>
                        <a14:backgroundMark x1="43750" y1="17905" x2="37917" y2="19764"/>
                        <a14:backgroundMark x1="37917" y1="19764" x2="35000" y2="24831"/>
                        <a14:backgroundMark x1="35000" y1="24831" x2="36417" y2="29561"/>
                        <a14:backgroundMark x1="71500" y1="75845" x2="74083" y2="77196"/>
                        <a14:backgroundMark x1="75833" y1="78209" x2="75167" y2="70608"/>
                        <a14:backgroundMark x1="75167" y1="70608" x2="69750" y2="73480"/>
                        <a14:backgroundMark x1="69750" y1="73480" x2="69833" y2="7500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74" y="1"/>
            <a:ext cx="12188826" cy="6858000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C8422AE9-8257-41A9-AB41-1F10585C886F}"/>
              </a:ext>
            </a:extLst>
          </p:cNvPr>
          <p:cNvGrpSpPr>
            <a:grpSpLocks noChangeAspect="1"/>
          </p:cNvGrpSpPr>
          <p:nvPr userDrawn="1"/>
        </p:nvGrpSpPr>
        <p:grpSpPr bwMode="invGray">
          <a:xfrm>
            <a:off x="10359392" y="4960938"/>
            <a:ext cx="1224912" cy="1435100"/>
            <a:chOff x="6529" y="3125"/>
            <a:chExt cx="772" cy="904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D19659BD-653C-4300-9060-420AFAE39587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A4669336-72A1-4233-827A-C41AB4C1CC04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</p:grpSp>
    </p:spTree>
    <p:extLst>
      <p:ext uri="{BB962C8B-B14F-4D97-AF65-F5344CB8AC3E}">
        <p14:creationId xmlns:p14="http://schemas.microsoft.com/office/powerpoint/2010/main" val="37893079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and 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E0F7440-6F42-6C00-68CC-571F9367646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8386354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0"/>
                  <a:alpha val="0"/>
                </a:schemeClr>
              </a:gs>
              <a:gs pos="95000">
                <a:srgbClr val="000000">
                  <a:alpha val="70000"/>
                </a:srgb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n-US" sz="1200" b="1">
              <a:solidFill>
                <a:schemeClr val="tx1"/>
              </a:solidFill>
            </a:endParaRP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4BA46848-8969-3428-7E66-3827EB17DC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4959" y="4982400"/>
            <a:ext cx="3445104" cy="193899"/>
          </a:xfrm>
        </p:spPr>
        <p:txBody>
          <a:bodyPr>
            <a:spAutoFit/>
          </a:bodyPr>
          <a:lstStyle>
            <a:lvl1pPr marL="0" indent="0">
              <a:lnSpc>
                <a:spcPct val="90000"/>
              </a:lnSpc>
              <a:buNone/>
              <a:defRPr sz="1400" b="1" i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Name</a:t>
            </a:r>
            <a:endParaRPr lang="en-US" dirty="0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78B5CC24-699C-7858-0807-40619F0D533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4961" y="5184000"/>
            <a:ext cx="3445104" cy="153888"/>
          </a:xfrm>
        </p:spPr>
        <p:txBody>
          <a:bodyPr wrap="square">
            <a:spAutoFit/>
          </a:bodyPr>
          <a:lstStyle>
            <a:lvl1pPr marL="0" indent="0"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Job title</a:t>
            </a:r>
            <a:endParaRPr lang="en-US" dirty="0"/>
          </a:p>
        </p:txBody>
      </p:sp>
      <p:sp>
        <p:nvSpPr>
          <p:cNvPr id="18" name="Date Placeholder 17">
            <a:extLst>
              <a:ext uri="{FF2B5EF4-FFF2-40B4-BE49-F238E27FC236}">
                <a16:creationId xmlns:a16="http://schemas.microsoft.com/office/drawing/2014/main" id="{DFFEAF1E-587A-2BBD-24CD-BAC3592390EE}"/>
              </a:ext>
            </a:extLst>
          </p:cNvPr>
          <p:cNvSpPr>
            <a:spLocks noGrp="1"/>
          </p:cNvSpPr>
          <p:nvPr>
            <p:ph type="dt" sz="half" idx="3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4184577-3908-4D44-A0C0-6725FBA36825}" type="datetime3">
              <a:rPr lang="en-US" smtClean="0"/>
              <a:t>27 March 2025</a:t>
            </a:fld>
            <a:endParaRPr lang="en-US" dirty="0"/>
          </a:p>
        </p:txBody>
      </p:sp>
      <p:sp>
        <p:nvSpPr>
          <p:cNvPr id="21" name="Footer Placeholder 20">
            <a:extLst>
              <a:ext uri="{FF2B5EF4-FFF2-40B4-BE49-F238E27FC236}">
                <a16:creationId xmlns:a16="http://schemas.microsoft.com/office/drawing/2014/main" id="{7C22E0FE-1715-0380-EFE7-5D520713B07F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nsert footer text here</a:t>
            </a:r>
          </a:p>
        </p:txBody>
      </p:sp>
      <p:sp>
        <p:nvSpPr>
          <p:cNvPr id="22" name="Slide Number Placeholder 21">
            <a:extLst>
              <a:ext uri="{FF2B5EF4-FFF2-40B4-BE49-F238E27FC236}">
                <a16:creationId xmlns:a16="http://schemas.microsoft.com/office/drawing/2014/main" id="{5820BCA4-5D74-8EE6-4914-C7C86F87E378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1BC30E3-FFE5-4B91-AA19-87A149EBB9EE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ext Placeholder 23">
            <a:extLst>
              <a:ext uri="{FF2B5EF4-FFF2-40B4-BE49-F238E27FC236}">
                <a16:creationId xmlns:a16="http://schemas.microsoft.com/office/drawing/2014/main" id="{E82A0447-0820-5F05-7D32-3BE15F19486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74000" y="358916"/>
            <a:ext cx="2023892" cy="1419083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9200" b="0" i="0">
                <a:solidFill>
                  <a:schemeClr val="tx2"/>
                </a:solidFill>
                <a:latin typeface="Georgia Pro" panose="02040502050405020303" pitchFamily="18" charset="0"/>
              </a:defRPr>
            </a:lvl1pPr>
          </a:lstStyle>
          <a:p>
            <a:pPr lvl="0"/>
            <a:r>
              <a:rPr lang="en-GB" dirty="0"/>
              <a:t>“</a:t>
            </a:r>
          </a:p>
        </p:txBody>
      </p:sp>
      <p:sp>
        <p:nvSpPr>
          <p:cNvPr id="5" name="Text Placeholder 23">
            <a:extLst>
              <a:ext uri="{FF2B5EF4-FFF2-40B4-BE49-F238E27FC236}">
                <a16:creationId xmlns:a16="http://schemas.microsoft.com/office/drawing/2014/main" id="{8A771E8A-8B2A-ED69-3AEC-E5AEDB16F0E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64959" y="1958400"/>
            <a:ext cx="7524979" cy="2721927"/>
          </a:xfrm>
        </p:spPr>
        <p:txBody>
          <a:bodyPr/>
          <a:lstStyle>
            <a:lvl1pPr marL="0" indent="0">
              <a:buNone/>
              <a:defRPr sz="4800" b="0" i="0">
                <a:solidFill>
                  <a:schemeClr val="tx1"/>
                </a:solidFill>
                <a:latin typeface="Georgia Pro" panose="02040502050405020303" pitchFamily="18" charset="0"/>
              </a:defRPr>
            </a:lvl1pPr>
          </a:lstStyle>
          <a:p>
            <a:pPr lvl="0"/>
            <a:r>
              <a:rPr lang="en-GB" dirty="0"/>
              <a:t>Quote goes here.</a:t>
            </a:r>
          </a:p>
        </p:txBody>
      </p:sp>
      <p:sp>
        <p:nvSpPr>
          <p:cNvPr id="6" name="SmartArt Placeholder 13">
            <a:extLst>
              <a:ext uri="{FF2B5EF4-FFF2-40B4-BE49-F238E27FC236}">
                <a16:creationId xmlns:a16="http://schemas.microsoft.com/office/drawing/2014/main" id="{C175892A-D780-3687-E55F-52F03613966A}"/>
              </a:ext>
            </a:extLst>
          </p:cNvPr>
          <p:cNvSpPr>
            <a:spLocks noGrp="1"/>
          </p:cNvSpPr>
          <p:nvPr>
            <p:ph type="dgm" sz="quarter" idx="34" hasCustomPrompt="1"/>
          </p:nvPr>
        </p:nvSpPr>
        <p:spPr bwMode="black">
          <a:xfrm>
            <a:off x="11623900" y="6276977"/>
            <a:ext cx="346158" cy="126864"/>
          </a:xfrm>
          <a:custGeom>
            <a:avLst/>
            <a:gdLst>
              <a:gd name="connsiteX0" fmla="*/ 346158 w 346158"/>
              <a:gd name="connsiteY0" fmla="*/ 0 h 126864"/>
              <a:gd name="connsiteX1" fmla="*/ 346158 w 346158"/>
              <a:gd name="connsiteY1" fmla="*/ 65245 h 126864"/>
              <a:gd name="connsiteX2" fmla="*/ 0 w 346158"/>
              <a:gd name="connsiteY2" fmla="*/ 126864 h 126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6158" h="126864">
                <a:moveTo>
                  <a:pt x="346158" y="0"/>
                </a:moveTo>
                <a:lnTo>
                  <a:pt x="346158" y="65245"/>
                </a:lnTo>
                <a:lnTo>
                  <a:pt x="0" y="126864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10" name="SmartArt Placeholder 14">
            <a:extLst>
              <a:ext uri="{FF2B5EF4-FFF2-40B4-BE49-F238E27FC236}">
                <a16:creationId xmlns:a16="http://schemas.microsoft.com/office/drawing/2014/main" id="{4A443555-765D-10C7-DCA6-95FCD6943CA2}"/>
              </a:ext>
            </a:extLst>
          </p:cNvPr>
          <p:cNvSpPr>
            <a:spLocks noGrp="1"/>
          </p:cNvSpPr>
          <p:nvPr>
            <p:ph type="dgm" sz="quarter" idx="29" hasCustomPrompt="1"/>
          </p:nvPr>
        </p:nvSpPr>
        <p:spPr bwMode="black">
          <a:xfrm>
            <a:off x="11625712" y="6456399"/>
            <a:ext cx="291788" cy="175797"/>
          </a:xfrm>
          <a:custGeom>
            <a:avLst/>
            <a:gdLst>
              <a:gd name="connsiteX0" fmla="*/ 117803 w 291788"/>
              <a:gd name="connsiteY0" fmla="*/ 0 h 175797"/>
              <a:gd name="connsiteX1" fmla="*/ 175798 w 291788"/>
              <a:gd name="connsiteY1" fmla="*/ 0 h 175797"/>
              <a:gd name="connsiteX2" fmla="*/ 204796 w 291788"/>
              <a:gd name="connsiteY2" fmla="*/ 57995 h 175797"/>
              <a:gd name="connsiteX3" fmla="*/ 233793 w 291788"/>
              <a:gd name="connsiteY3" fmla="*/ 0 h 175797"/>
              <a:gd name="connsiteX4" fmla="*/ 291788 w 291788"/>
              <a:gd name="connsiteY4" fmla="*/ 0 h 175797"/>
              <a:gd name="connsiteX5" fmla="*/ 230168 w 291788"/>
              <a:gd name="connsiteY5" fmla="*/ 105116 h 175797"/>
              <a:gd name="connsiteX6" fmla="*/ 230168 w 291788"/>
              <a:gd name="connsiteY6" fmla="*/ 175797 h 175797"/>
              <a:gd name="connsiteX7" fmla="*/ 177610 w 291788"/>
              <a:gd name="connsiteY7" fmla="*/ 175797 h 175797"/>
              <a:gd name="connsiteX8" fmla="*/ 177610 w 291788"/>
              <a:gd name="connsiteY8" fmla="*/ 105116 h 175797"/>
              <a:gd name="connsiteX9" fmla="*/ 0 w 291788"/>
              <a:gd name="connsiteY9" fmla="*/ 0 h 175797"/>
              <a:gd name="connsiteX10" fmla="*/ 99679 w 291788"/>
              <a:gd name="connsiteY10" fmla="*/ 0 h 175797"/>
              <a:gd name="connsiteX11" fmla="*/ 123240 w 291788"/>
              <a:gd name="connsiteY11" fmla="*/ 39872 h 175797"/>
              <a:gd name="connsiteX12" fmla="*/ 54370 w 291788"/>
              <a:gd name="connsiteY12" fmla="*/ 39872 h 175797"/>
              <a:gd name="connsiteX13" fmla="*/ 54370 w 291788"/>
              <a:gd name="connsiteY13" fmla="*/ 68869 h 175797"/>
              <a:gd name="connsiteX14" fmla="*/ 117802 w 291788"/>
              <a:gd name="connsiteY14" fmla="*/ 68869 h 175797"/>
              <a:gd name="connsiteX15" fmla="*/ 117802 w 291788"/>
              <a:gd name="connsiteY15" fmla="*/ 105116 h 175797"/>
              <a:gd name="connsiteX16" fmla="*/ 54370 w 291788"/>
              <a:gd name="connsiteY16" fmla="*/ 105116 h 175797"/>
              <a:gd name="connsiteX17" fmla="*/ 54370 w 291788"/>
              <a:gd name="connsiteY17" fmla="*/ 134113 h 175797"/>
              <a:gd name="connsiteX18" fmla="*/ 141363 w 291788"/>
              <a:gd name="connsiteY18" fmla="*/ 134113 h 175797"/>
              <a:gd name="connsiteX19" fmla="*/ 141363 w 291788"/>
              <a:gd name="connsiteY19" fmla="*/ 175797 h 175797"/>
              <a:gd name="connsiteX20" fmla="*/ 0 w 291788"/>
              <a:gd name="connsiteY20" fmla="*/ 175797 h 1757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91788" h="175797">
                <a:moveTo>
                  <a:pt x="117803" y="0"/>
                </a:moveTo>
                <a:lnTo>
                  <a:pt x="175798" y="0"/>
                </a:lnTo>
                <a:lnTo>
                  <a:pt x="204796" y="57995"/>
                </a:lnTo>
                <a:lnTo>
                  <a:pt x="233793" y="0"/>
                </a:lnTo>
                <a:lnTo>
                  <a:pt x="291788" y="0"/>
                </a:lnTo>
                <a:lnTo>
                  <a:pt x="230168" y="105116"/>
                </a:lnTo>
                <a:lnTo>
                  <a:pt x="230168" y="175797"/>
                </a:lnTo>
                <a:lnTo>
                  <a:pt x="177610" y="175797"/>
                </a:lnTo>
                <a:lnTo>
                  <a:pt x="177610" y="105116"/>
                </a:lnTo>
                <a:close/>
                <a:moveTo>
                  <a:pt x="0" y="0"/>
                </a:moveTo>
                <a:lnTo>
                  <a:pt x="99679" y="0"/>
                </a:lnTo>
                <a:lnTo>
                  <a:pt x="123240" y="39872"/>
                </a:lnTo>
                <a:lnTo>
                  <a:pt x="54370" y="39872"/>
                </a:lnTo>
                <a:lnTo>
                  <a:pt x="54370" y="68869"/>
                </a:lnTo>
                <a:lnTo>
                  <a:pt x="117802" y="68869"/>
                </a:lnTo>
                <a:lnTo>
                  <a:pt x="117802" y="105116"/>
                </a:lnTo>
                <a:lnTo>
                  <a:pt x="54370" y="105116"/>
                </a:lnTo>
                <a:lnTo>
                  <a:pt x="54370" y="134113"/>
                </a:lnTo>
                <a:lnTo>
                  <a:pt x="141363" y="134113"/>
                </a:lnTo>
                <a:lnTo>
                  <a:pt x="141363" y="175797"/>
                </a:lnTo>
                <a:lnTo>
                  <a:pt x="0" y="17579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</a:lstStyle>
          <a:p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8211908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edia Placeholder 6">
            <a:extLst>
              <a:ext uri="{FF2B5EF4-FFF2-40B4-BE49-F238E27FC236}">
                <a16:creationId xmlns:a16="http://schemas.microsoft.com/office/drawing/2014/main" id="{04648CD8-B307-812B-5BD0-91AA365C73D1}"/>
              </a:ext>
            </a:extLst>
          </p:cNvPr>
          <p:cNvSpPr>
            <a:spLocks noGrp="1"/>
          </p:cNvSpPr>
          <p:nvPr>
            <p:ph type="media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GB" dirty="0"/>
              <a:t>Click icon to add media</a:t>
            </a:r>
            <a:endParaRPr lang="en-US" dirty="0"/>
          </a:p>
        </p:txBody>
      </p:sp>
      <p:sp>
        <p:nvSpPr>
          <p:cNvPr id="4" name="Date Placeholder 8">
            <a:extLst>
              <a:ext uri="{FF2B5EF4-FFF2-40B4-BE49-F238E27FC236}">
                <a16:creationId xmlns:a16="http://schemas.microsoft.com/office/drawing/2014/main" id="{2B2A75B8-AC69-234D-6453-3F51196FB90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45" y="6437115"/>
            <a:ext cx="1275686" cy="123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53F67A3-D43E-4843-89C3-3ED809E431D3}" type="datetime3">
              <a:rPr lang="en-US" smtClean="0"/>
              <a:t>27 March 2025</a:t>
            </a:fld>
            <a:endParaRPr lang="en-US" dirty="0"/>
          </a:p>
        </p:txBody>
      </p:sp>
      <p:sp>
        <p:nvSpPr>
          <p:cNvPr id="5" name="Footer Placeholder 9">
            <a:extLst>
              <a:ext uri="{FF2B5EF4-FFF2-40B4-BE49-F238E27FC236}">
                <a16:creationId xmlns:a16="http://schemas.microsoft.com/office/drawing/2014/main" id="{D1F90C88-74CB-BCA1-B76D-286F3EBEEE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70531" y="6437115"/>
            <a:ext cx="3825470" cy="123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footer text here</a:t>
            </a:r>
          </a:p>
        </p:txBody>
      </p:sp>
      <p:sp>
        <p:nvSpPr>
          <p:cNvPr id="6" name="Slide Number Placeholder 10">
            <a:extLst>
              <a:ext uri="{FF2B5EF4-FFF2-40B4-BE49-F238E27FC236}">
                <a16:creationId xmlns:a16="http://schemas.microsoft.com/office/drawing/2014/main" id="{85104006-7F28-1301-537B-8A44223373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85747" y="6437115"/>
            <a:ext cx="509098" cy="123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1BC30E3-FFE5-4B91-AA19-87A149EBB9EE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SmartArt Placeholder 13">
            <a:extLst>
              <a:ext uri="{FF2B5EF4-FFF2-40B4-BE49-F238E27FC236}">
                <a16:creationId xmlns:a16="http://schemas.microsoft.com/office/drawing/2014/main" id="{7EB1D1CC-D315-B6FA-1A39-C605B10441F2}"/>
              </a:ext>
            </a:extLst>
          </p:cNvPr>
          <p:cNvSpPr>
            <a:spLocks noGrp="1"/>
          </p:cNvSpPr>
          <p:nvPr>
            <p:ph type="dgm" sz="quarter" idx="28" hasCustomPrompt="1"/>
          </p:nvPr>
        </p:nvSpPr>
        <p:spPr bwMode="black">
          <a:xfrm>
            <a:off x="11623900" y="6276977"/>
            <a:ext cx="346158" cy="126864"/>
          </a:xfrm>
          <a:custGeom>
            <a:avLst/>
            <a:gdLst>
              <a:gd name="connsiteX0" fmla="*/ 346158 w 346158"/>
              <a:gd name="connsiteY0" fmla="*/ 0 h 126864"/>
              <a:gd name="connsiteX1" fmla="*/ 346158 w 346158"/>
              <a:gd name="connsiteY1" fmla="*/ 65245 h 126864"/>
              <a:gd name="connsiteX2" fmla="*/ 0 w 346158"/>
              <a:gd name="connsiteY2" fmla="*/ 126864 h 126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6158" h="126864">
                <a:moveTo>
                  <a:pt x="346158" y="0"/>
                </a:moveTo>
                <a:lnTo>
                  <a:pt x="346158" y="65245"/>
                </a:lnTo>
                <a:lnTo>
                  <a:pt x="0" y="126864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3" name="SmartArt Placeholder 14">
            <a:extLst>
              <a:ext uri="{FF2B5EF4-FFF2-40B4-BE49-F238E27FC236}">
                <a16:creationId xmlns:a16="http://schemas.microsoft.com/office/drawing/2014/main" id="{442A224B-11FE-50D1-E5E3-DDE53EB0C4E8}"/>
              </a:ext>
            </a:extLst>
          </p:cNvPr>
          <p:cNvSpPr>
            <a:spLocks noGrp="1"/>
          </p:cNvSpPr>
          <p:nvPr>
            <p:ph type="dgm" sz="quarter" idx="29" hasCustomPrompt="1"/>
          </p:nvPr>
        </p:nvSpPr>
        <p:spPr bwMode="black">
          <a:xfrm>
            <a:off x="11625712" y="6456399"/>
            <a:ext cx="291788" cy="175797"/>
          </a:xfrm>
          <a:custGeom>
            <a:avLst/>
            <a:gdLst>
              <a:gd name="connsiteX0" fmla="*/ 117803 w 291788"/>
              <a:gd name="connsiteY0" fmla="*/ 0 h 175797"/>
              <a:gd name="connsiteX1" fmla="*/ 175798 w 291788"/>
              <a:gd name="connsiteY1" fmla="*/ 0 h 175797"/>
              <a:gd name="connsiteX2" fmla="*/ 204796 w 291788"/>
              <a:gd name="connsiteY2" fmla="*/ 57995 h 175797"/>
              <a:gd name="connsiteX3" fmla="*/ 233793 w 291788"/>
              <a:gd name="connsiteY3" fmla="*/ 0 h 175797"/>
              <a:gd name="connsiteX4" fmla="*/ 291788 w 291788"/>
              <a:gd name="connsiteY4" fmla="*/ 0 h 175797"/>
              <a:gd name="connsiteX5" fmla="*/ 230168 w 291788"/>
              <a:gd name="connsiteY5" fmla="*/ 105116 h 175797"/>
              <a:gd name="connsiteX6" fmla="*/ 230168 w 291788"/>
              <a:gd name="connsiteY6" fmla="*/ 175797 h 175797"/>
              <a:gd name="connsiteX7" fmla="*/ 177610 w 291788"/>
              <a:gd name="connsiteY7" fmla="*/ 175797 h 175797"/>
              <a:gd name="connsiteX8" fmla="*/ 177610 w 291788"/>
              <a:gd name="connsiteY8" fmla="*/ 105116 h 175797"/>
              <a:gd name="connsiteX9" fmla="*/ 0 w 291788"/>
              <a:gd name="connsiteY9" fmla="*/ 0 h 175797"/>
              <a:gd name="connsiteX10" fmla="*/ 99679 w 291788"/>
              <a:gd name="connsiteY10" fmla="*/ 0 h 175797"/>
              <a:gd name="connsiteX11" fmla="*/ 123240 w 291788"/>
              <a:gd name="connsiteY11" fmla="*/ 39872 h 175797"/>
              <a:gd name="connsiteX12" fmla="*/ 54370 w 291788"/>
              <a:gd name="connsiteY12" fmla="*/ 39872 h 175797"/>
              <a:gd name="connsiteX13" fmla="*/ 54370 w 291788"/>
              <a:gd name="connsiteY13" fmla="*/ 68869 h 175797"/>
              <a:gd name="connsiteX14" fmla="*/ 117802 w 291788"/>
              <a:gd name="connsiteY14" fmla="*/ 68869 h 175797"/>
              <a:gd name="connsiteX15" fmla="*/ 117802 w 291788"/>
              <a:gd name="connsiteY15" fmla="*/ 105116 h 175797"/>
              <a:gd name="connsiteX16" fmla="*/ 54370 w 291788"/>
              <a:gd name="connsiteY16" fmla="*/ 105116 h 175797"/>
              <a:gd name="connsiteX17" fmla="*/ 54370 w 291788"/>
              <a:gd name="connsiteY17" fmla="*/ 134113 h 175797"/>
              <a:gd name="connsiteX18" fmla="*/ 141363 w 291788"/>
              <a:gd name="connsiteY18" fmla="*/ 134113 h 175797"/>
              <a:gd name="connsiteX19" fmla="*/ 141363 w 291788"/>
              <a:gd name="connsiteY19" fmla="*/ 175797 h 175797"/>
              <a:gd name="connsiteX20" fmla="*/ 0 w 291788"/>
              <a:gd name="connsiteY20" fmla="*/ 175797 h 1757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91788" h="175797">
                <a:moveTo>
                  <a:pt x="117803" y="0"/>
                </a:moveTo>
                <a:lnTo>
                  <a:pt x="175798" y="0"/>
                </a:lnTo>
                <a:lnTo>
                  <a:pt x="204796" y="57995"/>
                </a:lnTo>
                <a:lnTo>
                  <a:pt x="233793" y="0"/>
                </a:lnTo>
                <a:lnTo>
                  <a:pt x="291788" y="0"/>
                </a:lnTo>
                <a:lnTo>
                  <a:pt x="230168" y="105116"/>
                </a:lnTo>
                <a:lnTo>
                  <a:pt x="230168" y="175797"/>
                </a:lnTo>
                <a:lnTo>
                  <a:pt x="177610" y="175797"/>
                </a:lnTo>
                <a:lnTo>
                  <a:pt x="177610" y="105116"/>
                </a:lnTo>
                <a:close/>
                <a:moveTo>
                  <a:pt x="0" y="0"/>
                </a:moveTo>
                <a:lnTo>
                  <a:pt x="99679" y="0"/>
                </a:lnTo>
                <a:lnTo>
                  <a:pt x="123240" y="39872"/>
                </a:lnTo>
                <a:lnTo>
                  <a:pt x="54370" y="39872"/>
                </a:lnTo>
                <a:lnTo>
                  <a:pt x="54370" y="68869"/>
                </a:lnTo>
                <a:lnTo>
                  <a:pt x="117802" y="68869"/>
                </a:lnTo>
                <a:lnTo>
                  <a:pt x="117802" y="105116"/>
                </a:lnTo>
                <a:lnTo>
                  <a:pt x="54370" y="105116"/>
                </a:lnTo>
                <a:lnTo>
                  <a:pt x="54370" y="134113"/>
                </a:lnTo>
                <a:lnTo>
                  <a:pt x="141363" y="134113"/>
                </a:lnTo>
                <a:lnTo>
                  <a:pt x="141363" y="175797"/>
                </a:lnTo>
                <a:lnTo>
                  <a:pt x="0" y="17579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</a:lstStyle>
          <a:p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5881100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77512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oiler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bright yellow circle&#10;&#10;Description automatically generated with medium confidence">
            <a:extLst>
              <a:ext uri="{FF2B5EF4-FFF2-40B4-BE49-F238E27FC236}">
                <a16:creationId xmlns:a16="http://schemas.microsoft.com/office/drawing/2014/main" id="{0CE0EE1C-69FD-A2A1-0E47-EEBF86AA511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5351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01600"/>
            <a:ext cx="10972800" cy="59436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  <a:latin typeface="EYInterstate Light" panose="02000506000000020004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3" name="Table Placeholder 4">
            <a:extLst>
              <a:ext uri="{FF2B5EF4-FFF2-40B4-BE49-F238E27FC236}">
                <a16:creationId xmlns:a16="http://schemas.microsoft.com/office/drawing/2014/main" id="{C5AC4C92-885D-49C5-B704-597DE68FC006}"/>
              </a:ext>
            </a:extLst>
          </p:cNvPr>
          <p:cNvSpPr txBox="1">
            <a:spLocks/>
          </p:cNvSpPr>
          <p:nvPr userDrawn="1"/>
        </p:nvSpPr>
        <p:spPr>
          <a:xfrm>
            <a:off x="813224" y="1137922"/>
            <a:ext cx="6610006" cy="426745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56438" marR="0" lvl="0" indent="-356438" algn="l" defTabSz="91394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endParaRPr kumimoji="0" lang="en-IN" sz="1999" b="0" i="0" u="none" strike="noStrike" kern="120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EYInterstate Light" panose="02000506000000020004" pitchFamily="2" charset="0"/>
              <a:ea typeface="+mn-ea"/>
              <a:cs typeface="+mn-cs"/>
            </a:endParaRPr>
          </a:p>
        </p:txBody>
      </p:sp>
      <p:sp>
        <p:nvSpPr>
          <p:cNvPr id="5" name="Line 10">
            <a:extLst>
              <a:ext uri="{FF2B5EF4-FFF2-40B4-BE49-F238E27FC236}">
                <a16:creationId xmlns:a16="http://schemas.microsoft.com/office/drawing/2014/main" id="{04A2E968-DBA8-4BD3-8F8F-9B23825BC4DF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2" y="907750"/>
            <a:ext cx="1101171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8218B73-555A-4F14-931F-DAE40AC25D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44F7F7-7376-4A8F-BC88-154581002E6B}" type="datetime3">
              <a:rPr lang="en-US" smtClean="0"/>
              <a:t>27 March 2025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E7FC2ED-0BA0-4018-BDCE-AA7E8B5591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1549BB1-9F3B-419B-872D-8849B20BD1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09601" y="6516456"/>
            <a:ext cx="884088" cy="123111"/>
          </a:xfrm>
          <a:prstGeom prst="rect">
            <a:avLst/>
          </a:prstGeom>
        </p:spPr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2205919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64FA27B8-9154-4F95-8315-DB0CCE9842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3357906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18" progId="TCLayout.ActiveDocument.1">
                  <p:embed/>
                </p:oleObj>
              </mc:Choice>
              <mc:Fallback>
                <p:oleObj name="think-cell Slide" r:id="rId3" imgW="352" imgH="318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64FA27B8-9154-4F95-8315-DB0CCE9842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1025" y="3789040"/>
            <a:ext cx="4535597" cy="105570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buNone/>
              <a:defRPr sz="2999"/>
            </a:lvl1pPr>
          </a:lstStyle>
          <a:p>
            <a:pPr lvl="0"/>
            <a:r>
              <a:rPr lang="en-US" noProof="0" dirty="0"/>
              <a:t>Chapter Title</a:t>
            </a:r>
          </a:p>
          <a:p>
            <a:pPr lvl="0"/>
            <a:r>
              <a:rPr lang="en-US" noProof="0" dirty="0"/>
              <a:t>EY Interstate Light</a:t>
            </a:r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511DE75E-C218-487C-9B44-8A9A7AC1A5B8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0" y="5085184"/>
            <a:ext cx="1079438" cy="0"/>
          </a:xfrm>
          <a:prstGeom prst="line">
            <a:avLst/>
          </a:prstGeom>
          <a:noFill/>
          <a:ln w="3810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 dirty="0">
              <a:solidFill>
                <a:schemeClr val="bg1"/>
              </a:solidFill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3A477C92-685A-4519-8BFB-204440D32C4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4" y="0"/>
            <a:ext cx="12188826" cy="6858000"/>
          </a:xfrm>
          <a:prstGeom prst="rect">
            <a:avLst/>
          </a:prstGeom>
        </p:spPr>
      </p:pic>
      <p:sp>
        <p:nvSpPr>
          <p:cNvPr id="6" name="Line 10">
            <a:extLst>
              <a:ext uri="{FF2B5EF4-FFF2-40B4-BE49-F238E27FC236}">
                <a16:creationId xmlns:a16="http://schemas.microsoft.com/office/drawing/2014/main" id="{5216EA14-F73D-4AD4-AB6C-D0A5BF251E5D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8083" y="5086800"/>
            <a:ext cx="1079438" cy="0"/>
          </a:xfrm>
          <a:prstGeom prst="line">
            <a:avLst/>
          </a:prstGeom>
          <a:noFill/>
          <a:ln w="3810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52783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5">
            <a:extLst>
              <a:ext uri="{FF2B5EF4-FFF2-40B4-BE49-F238E27FC236}">
                <a16:creationId xmlns:a16="http://schemas.microsoft.com/office/drawing/2014/main" id="{4C7BCABB-32D3-42EB-9E03-9DA2EF61030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" y="1133"/>
            <a:ext cx="12192001" cy="6861572"/>
          </a:xfrm>
          <a:prstGeom prst="rect">
            <a:avLst/>
          </a:prstGeom>
        </p:spPr>
      </p:pic>
      <p:sp>
        <p:nvSpPr>
          <p:cNvPr id="18" name="Rectangle 1">
            <a:extLst>
              <a:ext uri="{FF2B5EF4-FFF2-40B4-BE49-F238E27FC236}">
                <a16:creationId xmlns:a16="http://schemas.microsoft.com/office/drawing/2014/main" id="{718D1579-E3C4-443A-89CF-388267001CDE}"/>
              </a:ext>
            </a:extLst>
          </p:cNvPr>
          <p:cNvSpPr/>
          <p:nvPr userDrawn="1"/>
        </p:nvSpPr>
        <p:spPr>
          <a:xfrm flipH="1">
            <a:off x="-8" y="0"/>
            <a:ext cx="12192001" cy="6872834"/>
          </a:xfrm>
          <a:prstGeom prst="rect">
            <a:avLst/>
          </a:prstGeom>
          <a:gradFill flip="none" rotWithShape="1">
            <a:gsLst>
              <a:gs pos="11000">
                <a:schemeClr val="tx1">
                  <a:alpha val="0"/>
                </a:schemeClr>
              </a:gs>
              <a:gs pos="98000">
                <a:schemeClr val="tx1">
                  <a:alpha val="90000"/>
                </a:schemeClr>
              </a:gs>
            </a:gsLst>
            <a:lin ang="5400000" scaled="0"/>
            <a:tileRect/>
          </a:gradFill>
          <a:ln w="12700" cap="sq" cmpd="sng" algn="ctr">
            <a:noFill/>
            <a:prstDash val="solid"/>
            <a:miter lim="800000"/>
            <a:tailEnd type="none"/>
          </a:ln>
          <a:effectLst/>
        </p:spPr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799" b="0" i="0" u="none" strike="noStrike" kern="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</a:endParaRPr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312070A-9FC0-49BB-A558-0E1B08B4D4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5639638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18" progId="TCLayout.ActiveDocument.1">
                  <p:embed/>
                </p:oleObj>
              </mc:Choice>
              <mc:Fallback>
                <p:oleObj name="think-cell Slide" r:id="rId5" imgW="352" imgH="31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312070A-9FC0-49BB-A558-0E1B08B4D4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FB44FADE-3642-4AAC-B8BA-A90DF9413D6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rgbClr val="D2D2DA"/>
          </a:solidFill>
          <a:ln w="12700" cap="sq" cmpd="sng" algn="ctr">
            <a:noFill/>
            <a:prstDash val="solid"/>
            <a:miter lim="800000"/>
            <a:tailEnd type="none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599" b="0" i="0" u="none" strike="noStrike" kern="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1B1E4911-762E-4A14-B7E6-C8E2AADAC0CB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1250" y="6356350"/>
            <a:ext cx="303055" cy="311150"/>
            <a:chOff x="7110" y="4004"/>
            <a:chExt cx="191" cy="196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BEC0C40A-F174-4133-BBFC-C328CC1F58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6F465BC5-1F48-42E0-85DD-A3B37319B7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FB37A6E2-CCA0-4796-8D75-E6205DFADB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</p:grpSp>
      <p:sp>
        <p:nvSpPr>
          <p:cNvPr id="14" name="Title 1">
            <a:extLst>
              <a:ext uri="{FF2B5EF4-FFF2-40B4-BE49-F238E27FC236}">
                <a16:creationId xmlns:a16="http://schemas.microsoft.com/office/drawing/2014/main" id="{A0F52ABD-8248-4CFD-BBB1-C4BF7477C7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603422"/>
          </a:xfrm>
        </p:spPr>
        <p:txBody>
          <a:bodyPr/>
          <a:lstStyle>
            <a:lvl1pPr>
              <a:defRPr sz="259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EA4146C4-1406-4248-9CE2-4F622C7CA9A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9600" y="1137920"/>
            <a:ext cx="10972800" cy="4954905"/>
          </a:xfrm>
        </p:spPr>
        <p:txBody>
          <a:bodyPr/>
          <a:lstStyle>
            <a:lvl1pPr marL="356438" marR="0" indent="-356438" algn="l" defTabSz="91394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sz="1999">
                <a:solidFill>
                  <a:schemeClr val="bg1"/>
                </a:solidFill>
              </a:defRPr>
            </a:lvl1pPr>
            <a:lvl2pPr marL="712875" marR="0" indent="-356438" algn="l" defTabSz="91394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sz="1799">
                <a:solidFill>
                  <a:schemeClr val="bg1"/>
                </a:solidFill>
              </a:defRPr>
            </a:lvl2pPr>
            <a:lvl3pPr marL="1069313" marR="0" indent="-356438" algn="l" defTabSz="91394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sz="1599">
                <a:solidFill>
                  <a:schemeClr val="bg1"/>
                </a:solidFill>
              </a:defRPr>
            </a:lvl3pPr>
            <a:lvl4pPr marL="1425751" marR="0" indent="-356438" algn="l" defTabSz="91394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sz="1399">
                <a:solidFill>
                  <a:schemeClr val="bg1"/>
                </a:solidFill>
              </a:defRPr>
            </a:lvl4pPr>
            <a:lvl5pPr marL="1782188" marR="0" indent="-356438" algn="l" defTabSz="91394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sz="1199">
                <a:solidFill>
                  <a:schemeClr val="bg1"/>
                </a:solidFill>
              </a:defRPr>
            </a:lvl5pPr>
          </a:lstStyle>
          <a:p>
            <a:pPr marL="356438" marR="0" lvl="0" indent="-356438" algn="l" defTabSz="91394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9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lick to edit Master text styles</a:t>
            </a:r>
          </a:p>
          <a:p>
            <a:pPr marL="712875" marR="0" lvl="1" indent="-356438" algn="l" defTabSz="91394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level</a:t>
            </a:r>
          </a:p>
          <a:p>
            <a:pPr marL="1069313" marR="0" lvl="2" indent="-356438" algn="l" defTabSz="91394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5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rd level</a:t>
            </a:r>
          </a:p>
          <a:p>
            <a:pPr marL="1425751" marR="0" lvl="3" indent="-356438" algn="l" defTabSz="91394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3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urth level</a:t>
            </a:r>
          </a:p>
          <a:p>
            <a:pPr marL="1782188" marR="0" lvl="4" indent="-356438" algn="l" defTabSz="91394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1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fth level</a:t>
            </a:r>
            <a:endParaRPr kumimoji="0" lang="en-GB" sz="1199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4FA71CD7-FAA8-4970-82AF-E318FDDDFD0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0" y="907750"/>
            <a:ext cx="1079438" cy="0"/>
          </a:xfrm>
          <a:prstGeom prst="line">
            <a:avLst/>
          </a:prstGeom>
          <a:noFill/>
          <a:ln w="3810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72410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0869D6F-A030-48CA-9C7C-9FC3A6F1F6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ED62CC-7D58-473B-853F-447C56B2DEEC}" type="datetime3">
              <a:rPr lang="en-US" smtClean="0"/>
              <a:t>27 March 2025</a:t>
            </a:fld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02C3F7-BD0A-4AD4-95D8-328DA6F539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EY DE PPT Gallery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4422C8-68BE-4650-89F1-3BECCFF9B5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3848B0B-B80F-44E5-9F04-26FD9ABAEB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94199" y="411875"/>
            <a:ext cx="6552645" cy="826616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990279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312070A-9FC0-49BB-A558-0E1B08B4D4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18" progId="TCLayout.ActiveDocument.1">
                  <p:embed/>
                </p:oleObj>
              </mc:Choice>
              <mc:Fallback>
                <p:oleObj name="think-cell Slide" r:id="rId4" imgW="352" imgH="31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312070A-9FC0-49BB-A558-0E1B08B4D4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FB44FADE-3642-4AAC-B8BA-A90DF9413D6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rgbClr val="D2D2DA"/>
          </a:solidFill>
          <a:ln w="12700" cap="sq" cmpd="sng" algn="ctr">
            <a:noFill/>
            <a:prstDash val="solid"/>
            <a:miter lim="800000"/>
            <a:tailEnd type="none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599" b="0" i="0" u="none" strike="noStrike" kern="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A7759E70-5D15-4411-8DED-F9D2BDD7BE3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Rechteck 10">
            <a:extLst>
              <a:ext uri="{FF2B5EF4-FFF2-40B4-BE49-F238E27FC236}">
                <a16:creationId xmlns:a16="http://schemas.microsoft.com/office/drawing/2014/main" id="{B51D8BC7-BDA4-4E36-A3CE-F77554EE1A1A}"/>
              </a:ext>
            </a:extLst>
          </p:cNvPr>
          <p:cNvSpPr/>
          <p:nvPr userDrawn="1"/>
        </p:nvSpPr>
        <p:spPr>
          <a:xfrm>
            <a:off x="3174" y="3176"/>
            <a:ext cx="12188826" cy="6854824"/>
          </a:xfrm>
          <a:prstGeom prst="rect">
            <a:avLst/>
          </a:prstGeom>
          <a:gradFill flip="none" rotWithShape="1">
            <a:gsLst>
              <a:gs pos="16000">
                <a:schemeClr val="bg2"/>
              </a:gs>
              <a:gs pos="57000">
                <a:schemeClr val="bg2">
                  <a:alpha val="0"/>
                </a:schemeClr>
              </a:gs>
            </a:gsLst>
            <a:lin ang="19200000" scaled="0"/>
            <a:tileRect/>
          </a:gradFill>
          <a:ln w="12700" cap="sq" cmpd="sng" algn="ctr">
            <a:noFill/>
            <a:prstDash val="solid"/>
            <a:miter lim="800000"/>
            <a:tailEnd type="none"/>
          </a:ln>
          <a:effectLst/>
        </p:spPr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799" b="0" i="0" u="none" strike="noStrike" kern="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2737358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Objekt 45" hidden="1">
            <a:extLst>
              <a:ext uri="{FF2B5EF4-FFF2-40B4-BE49-F238E27FC236}">
                <a16:creationId xmlns:a16="http://schemas.microsoft.com/office/drawing/2014/main" id="{D39DD8B5-29D5-4255-8546-08AF2D6221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18" progId="TCLayout.ActiveDocument.1">
                  <p:embed/>
                </p:oleObj>
              </mc:Choice>
              <mc:Fallback>
                <p:oleObj name="think-cell Slide" r:id="rId4" imgW="352" imgH="318" progId="TCLayout.ActiveDocument.1">
                  <p:embed/>
                  <p:pic>
                    <p:nvPicPr>
                      <p:cNvPr id="46" name="Objekt 45" hidden="1">
                        <a:extLst>
                          <a:ext uri="{FF2B5EF4-FFF2-40B4-BE49-F238E27FC236}">
                            <a16:creationId xmlns:a16="http://schemas.microsoft.com/office/drawing/2014/main" id="{D39DD8B5-29D5-4255-8546-08AF2D6221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" name="Rechteck 44" hidden="1">
            <a:extLst>
              <a:ext uri="{FF2B5EF4-FFF2-40B4-BE49-F238E27FC236}">
                <a16:creationId xmlns:a16="http://schemas.microsoft.com/office/drawing/2014/main" id="{D561E5CB-7648-4CCC-ADDC-A258EC91449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rgbClr val="D2D2DA"/>
          </a:solidFill>
          <a:ln w="12700" cap="sq" cmpd="sng" algn="ctr">
            <a:noFill/>
            <a:prstDash val="solid"/>
            <a:miter lim="800000"/>
            <a:tailEnd type="none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999" b="0" i="0" u="none" strike="noStrike" kern="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pic>
        <p:nvPicPr>
          <p:cNvPr id="44" name="Grafik 43">
            <a:extLst>
              <a:ext uri="{FF2B5EF4-FFF2-40B4-BE49-F238E27FC236}">
                <a16:creationId xmlns:a16="http://schemas.microsoft.com/office/drawing/2014/main" id="{4A1B1425-4BE4-46EA-A15F-54E7A3B79F1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9326" y="0"/>
            <a:ext cx="12201326" cy="6858000"/>
          </a:xfrm>
          <a:prstGeom prst="rect">
            <a:avLst/>
          </a:prstGeom>
        </p:spPr>
      </p:pic>
      <p:sp>
        <p:nvSpPr>
          <p:cNvPr id="2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622616" y="795662"/>
            <a:ext cx="4927845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 noProof="0" dirty="0"/>
          </a:p>
        </p:txBody>
      </p:sp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899861" y="1954221"/>
            <a:ext cx="3900670" cy="979702"/>
          </a:xfrm>
          <a:prstGeom prst="rect">
            <a:avLst/>
          </a:prstGeom>
        </p:spPr>
        <p:txBody>
          <a:bodyPr/>
          <a:lstStyle>
            <a:lvl1pPr>
              <a:defRPr sz="2999" b="0">
                <a:solidFill>
                  <a:schemeClr val="tx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99860" y="3046159"/>
            <a:ext cx="4326679" cy="104632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Aft>
                <a:spcPts val="1199"/>
              </a:spcAft>
              <a:buNone/>
              <a:defRPr sz="1999">
                <a:solidFill>
                  <a:schemeClr val="tx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599" b="1">
                <a:solidFill>
                  <a:srgbClr val="404040"/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D19659BD-653C-4300-9060-420AFAE39587}"/>
              </a:ext>
            </a:extLst>
          </p:cNvPr>
          <p:cNvSpPr>
            <a:spLocks/>
          </p:cNvSpPr>
          <p:nvPr userDrawn="1"/>
        </p:nvSpPr>
        <p:spPr bwMode="invGray">
          <a:xfrm>
            <a:off x="10359393" y="4960939"/>
            <a:ext cx="982151" cy="358775"/>
          </a:xfrm>
          <a:custGeom>
            <a:avLst/>
            <a:gdLst>
              <a:gd name="T0" fmla="*/ 2473 w 2473"/>
              <a:gd name="T1" fmla="*/ 0 h 902"/>
              <a:gd name="T2" fmla="*/ 0 w 2473"/>
              <a:gd name="T3" fmla="*/ 902 h 902"/>
              <a:gd name="T4" fmla="*/ 2473 w 2473"/>
              <a:gd name="T5" fmla="*/ 466 h 902"/>
              <a:gd name="T6" fmla="*/ 2473 w 2473"/>
              <a:gd name="T7" fmla="*/ 0 h 9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473" h="902">
                <a:moveTo>
                  <a:pt x="2473" y="0"/>
                </a:moveTo>
                <a:lnTo>
                  <a:pt x="0" y="902"/>
                </a:lnTo>
                <a:lnTo>
                  <a:pt x="2473" y="466"/>
                </a:lnTo>
                <a:lnTo>
                  <a:pt x="2473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endParaRPr lang="en-US" sz="1799" noProof="0" dirty="0"/>
          </a:p>
        </p:txBody>
      </p:sp>
      <p:sp>
        <p:nvSpPr>
          <p:cNvPr id="7" name="Freeform 6">
            <a:extLst>
              <a:ext uri="{FF2B5EF4-FFF2-40B4-BE49-F238E27FC236}">
                <a16:creationId xmlns:a16="http://schemas.microsoft.com/office/drawing/2014/main" id="{A4669336-72A1-4233-827A-C41AB4C1CC04}"/>
              </a:ext>
            </a:extLst>
          </p:cNvPr>
          <p:cNvSpPr>
            <a:spLocks noEditPoints="1"/>
          </p:cNvSpPr>
          <p:nvPr userDrawn="1"/>
        </p:nvSpPr>
        <p:spPr bwMode="invGray">
          <a:xfrm>
            <a:off x="10359392" y="5467351"/>
            <a:ext cx="1224912" cy="928688"/>
          </a:xfrm>
          <a:custGeom>
            <a:avLst/>
            <a:gdLst>
              <a:gd name="T0" fmla="*/ 233 w 3088"/>
              <a:gd name="T1" fmla="*/ 1588 h 2339"/>
              <a:gd name="T2" fmla="*/ 253 w 3088"/>
              <a:gd name="T3" fmla="*/ 1795 h 2339"/>
              <a:gd name="T4" fmla="*/ 151 w 3088"/>
              <a:gd name="T5" fmla="*/ 1810 h 2339"/>
              <a:gd name="T6" fmla="*/ 351 w 3088"/>
              <a:gd name="T7" fmla="*/ 1761 h 2339"/>
              <a:gd name="T8" fmla="*/ 416 w 3088"/>
              <a:gd name="T9" fmla="*/ 1857 h 2339"/>
              <a:gd name="T10" fmla="*/ 1140 w 3088"/>
              <a:gd name="T11" fmla="*/ 1652 h 2339"/>
              <a:gd name="T12" fmla="*/ 1216 w 3088"/>
              <a:gd name="T13" fmla="*/ 1738 h 2339"/>
              <a:gd name="T14" fmla="*/ 696 w 3088"/>
              <a:gd name="T15" fmla="*/ 1546 h 2339"/>
              <a:gd name="T16" fmla="*/ 738 w 3088"/>
              <a:gd name="T17" fmla="*/ 1710 h 2339"/>
              <a:gd name="T18" fmla="*/ 860 w 3088"/>
              <a:gd name="T19" fmla="*/ 1854 h 2339"/>
              <a:gd name="T20" fmla="*/ 832 w 3088"/>
              <a:gd name="T21" fmla="*/ 1684 h 2339"/>
              <a:gd name="T22" fmla="*/ 2021 w 3088"/>
              <a:gd name="T23" fmla="*/ 1860 h 2339"/>
              <a:gd name="T24" fmla="*/ 2158 w 3088"/>
              <a:gd name="T25" fmla="*/ 1747 h 2339"/>
              <a:gd name="T26" fmla="*/ 2100 w 3088"/>
              <a:gd name="T27" fmla="*/ 1730 h 2339"/>
              <a:gd name="T28" fmla="*/ 2059 w 3088"/>
              <a:gd name="T29" fmla="*/ 1684 h 2339"/>
              <a:gd name="T30" fmla="*/ 1309 w 3088"/>
              <a:gd name="T31" fmla="*/ 1734 h 2339"/>
              <a:gd name="T32" fmla="*/ 1445 w 3088"/>
              <a:gd name="T33" fmla="*/ 1844 h 2339"/>
              <a:gd name="T34" fmla="*/ 1473 w 3088"/>
              <a:gd name="T35" fmla="*/ 1923 h 2339"/>
              <a:gd name="T36" fmla="*/ 1369 w 3088"/>
              <a:gd name="T37" fmla="*/ 1781 h 2339"/>
              <a:gd name="T38" fmla="*/ 1727 w 3088"/>
              <a:gd name="T39" fmla="*/ 1677 h 2339"/>
              <a:gd name="T40" fmla="*/ 1632 w 3088"/>
              <a:gd name="T41" fmla="*/ 1778 h 2339"/>
              <a:gd name="T42" fmla="*/ 1822 w 3088"/>
              <a:gd name="T43" fmla="*/ 1710 h 2339"/>
              <a:gd name="T44" fmla="*/ 1686 w 3088"/>
              <a:gd name="T45" fmla="*/ 1786 h 2339"/>
              <a:gd name="T46" fmla="*/ 1708 w 3088"/>
              <a:gd name="T47" fmla="*/ 1817 h 2339"/>
              <a:gd name="T48" fmla="*/ 2240 w 3088"/>
              <a:gd name="T49" fmla="*/ 1766 h 2339"/>
              <a:gd name="T50" fmla="*/ 2227 w 3088"/>
              <a:gd name="T51" fmla="*/ 1653 h 2339"/>
              <a:gd name="T52" fmla="*/ 2290 w 3088"/>
              <a:gd name="T53" fmla="*/ 1866 h 2339"/>
              <a:gd name="T54" fmla="*/ 2321 w 3088"/>
              <a:gd name="T55" fmla="*/ 1709 h 2339"/>
              <a:gd name="T56" fmla="*/ 2908 w 3088"/>
              <a:gd name="T57" fmla="*/ 1750 h 2339"/>
              <a:gd name="T58" fmla="*/ 2730 w 3088"/>
              <a:gd name="T59" fmla="*/ 1683 h 2339"/>
              <a:gd name="T60" fmla="*/ 2852 w 3088"/>
              <a:gd name="T61" fmla="*/ 1860 h 2339"/>
              <a:gd name="T62" fmla="*/ 2639 w 3088"/>
              <a:gd name="T63" fmla="*/ 1783 h 2339"/>
              <a:gd name="T64" fmla="*/ 2605 w 3088"/>
              <a:gd name="T65" fmla="*/ 1853 h 2339"/>
              <a:gd name="T66" fmla="*/ 2464 w 3088"/>
              <a:gd name="T67" fmla="*/ 1861 h 2339"/>
              <a:gd name="T68" fmla="*/ 2495 w 3088"/>
              <a:gd name="T69" fmla="*/ 1812 h 2339"/>
              <a:gd name="T70" fmla="*/ 2998 w 3088"/>
              <a:gd name="T71" fmla="*/ 1639 h 2339"/>
              <a:gd name="T72" fmla="*/ 975 w 3088"/>
              <a:gd name="T73" fmla="*/ 1860 h 2339"/>
              <a:gd name="T74" fmla="*/ 2416 w 3088"/>
              <a:gd name="T75" fmla="*/ 2069 h 2339"/>
              <a:gd name="T76" fmla="*/ 2510 w 3088"/>
              <a:gd name="T77" fmla="*/ 2251 h 2339"/>
              <a:gd name="T78" fmla="*/ 2485 w 3088"/>
              <a:gd name="T79" fmla="*/ 2074 h 2339"/>
              <a:gd name="T80" fmla="*/ 627 w 3088"/>
              <a:gd name="T81" fmla="*/ 2078 h 2339"/>
              <a:gd name="T82" fmla="*/ 672 w 3088"/>
              <a:gd name="T83" fmla="*/ 2089 h 2339"/>
              <a:gd name="T84" fmla="*/ 202 w 3088"/>
              <a:gd name="T85" fmla="*/ 2135 h 2339"/>
              <a:gd name="T86" fmla="*/ 310 w 3088"/>
              <a:gd name="T87" fmla="*/ 2174 h 2339"/>
              <a:gd name="T88" fmla="*/ 503 w 3088"/>
              <a:gd name="T89" fmla="*/ 2174 h 2339"/>
              <a:gd name="T90" fmla="*/ 374 w 3088"/>
              <a:gd name="T91" fmla="*/ 2185 h 2339"/>
              <a:gd name="T92" fmla="*/ 439 w 3088"/>
              <a:gd name="T93" fmla="*/ 2185 h 2339"/>
              <a:gd name="T94" fmla="*/ 2197 w 3088"/>
              <a:gd name="T95" fmla="*/ 2040 h 2339"/>
              <a:gd name="T96" fmla="*/ 1597 w 3088"/>
              <a:gd name="T97" fmla="*/ 2027 h 2339"/>
              <a:gd name="T98" fmla="*/ 1937 w 3088"/>
              <a:gd name="T99" fmla="*/ 2047 h 2339"/>
              <a:gd name="T100" fmla="*/ 2002 w 3088"/>
              <a:gd name="T101" fmla="*/ 2254 h 2339"/>
              <a:gd name="T102" fmla="*/ 2061 w 3088"/>
              <a:gd name="T103" fmla="*/ 2041 h 2339"/>
              <a:gd name="T104" fmla="*/ 2002 w 3088"/>
              <a:gd name="T105" fmla="*/ 2073 h 2339"/>
              <a:gd name="T106" fmla="*/ 767 w 3088"/>
              <a:gd name="T107" fmla="*/ 1934 h 2339"/>
              <a:gd name="T108" fmla="*/ 1202 w 3088"/>
              <a:gd name="T109" fmla="*/ 2037 h 2339"/>
              <a:gd name="T110" fmla="*/ 1108 w 3088"/>
              <a:gd name="T111" fmla="*/ 2086 h 2339"/>
              <a:gd name="T112" fmla="*/ 1280 w 3088"/>
              <a:gd name="T113" fmla="*/ 2078 h 2339"/>
              <a:gd name="T114" fmla="*/ 1385 w 3088"/>
              <a:gd name="T115" fmla="*/ 2249 h 2339"/>
              <a:gd name="T116" fmla="*/ 1403 w 3088"/>
              <a:gd name="T117" fmla="*/ 2332 h 2339"/>
              <a:gd name="T118" fmla="*/ 1354 w 3088"/>
              <a:gd name="T119" fmla="*/ 2200 h 2339"/>
              <a:gd name="T120" fmla="*/ 993 w 3088"/>
              <a:gd name="T121" fmla="*/ 2123 h 2339"/>
              <a:gd name="T122" fmla="*/ 397 w 3088"/>
              <a:gd name="T123" fmla="*/ 963 h 23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088" h="2339">
                <a:moveTo>
                  <a:pt x="257" y="1763"/>
                </a:moveTo>
                <a:lnTo>
                  <a:pt x="257" y="1763"/>
                </a:lnTo>
                <a:lnTo>
                  <a:pt x="257" y="1755"/>
                </a:lnTo>
                <a:lnTo>
                  <a:pt x="256" y="1749"/>
                </a:lnTo>
                <a:lnTo>
                  <a:pt x="253" y="1736"/>
                </a:lnTo>
                <a:lnTo>
                  <a:pt x="247" y="1725"/>
                </a:lnTo>
                <a:lnTo>
                  <a:pt x="241" y="1716"/>
                </a:lnTo>
                <a:lnTo>
                  <a:pt x="233" y="1709"/>
                </a:lnTo>
                <a:lnTo>
                  <a:pt x="225" y="1704"/>
                </a:lnTo>
                <a:lnTo>
                  <a:pt x="219" y="1699"/>
                </a:lnTo>
                <a:lnTo>
                  <a:pt x="212" y="1696"/>
                </a:lnTo>
                <a:lnTo>
                  <a:pt x="212" y="1696"/>
                </a:lnTo>
                <a:lnTo>
                  <a:pt x="220" y="1690"/>
                </a:lnTo>
                <a:lnTo>
                  <a:pt x="226" y="1685"/>
                </a:lnTo>
                <a:lnTo>
                  <a:pt x="232" y="1678"/>
                </a:lnTo>
                <a:lnTo>
                  <a:pt x="237" y="1671"/>
                </a:lnTo>
                <a:lnTo>
                  <a:pt x="242" y="1663"/>
                </a:lnTo>
                <a:lnTo>
                  <a:pt x="244" y="1654"/>
                </a:lnTo>
                <a:lnTo>
                  <a:pt x="246" y="1645"/>
                </a:lnTo>
                <a:lnTo>
                  <a:pt x="246" y="1635"/>
                </a:lnTo>
                <a:lnTo>
                  <a:pt x="246" y="1635"/>
                </a:lnTo>
                <a:lnTo>
                  <a:pt x="246" y="1626"/>
                </a:lnTo>
                <a:lnTo>
                  <a:pt x="245" y="1618"/>
                </a:lnTo>
                <a:lnTo>
                  <a:pt x="243" y="1610"/>
                </a:lnTo>
                <a:lnTo>
                  <a:pt x="241" y="1602"/>
                </a:lnTo>
                <a:lnTo>
                  <a:pt x="237" y="1594"/>
                </a:lnTo>
                <a:lnTo>
                  <a:pt x="233" y="1588"/>
                </a:lnTo>
                <a:lnTo>
                  <a:pt x="227" y="1582"/>
                </a:lnTo>
                <a:lnTo>
                  <a:pt x="222" y="1577"/>
                </a:lnTo>
                <a:lnTo>
                  <a:pt x="215" y="1572"/>
                </a:lnTo>
                <a:lnTo>
                  <a:pt x="209" y="1568"/>
                </a:lnTo>
                <a:lnTo>
                  <a:pt x="201" y="1565"/>
                </a:lnTo>
                <a:lnTo>
                  <a:pt x="192" y="1561"/>
                </a:lnTo>
                <a:lnTo>
                  <a:pt x="183" y="1559"/>
                </a:lnTo>
                <a:lnTo>
                  <a:pt x="173" y="1557"/>
                </a:lnTo>
                <a:lnTo>
                  <a:pt x="163" y="1557"/>
                </a:lnTo>
                <a:lnTo>
                  <a:pt x="152" y="1556"/>
                </a:lnTo>
                <a:lnTo>
                  <a:pt x="22" y="1556"/>
                </a:lnTo>
                <a:lnTo>
                  <a:pt x="22" y="1860"/>
                </a:lnTo>
                <a:lnTo>
                  <a:pt x="151" y="1860"/>
                </a:lnTo>
                <a:lnTo>
                  <a:pt x="151" y="1860"/>
                </a:lnTo>
                <a:lnTo>
                  <a:pt x="163" y="1860"/>
                </a:lnTo>
                <a:lnTo>
                  <a:pt x="174" y="1859"/>
                </a:lnTo>
                <a:lnTo>
                  <a:pt x="185" y="1857"/>
                </a:lnTo>
                <a:lnTo>
                  <a:pt x="195" y="1854"/>
                </a:lnTo>
                <a:lnTo>
                  <a:pt x="205" y="1850"/>
                </a:lnTo>
                <a:lnTo>
                  <a:pt x="214" y="1846"/>
                </a:lnTo>
                <a:lnTo>
                  <a:pt x="222" y="1840"/>
                </a:lnTo>
                <a:lnTo>
                  <a:pt x="228" y="1835"/>
                </a:lnTo>
                <a:lnTo>
                  <a:pt x="235" y="1828"/>
                </a:lnTo>
                <a:lnTo>
                  <a:pt x="241" y="1821"/>
                </a:lnTo>
                <a:lnTo>
                  <a:pt x="246" y="1813"/>
                </a:lnTo>
                <a:lnTo>
                  <a:pt x="249" y="1804"/>
                </a:lnTo>
                <a:lnTo>
                  <a:pt x="253" y="1795"/>
                </a:lnTo>
                <a:lnTo>
                  <a:pt x="255" y="1785"/>
                </a:lnTo>
                <a:lnTo>
                  <a:pt x="256" y="1774"/>
                </a:lnTo>
                <a:lnTo>
                  <a:pt x="257" y="1763"/>
                </a:lnTo>
                <a:lnTo>
                  <a:pt x="257" y="1763"/>
                </a:lnTo>
                <a:close/>
                <a:moveTo>
                  <a:pt x="151" y="1810"/>
                </a:moveTo>
                <a:lnTo>
                  <a:pt x="78" y="1810"/>
                </a:lnTo>
                <a:lnTo>
                  <a:pt x="78" y="1722"/>
                </a:lnTo>
                <a:lnTo>
                  <a:pt x="151" y="1722"/>
                </a:lnTo>
                <a:lnTo>
                  <a:pt x="151" y="1722"/>
                </a:lnTo>
                <a:lnTo>
                  <a:pt x="162" y="1723"/>
                </a:lnTo>
                <a:lnTo>
                  <a:pt x="171" y="1725"/>
                </a:lnTo>
                <a:lnTo>
                  <a:pt x="179" y="1728"/>
                </a:lnTo>
                <a:lnTo>
                  <a:pt x="185" y="1733"/>
                </a:lnTo>
                <a:lnTo>
                  <a:pt x="191" y="1739"/>
                </a:lnTo>
                <a:lnTo>
                  <a:pt x="194" y="1747"/>
                </a:lnTo>
                <a:lnTo>
                  <a:pt x="196" y="1755"/>
                </a:lnTo>
                <a:lnTo>
                  <a:pt x="198" y="1765"/>
                </a:lnTo>
                <a:lnTo>
                  <a:pt x="198" y="1765"/>
                </a:lnTo>
                <a:lnTo>
                  <a:pt x="196" y="1775"/>
                </a:lnTo>
                <a:lnTo>
                  <a:pt x="194" y="1784"/>
                </a:lnTo>
                <a:lnTo>
                  <a:pt x="190" y="1792"/>
                </a:lnTo>
                <a:lnTo>
                  <a:pt x="185" y="1797"/>
                </a:lnTo>
                <a:lnTo>
                  <a:pt x="179" y="1803"/>
                </a:lnTo>
                <a:lnTo>
                  <a:pt x="171" y="1806"/>
                </a:lnTo>
                <a:lnTo>
                  <a:pt x="161" y="1808"/>
                </a:lnTo>
                <a:lnTo>
                  <a:pt x="151" y="1810"/>
                </a:lnTo>
                <a:lnTo>
                  <a:pt x="151" y="1810"/>
                </a:lnTo>
                <a:close/>
                <a:moveTo>
                  <a:pt x="150" y="1673"/>
                </a:moveTo>
                <a:lnTo>
                  <a:pt x="78" y="1673"/>
                </a:lnTo>
                <a:lnTo>
                  <a:pt x="78" y="1608"/>
                </a:lnTo>
                <a:lnTo>
                  <a:pt x="148" y="1608"/>
                </a:lnTo>
                <a:lnTo>
                  <a:pt x="148" y="1608"/>
                </a:lnTo>
                <a:lnTo>
                  <a:pt x="157" y="1609"/>
                </a:lnTo>
                <a:lnTo>
                  <a:pt x="166" y="1610"/>
                </a:lnTo>
                <a:lnTo>
                  <a:pt x="172" y="1612"/>
                </a:lnTo>
                <a:lnTo>
                  <a:pt x="178" y="1615"/>
                </a:lnTo>
                <a:lnTo>
                  <a:pt x="182" y="1621"/>
                </a:lnTo>
                <a:lnTo>
                  <a:pt x="185" y="1626"/>
                </a:lnTo>
                <a:lnTo>
                  <a:pt x="187" y="1633"/>
                </a:lnTo>
                <a:lnTo>
                  <a:pt x="188" y="1641"/>
                </a:lnTo>
                <a:lnTo>
                  <a:pt x="188" y="1641"/>
                </a:lnTo>
                <a:lnTo>
                  <a:pt x="188" y="1646"/>
                </a:lnTo>
                <a:lnTo>
                  <a:pt x="187" y="1652"/>
                </a:lnTo>
                <a:lnTo>
                  <a:pt x="184" y="1657"/>
                </a:lnTo>
                <a:lnTo>
                  <a:pt x="181" y="1662"/>
                </a:lnTo>
                <a:lnTo>
                  <a:pt x="175" y="1666"/>
                </a:lnTo>
                <a:lnTo>
                  <a:pt x="169" y="1669"/>
                </a:lnTo>
                <a:lnTo>
                  <a:pt x="161" y="1672"/>
                </a:lnTo>
                <a:lnTo>
                  <a:pt x="150" y="1673"/>
                </a:lnTo>
                <a:lnTo>
                  <a:pt x="150" y="1673"/>
                </a:lnTo>
                <a:close/>
                <a:moveTo>
                  <a:pt x="296" y="1764"/>
                </a:moveTo>
                <a:lnTo>
                  <a:pt x="296" y="1639"/>
                </a:lnTo>
                <a:lnTo>
                  <a:pt x="351" y="1639"/>
                </a:lnTo>
                <a:lnTo>
                  <a:pt x="351" y="1761"/>
                </a:lnTo>
                <a:lnTo>
                  <a:pt x="351" y="1761"/>
                </a:lnTo>
                <a:lnTo>
                  <a:pt x="351" y="1773"/>
                </a:lnTo>
                <a:lnTo>
                  <a:pt x="353" y="1785"/>
                </a:lnTo>
                <a:lnTo>
                  <a:pt x="356" y="1794"/>
                </a:lnTo>
                <a:lnTo>
                  <a:pt x="361" y="1802"/>
                </a:lnTo>
                <a:lnTo>
                  <a:pt x="366" y="1807"/>
                </a:lnTo>
                <a:lnTo>
                  <a:pt x="373" y="1812"/>
                </a:lnTo>
                <a:lnTo>
                  <a:pt x="382" y="1814"/>
                </a:lnTo>
                <a:lnTo>
                  <a:pt x="392" y="1815"/>
                </a:lnTo>
                <a:lnTo>
                  <a:pt x="392" y="1815"/>
                </a:lnTo>
                <a:lnTo>
                  <a:pt x="402" y="1814"/>
                </a:lnTo>
                <a:lnTo>
                  <a:pt x="409" y="1812"/>
                </a:lnTo>
                <a:lnTo>
                  <a:pt x="417" y="1807"/>
                </a:lnTo>
                <a:lnTo>
                  <a:pt x="423" y="1802"/>
                </a:lnTo>
                <a:lnTo>
                  <a:pt x="427" y="1794"/>
                </a:lnTo>
                <a:lnTo>
                  <a:pt x="430" y="1784"/>
                </a:lnTo>
                <a:lnTo>
                  <a:pt x="433" y="1773"/>
                </a:lnTo>
                <a:lnTo>
                  <a:pt x="433" y="1761"/>
                </a:lnTo>
                <a:lnTo>
                  <a:pt x="433" y="1639"/>
                </a:lnTo>
                <a:lnTo>
                  <a:pt x="488" y="1639"/>
                </a:lnTo>
                <a:lnTo>
                  <a:pt x="488" y="1860"/>
                </a:lnTo>
                <a:lnTo>
                  <a:pt x="433" y="1860"/>
                </a:lnTo>
                <a:lnTo>
                  <a:pt x="433" y="1843"/>
                </a:lnTo>
                <a:lnTo>
                  <a:pt x="433" y="1843"/>
                </a:lnTo>
                <a:lnTo>
                  <a:pt x="428" y="1848"/>
                </a:lnTo>
                <a:lnTo>
                  <a:pt x="422" y="1853"/>
                </a:lnTo>
                <a:lnTo>
                  <a:pt x="416" y="1857"/>
                </a:lnTo>
                <a:lnTo>
                  <a:pt x="409" y="1859"/>
                </a:lnTo>
                <a:lnTo>
                  <a:pt x="403" y="1862"/>
                </a:lnTo>
                <a:lnTo>
                  <a:pt x="395" y="1864"/>
                </a:lnTo>
                <a:lnTo>
                  <a:pt x="387" y="1865"/>
                </a:lnTo>
                <a:lnTo>
                  <a:pt x="380" y="1866"/>
                </a:lnTo>
                <a:lnTo>
                  <a:pt x="380" y="1866"/>
                </a:lnTo>
                <a:lnTo>
                  <a:pt x="366" y="1865"/>
                </a:lnTo>
                <a:lnTo>
                  <a:pt x="355" y="1862"/>
                </a:lnTo>
                <a:lnTo>
                  <a:pt x="345" y="1859"/>
                </a:lnTo>
                <a:lnTo>
                  <a:pt x="336" y="1855"/>
                </a:lnTo>
                <a:lnTo>
                  <a:pt x="328" y="1849"/>
                </a:lnTo>
                <a:lnTo>
                  <a:pt x="321" y="1844"/>
                </a:lnTo>
                <a:lnTo>
                  <a:pt x="316" y="1836"/>
                </a:lnTo>
                <a:lnTo>
                  <a:pt x="310" y="1828"/>
                </a:lnTo>
                <a:lnTo>
                  <a:pt x="307" y="1821"/>
                </a:lnTo>
                <a:lnTo>
                  <a:pt x="304" y="1813"/>
                </a:lnTo>
                <a:lnTo>
                  <a:pt x="299" y="1795"/>
                </a:lnTo>
                <a:lnTo>
                  <a:pt x="297" y="1779"/>
                </a:lnTo>
                <a:lnTo>
                  <a:pt x="296" y="1764"/>
                </a:lnTo>
                <a:lnTo>
                  <a:pt x="296" y="1764"/>
                </a:lnTo>
                <a:close/>
                <a:moveTo>
                  <a:pt x="1135" y="1860"/>
                </a:moveTo>
                <a:lnTo>
                  <a:pt x="1079" y="1860"/>
                </a:lnTo>
                <a:lnTo>
                  <a:pt x="1079" y="1639"/>
                </a:lnTo>
                <a:lnTo>
                  <a:pt x="1135" y="1639"/>
                </a:lnTo>
                <a:lnTo>
                  <a:pt x="1135" y="1657"/>
                </a:lnTo>
                <a:lnTo>
                  <a:pt x="1135" y="1657"/>
                </a:lnTo>
                <a:lnTo>
                  <a:pt x="1140" y="1652"/>
                </a:lnTo>
                <a:lnTo>
                  <a:pt x="1146" y="1646"/>
                </a:lnTo>
                <a:lnTo>
                  <a:pt x="1152" y="1643"/>
                </a:lnTo>
                <a:lnTo>
                  <a:pt x="1159" y="1640"/>
                </a:lnTo>
                <a:lnTo>
                  <a:pt x="1167" y="1636"/>
                </a:lnTo>
                <a:lnTo>
                  <a:pt x="1173" y="1635"/>
                </a:lnTo>
                <a:lnTo>
                  <a:pt x="1182" y="1634"/>
                </a:lnTo>
                <a:lnTo>
                  <a:pt x="1190" y="1633"/>
                </a:lnTo>
                <a:lnTo>
                  <a:pt x="1190" y="1633"/>
                </a:lnTo>
                <a:lnTo>
                  <a:pt x="1200" y="1634"/>
                </a:lnTo>
                <a:lnTo>
                  <a:pt x="1208" y="1635"/>
                </a:lnTo>
                <a:lnTo>
                  <a:pt x="1217" y="1637"/>
                </a:lnTo>
                <a:lnTo>
                  <a:pt x="1225" y="1640"/>
                </a:lnTo>
                <a:lnTo>
                  <a:pt x="1233" y="1643"/>
                </a:lnTo>
                <a:lnTo>
                  <a:pt x="1239" y="1648"/>
                </a:lnTo>
                <a:lnTo>
                  <a:pt x="1245" y="1653"/>
                </a:lnTo>
                <a:lnTo>
                  <a:pt x="1250" y="1659"/>
                </a:lnTo>
                <a:lnTo>
                  <a:pt x="1256" y="1666"/>
                </a:lnTo>
                <a:lnTo>
                  <a:pt x="1259" y="1674"/>
                </a:lnTo>
                <a:lnTo>
                  <a:pt x="1264" y="1682"/>
                </a:lnTo>
                <a:lnTo>
                  <a:pt x="1266" y="1690"/>
                </a:lnTo>
                <a:lnTo>
                  <a:pt x="1268" y="1700"/>
                </a:lnTo>
                <a:lnTo>
                  <a:pt x="1270" y="1711"/>
                </a:lnTo>
                <a:lnTo>
                  <a:pt x="1271" y="1722"/>
                </a:lnTo>
                <a:lnTo>
                  <a:pt x="1271" y="1734"/>
                </a:lnTo>
                <a:lnTo>
                  <a:pt x="1271" y="1860"/>
                </a:lnTo>
                <a:lnTo>
                  <a:pt x="1216" y="1860"/>
                </a:lnTo>
                <a:lnTo>
                  <a:pt x="1216" y="1738"/>
                </a:lnTo>
                <a:lnTo>
                  <a:pt x="1216" y="1738"/>
                </a:lnTo>
                <a:lnTo>
                  <a:pt x="1216" y="1725"/>
                </a:lnTo>
                <a:lnTo>
                  <a:pt x="1214" y="1714"/>
                </a:lnTo>
                <a:lnTo>
                  <a:pt x="1211" y="1705"/>
                </a:lnTo>
                <a:lnTo>
                  <a:pt x="1206" y="1697"/>
                </a:lnTo>
                <a:lnTo>
                  <a:pt x="1201" y="1691"/>
                </a:lnTo>
                <a:lnTo>
                  <a:pt x="1194" y="1687"/>
                </a:lnTo>
                <a:lnTo>
                  <a:pt x="1186" y="1685"/>
                </a:lnTo>
                <a:lnTo>
                  <a:pt x="1176" y="1684"/>
                </a:lnTo>
                <a:lnTo>
                  <a:pt x="1176" y="1684"/>
                </a:lnTo>
                <a:lnTo>
                  <a:pt x="1167" y="1685"/>
                </a:lnTo>
                <a:lnTo>
                  <a:pt x="1158" y="1687"/>
                </a:lnTo>
                <a:lnTo>
                  <a:pt x="1151" y="1691"/>
                </a:lnTo>
                <a:lnTo>
                  <a:pt x="1146" y="1697"/>
                </a:lnTo>
                <a:lnTo>
                  <a:pt x="1140" y="1705"/>
                </a:lnTo>
                <a:lnTo>
                  <a:pt x="1137" y="1715"/>
                </a:lnTo>
                <a:lnTo>
                  <a:pt x="1135" y="1726"/>
                </a:lnTo>
                <a:lnTo>
                  <a:pt x="1135" y="1738"/>
                </a:lnTo>
                <a:lnTo>
                  <a:pt x="1135" y="1860"/>
                </a:lnTo>
                <a:close/>
                <a:moveTo>
                  <a:pt x="593" y="1742"/>
                </a:moveTo>
                <a:lnTo>
                  <a:pt x="593" y="1860"/>
                </a:lnTo>
                <a:lnTo>
                  <a:pt x="537" y="1860"/>
                </a:lnTo>
                <a:lnTo>
                  <a:pt x="537" y="1639"/>
                </a:lnTo>
                <a:lnTo>
                  <a:pt x="593" y="1639"/>
                </a:lnTo>
                <a:lnTo>
                  <a:pt x="593" y="1742"/>
                </a:lnTo>
                <a:close/>
                <a:moveTo>
                  <a:pt x="641" y="1573"/>
                </a:moveTo>
                <a:lnTo>
                  <a:pt x="696" y="1546"/>
                </a:lnTo>
                <a:lnTo>
                  <a:pt x="696" y="1747"/>
                </a:lnTo>
                <a:lnTo>
                  <a:pt x="696" y="1860"/>
                </a:lnTo>
                <a:lnTo>
                  <a:pt x="641" y="1860"/>
                </a:lnTo>
                <a:lnTo>
                  <a:pt x="641" y="1573"/>
                </a:lnTo>
                <a:close/>
                <a:moveTo>
                  <a:pt x="871" y="1654"/>
                </a:moveTo>
                <a:lnTo>
                  <a:pt x="871" y="1654"/>
                </a:lnTo>
                <a:lnTo>
                  <a:pt x="866" y="1648"/>
                </a:lnTo>
                <a:lnTo>
                  <a:pt x="861" y="1645"/>
                </a:lnTo>
                <a:lnTo>
                  <a:pt x="854" y="1641"/>
                </a:lnTo>
                <a:lnTo>
                  <a:pt x="849" y="1639"/>
                </a:lnTo>
                <a:lnTo>
                  <a:pt x="842" y="1636"/>
                </a:lnTo>
                <a:lnTo>
                  <a:pt x="835" y="1634"/>
                </a:lnTo>
                <a:lnTo>
                  <a:pt x="822" y="1633"/>
                </a:lnTo>
                <a:lnTo>
                  <a:pt x="822" y="1633"/>
                </a:lnTo>
                <a:lnTo>
                  <a:pt x="812" y="1634"/>
                </a:lnTo>
                <a:lnTo>
                  <a:pt x="802" y="1635"/>
                </a:lnTo>
                <a:lnTo>
                  <a:pt x="794" y="1637"/>
                </a:lnTo>
                <a:lnTo>
                  <a:pt x="786" y="1641"/>
                </a:lnTo>
                <a:lnTo>
                  <a:pt x="778" y="1645"/>
                </a:lnTo>
                <a:lnTo>
                  <a:pt x="770" y="1651"/>
                </a:lnTo>
                <a:lnTo>
                  <a:pt x="764" y="1657"/>
                </a:lnTo>
                <a:lnTo>
                  <a:pt x="758" y="1664"/>
                </a:lnTo>
                <a:lnTo>
                  <a:pt x="753" y="1672"/>
                </a:lnTo>
                <a:lnTo>
                  <a:pt x="748" y="1680"/>
                </a:lnTo>
                <a:lnTo>
                  <a:pt x="744" y="1689"/>
                </a:lnTo>
                <a:lnTo>
                  <a:pt x="741" y="1699"/>
                </a:lnTo>
                <a:lnTo>
                  <a:pt x="738" y="1710"/>
                </a:lnTo>
                <a:lnTo>
                  <a:pt x="736" y="1722"/>
                </a:lnTo>
                <a:lnTo>
                  <a:pt x="735" y="1734"/>
                </a:lnTo>
                <a:lnTo>
                  <a:pt x="735" y="1747"/>
                </a:lnTo>
                <a:lnTo>
                  <a:pt x="735" y="1747"/>
                </a:lnTo>
                <a:lnTo>
                  <a:pt x="735" y="1761"/>
                </a:lnTo>
                <a:lnTo>
                  <a:pt x="736" y="1773"/>
                </a:lnTo>
                <a:lnTo>
                  <a:pt x="738" y="1785"/>
                </a:lnTo>
                <a:lnTo>
                  <a:pt x="741" y="1796"/>
                </a:lnTo>
                <a:lnTo>
                  <a:pt x="744" y="1807"/>
                </a:lnTo>
                <a:lnTo>
                  <a:pt x="747" y="1817"/>
                </a:lnTo>
                <a:lnTo>
                  <a:pt x="752" y="1826"/>
                </a:lnTo>
                <a:lnTo>
                  <a:pt x="757" y="1834"/>
                </a:lnTo>
                <a:lnTo>
                  <a:pt x="764" y="1841"/>
                </a:lnTo>
                <a:lnTo>
                  <a:pt x="769" y="1847"/>
                </a:lnTo>
                <a:lnTo>
                  <a:pt x="777" y="1853"/>
                </a:lnTo>
                <a:lnTo>
                  <a:pt x="785" y="1857"/>
                </a:lnTo>
                <a:lnTo>
                  <a:pt x="792" y="1860"/>
                </a:lnTo>
                <a:lnTo>
                  <a:pt x="801" y="1864"/>
                </a:lnTo>
                <a:lnTo>
                  <a:pt x="811" y="1865"/>
                </a:lnTo>
                <a:lnTo>
                  <a:pt x="821" y="1866"/>
                </a:lnTo>
                <a:lnTo>
                  <a:pt x="821" y="1866"/>
                </a:lnTo>
                <a:lnTo>
                  <a:pt x="828" y="1865"/>
                </a:lnTo>
                <a:lnTo>
                  <a:pt x="834" y="1864"/>
                </a:lnTo>
                <a:lnTo>
                  <a:pt x="841" y="1862"/>
                </a:lnTo>
                <a:lnTo>
                  <a:pt x="848" y="1860"/>
                </a:lnTo>
                <a:lnTo>
                  <a:pt x="853" y="1857"/>
                </a:lnTo>
                <a:lnTo>
                  <a:pt x="860" y="1854"/>
                </a:lnTo>
                <a:lnTo>
                  <a:pt x="865" y="1849"/>
                </a:lnTo>
                <a:lnTo>
                  <a:pt x="871" y="1844"/>
                </a:lnTo>
                <a:lnTo>
                  <a:pt x="871" y="1860"/>
                </a:lnTo>
                <a:lnTo>
                  <a:pt x="926" y="1860"/>
                </a:lnTo>
                <a:lnTo>
                  <a:pt x="926" y="1546"/>
                </a:lnTo>
                <a:lnTo>
                  <a:pt x="871" y="1573"/>
                </a:lnTo>
                <a:lnTo>
                  <a:pt x="871" y="1654"/>
                </a:lnTo>
                <a:close/>
                <a:moveTo>
                  <a:pt x="832" y="1815"/>
                </a:moveTo>
                <a:lnTo>
                  <a:pt x="832" y="1815"/>
                </a:lnTo>
                <a:lnTo>
                  <a:pt x="826" y="1814"/>
                </a:lnTo>
                <a:lnTo>
                  <a:pt x="818" y="1812"/>
                </a:lnTo>
                <a:lnTo>
                  <a:pt x="811" y="1808"/>
                </a:lnTo>
                <a:lnTo>
                  <a:pt x="805" y="1802"/>
                </a:lnTo>
                <a:lnTo>
                  <a:pt x="799" y="1793"/>
                </a:lnTo>
                <a:lnTo>
                  <a:pt x="795" y="1781"/>
                </a:lnTo>
                <a:lnTo>
                  <a:pt x="791" y="1765"/>
                </a:lnTo>
                <a:lnTo>
                  <a:pt x="790" y="1746"/>
                </a:lnTo>
                <a:lnTo>
                  <a:pt x="790" y="1746"/>
                </a:lnTo>
                <a:lnTo>
                  <a:pt x="791" y="1728"/>
                </a:lnTo>
                <a:lnTo>
                  <a:pt x="795" y="1715"/>
                </a:lnTo>
                <a:lnTo>
                  <a:pt x="799" y="1704"/>
                </a:lnTo>
                <a:lnTo>
                  <a:pt x="805" y="1696"/>
                </a:lnTo>
                <a:lnTo>
                  <a:pt x="810" y="1689"/>
                </a:lnTo>
                <a:lnTo>
                  <a:pt x="818" y="1686"/>
                </a:lnTo>
                <a:lnTo>
                  <a:pt x="824" y="1684"/>
                </a:lnTo>
                <a:lnTo>
                  <a:pt x="832" y="1684"/>
                </a:lnTo>
                <a:lnTo>
                  <a:pt x="832" y="1684"/>
                </a:lnTo>
                <a:lnTo>
                  <a:pt x="839" y="1684"/>
                </a:lnTo>
                <a:lnTo>
                  <a:pt x="845" y="1686"/>
                </a:lnTo>
                <a:lnTo>
                  <a:pt x="852" y="1688"/>
                </a:lnTo>
                <a:lnTo>
                  <a:pt x="856" y="1691"/>
                </a:lnTo>
                <a:lnTo>
                  <a:pt x="861" y="1695"/>
                </a:lnTo>
                <a:lnTo>
                  <a:pt x="865" y="1698"/>
                </a:lnTo>
                <a:lnTo>
                  <a:pt x="871" y="1706"/>
                </a:lnTo>
                <a:lnTo>
                  <a:pt x="871" y="1793"/>
                </a:lnTo>
                <a:lnTo>
                  <a:pt x="871" y="1793"/>
                </a:lnTo>
                <a:lnTo>
                  <a:pt x="864" y="1801"/>
                </a:lnTo>
                <a:lnTo>
                  <a:pt x="856" y="1807"/>
                </a:lnTo>
                <a:lnTo>
                  <a:pt x="852" y="1811"/>
                </a:lnTo>
                <a:lnTo>
                  <a:pt x="845" y="1813"/>
                </a:lnTo>
                <a:lnTo>
                  <a:pt x="840" y="1814"/>
                </a:lnTo>
                <a:lnTo>
                  <a:pt x="832" y="1815"/>
                </a:lnTo>
                <a:lnTo>
                  <a:pt x="832" y="1815"/>
                </a:lnTo>
                <a:close/>
                <a:moveTo>
                  <a:pt x="2069" y="1633"/>
                </a:moveTo>
                <a:lnTo>
                  <a:pt x="2069" y="1633"/>
                </a:lnTo>
                <a:lnTo>
                  <a:pt x="2064" y="1634"/>
                </a:lnTo>
                <a:lnTo>
                  <a:pt x="2057" y="1635"/>
                </a:lnTo>
                <a:lnTo>
                  <a:pt x="2044" y="1639"/>
                </a:lnTo>
                <a:lnTo>
                  <a:pt x="2032" y="1645"/>
                </a:lnTo>
                <a:lnTo>
                  <a:pt x="2021" y="1654"/>
                </a:lnTo>
                <a:lnTo>
                  <a:pt x="2021" y="1551"/>
                </a:lnTo>
                <a:lnTo>
                  <a:pt x="1966" y="1579"/>
                </a:lnTo>
                <a:lnTo>
                  <a:pt x="1966" y="1860"/>
                </a:lnTo>
                <a:lnTo>
                  <a:pt x="2021" y="1860"/>
                </a:lnTo>
                <a:lnTo>
                  <a:pt x="2021" y="1844"/>
                </a:lnTo>
                <a:lnTo>
                  <a:pt x="2021" y="1844"/>
                </a:lnTo>
                <a:lnTo>
                  <a:pt x="2025" y="1849"/>
                </a:lnTo>
                <a:lnTo>
                  <a:pt x="2032" y="1854"/>
                </a:lnTo>
                <a:lnTo>
                  <a:pt x="2037" y="1857"/>
                </a:lnTo>
                <a:lnTo>
                  <a:pt x="2044" y="1860"/>
                </a:lnTo>
                <a:lnTo>
                  <a:pt x="2049" y="1862"/>
                </a:lnTo>
                <a:lnTo>
                  <a:pt x="2057" y="1864"/>
                </a:lnTo>
                <a:lnTo>
                  <a:pt x="2064" y="1865"/>
                </a:lnTo>
                <a:lnTo>
                  <a:pt x="2070" y="1866"/>
                </a:lnTo>
                <a:lnTo>
                  <a:pt x="2070" y="1866"/>
                </a:lnTo>
                <a:lnTo>
                  <a:pt x="2080" y="1865"/>
                </a:lnTo>
                <a:lnTo>
                  <a:pt x="2090" y="1864"/>
                </a:lnTo>
                <a:lnTo>
                  <a:pt x="2099" y="1861"/>
                </a:lnTo>
                <a:lnTo>
                  <a:pt x="2108" y="1857"/>
                </a:lnTo>
                <a:lnTo>
                  <a:pt x="2116" y="1853"/>
                </a:lnTo>
                <a:lnTo>
                  <a:pt x="2122" y="1848"/>
                </a:lnTo>
                <a:lnTo>
                  <a:pt x="2129" y="1841"/>
                </a:lnTo>
                <a:lnTo>
                  <a:pt x="2134" y="1835"/>
                </a:lnTo>
                <a:lnTo>
                  <a:pt x="2140" y="1826"/>
                </a:lnTo>
                <a:lnTo>
                  <a:pt x="2144" y="1817"/>
                </a:lnTo>
                <a:lnTo>
                  <a:pt x="2148" y="1807"/>
                </a:lnTo>
                <a:lnTo>
                  <a:pt x="2151" y="1797"/>
                </a:lnTo>
                <a:lnTo>
                  <a:pt x="2154" y="1786"/>
                </a:lnTo>
                <a:lnTo>
                  <a:pt x="2155" y="1774"/>
                </a:lnTo>
                <a:lnTo>
                  <a:pt x="2157" y="1761"/>
                </a:lnTo>
                <a:lnTo>
                  <a:pt x="2158" y="1747"/>
                </a:lnTo>
                <a:lnTo>
                  <a:pt x="2158" y="1747"/>
                </a:lnTo>
                <a:lnTo>
                  <a:pt x="2157" y="1734"/>
                </a:lnTo>
                <a:lnTo>
                  <a:pt x="2155" y="1722"/>
                </a:lnTo>
                <a:lnTo>
                  <a:pt x="2153" y="1710"/>
                </a:lnTo>
                <a:lnTo>
                  <a:pt x="2151" y="1699"/>
                </a:lnTo>
                <a:lnTo>
                  <a:pt x="2148" y="1689"/>
                </a:lnTo>
                <a:lnTo>
                  <a:pt x="2143" y="1680"/>
                </a:lnTo>
                <a:lnTo>
                  <a:pt x="2139" y="1672"/>
                </a:lnTo>
                <a:lnTo>
                  <a:pt x="2133" y="1664"/>
                </a:lnTo>
                <a:lnTo>
                  <a:pt x="2128" y="1657"/>
                </a:lnTo>
                <a:lnTo>
                  <a:pt x="2121" y="1651"/>
                </a:lnTo>
                <a:lnTo>
                  <a:pt x="2113" y="1645"/>
                </a:lnTo>
                <a:lnTo>
                  <a:pt x="2106" y="1641"/>
                </a:lnTo>
                <a:lnTo>
                  <a:pt x="2098" y="1637"/>
                </a:lnTo>
                <a:lnTo>
                  <a:pt x="2089" y="1635"/>
                </a:lnTo>
                <a:lnTo>
                  <a:pt x="2079" y="1634"/>
                </a:lnTo>
                <a:lnTo>
                  <a:pt x="2069" y="1633"/>
                </a:lnTo>
                <a:lnTo>
                  <a:pt x="2069" y="1633"/>
                </a:lnTo>
                <a:close/>
                <a:moveTo>
                  <a:pt x="2059" y="1684"/>
                </a:moveTo>
                <a:lnTo>
                  <a:pt x="2059" y="1684"/>
                </a:lnTo>
                <a:lnTo>
                  <a:pt x="2067" y="1685"/>
                </a:lnTo>
                <a:lnTo>
                  <a:pt x="2075" y="1687"/>
                </a:lnTo>
                <a:lnTo>
                  <a:pt x="2081" y="1691"/>
                </a:lnTo>
                <a:lnTo>
                  <a:pt x="2088" y="1698"/>
                </a:lnTo>
                <a:lnTo>
                  <a:pt x="2094" y="1706"/>
                </a:lnTo>
                <a:lnTo>
                  <a:pt x="2097" y="1717"/>
                </a:lnTo>
                <a:lnTo>
                  <a:pt x="2100" y="1730"/>
                </a:lnTo>
                <a:lnTo>
                  <a:pt x="2101" y="1746"/>
                </a:lnTo>
                <a:lnTo>
                  <a:pt x="2101" y="1746"/>
                </a:lnTo>
                <a:lnTo>
                  <a:pt x="2100" y="1762"/>
                </a:lnTo>
                <a:lnTo>
                  <a:pt x="2098" y="1776"/>
                </a:lnTo>
                <a:lnTo>
                  <a:pt x="2096" y="1787"/>
                </a:lnTo>
                <a:lnTo>
                  <a:pt x="2091" y="1797"/>
                </a:lnTo>
                <a:lnTo>
                  <a:pt x="2085" y="1805"/>
                </a:lnTo>
                <a:lnTo>
                  <a:pt x="2078" y="1811"/>
                </a:lnTo>
                <a:lnTo>
                  <a:pt x="2070" y="1814"/>
                </a:lnTo>
                <a:lnTo>
                  <a:pt x="2061" y="1815"/>
                </a:lnTo>
                <a:lnTo>
                  <a:pt x="2061" y="1815"/>
                </a:lnTo>
                <a:lnTo>
                  <a:pt x="2053" y="1814"/>
                </a:lnTo>
                <a:lnTo>
                  <a:pt x="2046" y="1813"/>
                </a:lnTo>
                <a:lnTo>
                  <a:pt x="2041" y="1810"/>
                </a:lnTo>
                <a:lnTo>
                  <a:pt x="2035" y="1807"/>
                </a:lnTo>
                <a:lnTo>
                  <a:pt x="2026" y="1800"/>
                </a:lnTo>
                <a:lnTo>
                  <a:pt x="2021" y="1794"/>
                </a:lnTo>
                <a:lnTo>
                  <a:pt x="2021" y="1706"/>
                </a:lnTo>
                <a:lnTo>
                  <a:pt x="2021" y="1706"/>
                </a:lnTo>
                <a:lnTo>
                  <a:pt x="2024" y="1701"/>
                </a:lnTo>
                <a:lnTo>
                  <a:pt x="2029" y="1697"/>
                </a:lnTo>
                <a:lnTo>
                  <a:pt x="2033" y="1693"/>
                </a:lnTo>
                <a:lnTo>
                  <a:pt x="2037" y="1689"/>
                </a:lnTo>
                <a:lnTo>
                  <a:pt x="2043" y="1687"/>
                </a:lnTo>
                <a:lnTo>
                  <a:pt x="2048" y="1685"/>
                </a:lnTo>
                <a:lnTo>
                  <a:pt x="2054" y="1684"/>
                </a:lnTo>
                <a:lnTo>
                  <a:pt x="2059" y="1684"/>
                </a:lnTo>
                <a:lnTo>
                  <a:pt x="2059" y="1684"/>
                </a:lnTo>
                <a:close/>
                <a:moveTo>
                  <a:pt x="1445" y="1654"/>
                </a:moveTo>
                <a:lnTo>
                  <a:pt x="1445" y="1654"/>
                </a:lnTo>
                <a:lnTo>
                  <a:pt x="1440" y="1650"/>
                </a:lnTo>
                <a:lnTo>
                  <a:pt x="1435" y="1645"/>
                </a:lnTo>
                <a:lnTo>
                  <a:pt x="1428" y="1642"/>
                </a:lnTo>
                <a:lnTo>
                  <a:pt x="1423" y="1639"/>
                </a:lnTo>
                <a:lnTo>
                  <a:pt x="1416" y="1636"/>
                </a:lnTo>
                <a:lnTo>
                  <a:pt x="1409" y="1634"/>
                </a:lnTo>
                <a:lnTo>
                  <a:pt x="1403" y="1634"/>
                </a:lnTo>
                <a:lnTo>
                  <a:pt x="1396" y="1633"/>
                </a:lnTo>
                <a:lnTo>
                  <a:pt x="1396" y="1633"/>
                </a:lnTo>
                <a:lnTo>
                  <a:pt x="1386" y="1634"/>
                </a:lnTo>
                <a:lnTo>
                  <a:pt x="1376" y="1635"/>
                </a:lnTo>
                <a:lnTo>
                  <a:pt x="1367" y="1637"/>
                </a:lnTo>
                <a:lnTo>
                  <a:pt x="1360" y="1641"/>
                </a:lnTo>
                <a:lnTo>
                  <a:pt x="1352" y="1645"/>
                </a:lnTo>
                <a:lnTo>
                  <a:pt x="1344" y="1651"/>
                </a:lnTo>
                <a:lnTo>
                  <a:pt x="1338" y="1657"/>
                </a:lnTo>
                <a:lnTo>
                  <a:pt x="1332" y="1664"/>
                </a:lnTo>
                <a:lnTo>
                  <a:pt x="1327" y="1672"/>
                </a:lnTo>
                <a:lnTo>
                  <a:pt x="1322" y="1680"/>
                </a:lnTo>
                <a:lnTo>
                  <a:pt x="1318" y="1689"/>
                </a:lnTo>
                <a:lnTo>
                  <a:pt x="1314" y="1699"/>
                </a:lnTo>
                <a:lnTo>
                  <a:pt x="1312" y="1710"/>
                </a:lnTo>
                <a:lnTo>
                  <a:pt x="1310" y="1722"/>
                </a:lnTo>
                <a:lnTo>
                  <a:pt x="1309" y="1734"/>
                </a:lnTo>
                <a:lnTo>
                  <a:pt x="1309" y="1747"/>
                </a:lnTo>
                <a:lnTo>
                  <a:pt x="1309" y="1747"/>
                </a:lnTo>
                <a:lnTo>
                  <a:pt x="1309" y="1761"/>
                </a:lnTo>
                <a:lnTo>
                  <a:pt x="1310" y="1773"/>
                </a:lnTo>
                <a:lnTo>
                  <a:pt x="1312" y="1785"/>
                </a:lnTo>
                <a:lnTo>
                  <a:pt x="1314" y="1796"/>
                </a:lnTo>
                <a:lnTo>
                  <a:pt x="1318" y="1807"/>
                </a:lnTo>
                <a:lnTo>
                  <a:pt x="1321" y="1817"/>
                </a:lnTo>
                <a:lnTo>
                  <a:pt x="1327" y="1826"/>
                </a:lnTo>
                <a:lnTo>
                  <a:pt x="1331" y="1834"/>
                </a:lnTo>
                <a:lnTo>
                  <a:pt x="1338" y="1841"/>
                </a:lnTo>
                <a:lnTo>
                  <a:pt x="1343" y="1847"/>
                </a:lnTo>
                <a:lnTo>
                  <a:pt x="1351" y="1853"/>
                </a:lnTo>
                <a:lnTo>
                  <a:pt x="1359" y="1857"/>
                </a:lnTo>
                <a:lnTo>
                  <a:pt x="1366" y="1860"/>
                </a:lnTo>
                <a:lnTo>
                  <a:pt x="1375" y="1864"/>
                </a:lnTo>
                <a:lnTo>
                  <a:pt x="1385" y="1865"/>
                </a:lnTo>
                <a:lnTo>
                  <a:pt x="1395" y="1865"/>
                </a:lnTo>
                <a:lnTo>
                  <a:pt x="1395" y="1865"/>
                </a:lnTo>
                <a:lnTo>
                  <a:pt x="1402" y="1865"/>
                </a:lnTo>
                <a:lnTo>
                  <a:pt x="1408" y="1864"/>
                </a:lnTo>
                <a:lnTo>
                  <a:pt x="1415" y="1862"/>
                </a:lnTo>
                <a:lnTo>
                  <a:pt x="1421" y="1860"/>
                </a:lnTo>
                <a:lnTo>
                  <a:pt x="1428" y="1857"/>
                </a:lnTo>
                <a:lnTo>
                  <a:pt x="1434" y="1853"/>
                </a:lnTo>
                <a:lnTo>
                  <a:pt x="1439" y="1849"/>
                </a:lnTo>
                <a:lnTo>
                  <a:pt x="1445" y="1844"/>
                </a:lnTo>
                <a:lnTo>
                  <a:pt x="1445" y="1849"/>
                </a:lnTo>
                <a:lnTo>
                  <a:pt x="1445" y="1849"/>
                </a:lnTo>
                <a:lnTo>
                  <a:pt x="1445" y="1858"/>
                </a:lnTo>
                <a:lnTo>
                  <a:pt x="1444" y="1868"/>
                </a:lnTo>
                <a:lnTo>
                  <a:pt x="1441" y="1878"/>
                </a:lnTo>
                <a:lnTo>
                  <a:pt x="1439" y="1882"/>
                </a:lnTo>
                <a:lnTo>
                  <a:pt x="1436" y="1887"/>
                </a:lnTo>
                <a:lnTo>
                  <a:pt x="1433" y="1891"/>
                </a:lnTo>
                <a:lnTo>
                  <a:pt x="1428" y="1896"/>
                </a:lnTo>
                <a:lnTo>
                  <a:pt x="1421" y="1899"/>
                </a:lnTo>
                <a:lnTo>
                  <a:pt x="1415" y="1901"/>
                </a:lnTo>
                <a:lnTo>
                  <a:pt x="1407" y="1904"/>
                </a:lnTo>
                <a:lnTo>
                  <a:pt x="1397" y="1905"/>
                </a:lnTo>
                <a:lnTo>
                  <a:pt x="1386" y="1908"/>
                </a:lnTo>
                <a:lnTo>
                  <a:pt x="1374" y="1908"/>
                </a:lnTo>
                <a:lnTo>
                  <a:pt x="1372" y="1908"/>
                </a:lnTo>
                <a:lnTo>
                  <a:pt x="1391" y="1951"/>
                </a:lnTo>
                <a:lnTo>
                  <a:pt x="1392" y="1951"/>
                </a:lnTo>
                <a:lnTo>
                  <a:pt x="1392" y="1951"/>
                </a:lnTo>
                <a:lnTo>
                  <a:pt x="1405" y="1951"/>
                </a:lnTo>
                <a:lnTo>
                  <a:pt x="1417" y="1948"/>
                </a:lnTo>
                <a:lnTo>
                  <a:pt x="1429" y="1946"/>
                </a:lnTo>
                <a:lnTo>
                  <a:pt x="1439" y="1943"/>
                </a:lnTo>
                <a:lnTo>
                  <a:pt x="1449" y="1940"/>
                </a:lnTo>
                <a:lnTo>
                  <a:pt x="1458" y="1935"/>
                </a:lnTo>
                <a:lnTo>
                  <a:pt x="1466" y="1929"/>
                </a:lnTo>
                <a:lnTo>
                  <a:pt x="1473" y="1923"/>
                </a:lnTo>
                <a:lnTo>
                  <a:pt x="1480" y="1915"/>
                </a:lnTo>
                <a:lnTo>
                  <a:pt x="1484" y="1907"/>
                </a:lnTo>
                <a:lnTo>
                  <a:pt x="1490" y="1898"/>
                </a:lnTo>
                <a:lnTo>
                  <a:pt x="1493" y="1888"/>
                </a:lnTo>
                <a:lnTo>
                  <a:pt x="1497" y="1877"/>
                </a:lnTo>
                <a:lnTo>
                  <a:pt x="1499" y="1866"/>
                </a:lnTo>
                <a:lnTo>
                  <a:pt x="1500" y="1854"/>
                </a:lnTo>
                <a:lnTo>
                  <a:pt x="1500" y="1839"/>
                </a:lnTo>
                <a:lnTo>
                  <a:pt x="1500" y="1639"/>
                </a:lnTo>
                <a:lnTo>
                  <a:pt x="1445" y="1639"/>
                </a:lnTo>
                <a:lnTo>
                  <a:pt x="1445" y="1654"/>
                </a:lnTo>
                <a:close/>
                <a:moveTo>
                  <a:pt x="1445" y="1706"/>
                </a:moveTo>
                <a:lnTo>
                  <a:pt x="1445" y="1793"/>
                </a:lnTo>
                <a:lnTo>
                  <a:pt x="1445" y="1793"/>
                </a:lnTo>
                <a:lnTo>
                  <a:pt x="1438" y="1801"/>
                </a:lnTo>
                <a:lnTo>
                  <a:pt x="1429" y="1808"/>
                </a:lnTo>
                <a:lnTo>
                  <a:pt x="1425" y="1811"/>
                </a:lnTo>
                <a:lnTo>
                  <a:pt x="1419" y="1813"/>
                </a:lnTo>
                <a:lnTo>
                  <a:pt x="1413" y="1814"/>
                </a:lnTo>
                <a:lnTo>
                  <a:pt x="1406" y="1815"/>
                </a:lnTo>
                <a:lnTo>
                  <a:pt x="1406" y="1815"/>
                </a:lnTo>
                <a:lnTo>
                  <a:pt x="1398" y="1814"/>
                </a:lnTo>
                <a:lnTo>
                  <a:pt x="1392" y="1812"/>
                </a:lnTo>
                <a:lnTo>
                  <a:pt x="1384" y="1807"/>
                </a:lnTo>
                <a:lnTo>
                  <a:pt x="1378" y="1802"/>
                </a:lnTo>
                <a:lnTo>
                  <a:pt x="1373" y="1793"/>
                </a:lnTo>
                <a:lnTo>
                  <a:pt x="1369" y="1781"/>
                </a:lnTo>
                <a:lnTo>
                  <a:pt x="1365" y="1765"/>
                </a:lnTo>
                <a:lnTo>
                  <a:pt x="1364" y="1746"/>
                </a:lnTo>
                <a:lnTo>
                  <a:pt x="1364" y="1746"/>
                </a:lnTo>
                <a:lnTo>
                  <a:pt x="1365" y="1728"/>
                </a:lnTo>
                <a:lnTo>
                  <a:pt x="1369" y="1715"/>
                </a:lnTo>
                <a:lnTo>
                  <a:pt x="1373" y="1704"/>
                </a:lnTo>
                <a:lnTo>
                  <a:pt x="1378" y="1696"/>
                </a:lnTo>
                <a:lnTo>
                  <a:pt x="1384" y="1689"/>
                </a:lnTo>
                <a:lnTo>
                  <a:pt x="1392" y="1686"/>
                </a:lnTo>
                <a:lnTo>
                  <a:pt x="1398" y="1684"/>
                </a:lnTo>
                <a:lnTo>
                  <a:pt x="1406" y="1684"/>
                </a:lnTo>
                <a:lnTo>
                  <a:pt x="1406" y="1684"/>
                </a:lnTo>
                <a:lnTo>
                  <a:pt x="1413" y="1684"/>
                </a:lnTo>
                <a:lnTo>
                  <a:pt x="1419" y="1686"/>
                </a:lnTo>
                <a:lnTo>
                  <a:pt x="1426" y="1688"/>
                </a:lnTo>
                <a:lnTo>
                  <a:pt x="1430" y="1690"/>
                </a:lnTo>
                <a:lnTo>
                  <a:pt x="1435" y="1695"/>
                </a:lnTo>
                <a:lnTo>
                  <a:pt x="1439" y="1698"/>
                </a:lnTo>
                <a:lnTo>
                  <a:pt x="1445" y="1706"/>
                </a:lnTo>
                <a:lnTo>
                  <a:pt x="1445" y="1706"/>
                </a:lnTo>
                <a:close/>
                <a:moveTo>
                  <a:pt x="1671" y="1693"/>
                </a:moveTo>
                <a:lnTo>
                  <a:pt x="1671" y="1693"/>
                </a:lnTo>
                <a:lnTo>
                  <a:pt x="1684" y="1686"/>
                </a:lnTo>
                <a:lnTo>
                  <a:pt x="1697" y="1682"/>
                </a:lnTo>
                <a:lnTo>
                  <a:pt x="1712" y="1678"/>
                </a:lnTo>
                <a:lnTo>
                  <a:pt x="1727" y="1677"/>
                </a:lnTo>
                <a:lnTo>
                  <a:pt x="1727" y="1677"/>
                </a:lnTo>
                <a:lnTo>
                  <a:pt x="1737" y="1678"/>
                </a:lnTo>
                <a:lnTo>
                  <a:pt x="1745" y="1679"/>
                </a:lnTo>
                <a:lnTo>
                  <a:pt x="1751" y="1682"/>
                </a:lnTo>
                <a:lnTo>
                  <a:pt x="1757" y="1686"/>
                </a:lnTo>
                <a:lnTo>
                  <a:pt x="1761" y="1690"/>
                </a:lnTo>
                <a:lnTo>
                  <a:pt x="1765" y="1696"/>
                </a:lnTo>
                <a:lnTo>
                  <a:pt x="1767" y="1701"/>
                </a:lnTo>
                <a:lnTo>
                  <a:pt x="1767" y="1709"/>
                </a:lnTo>
                <a:lnTo>
                  <a:pt x="1767" y="1725"/>
                </a:lnTo>
                <a:lnTo>
                  <a:pt x="1767" y="1725"/>
                </a:lnTo>
                <a:lnTo>
                  <a:pt x="1757" y="1720"/>
                </a:lnTo>
                <a:lnTo>
                  <a:pt x="1745" y="1717"/>
                </a:lnTo>
                <a:lnTo>
                  <a:pt x="1733" y="1715"/>
                </a:lnTo>
                <a:lnTo>
                  <a:pt x="1719" y="1714"/>
                </a:lnTo>
                <a:lnTo>
                  <a:pt x="1719" y="1714"/>
                </a:lnTo>
                <a:lnTo>
                  <a:pt x="1704" y="1715"/>
                </a:lnTo>
                <a:lnTo>
                  <a:pt x="1689" y="1718"/>
                </a:lnTo>
                <a:lnTo>
                  <a:pt x="1674" y="1722"/>
                </a:lnTo>
                <a:lnTo>
                  <a:pt x="1667" y="1726"/>
                </a:lnTo>
                <a:lnTo>
                  <a:pt x="1660" y="1730"/>
                </a:lnTo>
                <a:lnTo>
                  <a:pt x="1654" y="1734"/>
                </a:lnTo>
                <a:lnTo>
                  <a:pt x="1649" y="1740"/>
                </a:lnTo>
                <a:lnTo>
                  <a:pt x="1643" y="1746"/>
                </a:lnTo>
                <a:lnTo>
                  <a:pt x="1639" y="1752"/>
                </a:lnTo>
                <a:lnTo>
                  <a:pt x="1636" y="1760"/>
                </a:lnTo>
                <a:lnTo>
                  <a:pt x="1633" y="1769"/>
                </a:lnTo>
                <a:lnTo>
                  <a:pt x="1632" y="1778"/>
                </a:lnTo>
                <a:lnTo>
                  <a:pt x="1631" y="1786"/>
                </a:lnTo>
                <a:lnTo>
                  <a:pt x="1631" y="1786"/>
                </a:lnTo>
                <a:lnTo>
                  <a:pt x="1632" y="1797"/>
                </a:lnTo>
                <a:lnTo>
                  <a:pt x="1633" y="1807"/>
                </a:lnTo>
                <a:lnTo>
                  <a:pt x="1636" y="1815"/>
                </a:lnTo>
                <a:lnTo>
                  <a:pt x="1639" y="1824"/>
                </a:lnTo>
                <a:lnTo>
                  <a:pt x="1642" y="1830"/>
                </a:lnTo>
                <a:lnTo>
                  <a:pt x="1648" y="1837"/>
                </a:lnTo>
                <a:lnTo>
                  <a:pt x="1652" y="1843"/>
                </a:lnTo>
                <a:lnTo>
                  <a:pt x="1659" y="1848"/>
                </a:lnTo>
                <a:lnTo>
                  <a:pt x="1664" y="1853"/>
                </a:lnTo>
                <a:lnTo>
                  <a:pt x="1671" y="1856"/>
                </a:lnTo>
                <a:lnTo>
                  <a:pt x="1685" y="1861"/>
                </a:lnTo>
                <a:lnTo>
                  <a:pt x="1700" y="1865"/>
                </a:lnTo>
                <a:lnTo>
                  <a:pt x="1714" y="1866"/>
                </a:lnTo>
                <a:lnTo>
                  <a:pt x="1714" y="1866"/>
                </a:lnTo>
                <a:lnTo>
                  <a:pt x="1726" y="1864"/>
                </a:lnTo>
                <a:lnTo>
                  <a:pt x="1734" y="1862"/>
                </a:lnTo>
                <a:lnTo>
                  <a:pt x="1740" y="1860"/>
                </a:lnTo>
                <a:lnTo>
                  <a:pt x="1748" y="1857"/>
                </a:lnTo>
                <a:lnTo>
                  <a:pt x="1755" y="1853"/>
                </a:lnTo>
                <a:lnTo>
                  <a:pt x="1761" y="1848"/>
                </a:lnTo>
                <a:lnTo>
                  <a:pt x="1767" y="1843"/>
                </a:lnTo>
                <a:lnTo>
                  <a:pt x="1767" y="1860"/>
                </a:lnTo>
                <a:lnTo>
                  <a:pt x="1822" y="1860"/>
                </a:lnTo>
                <a:lnTo>
                  <a:pt x="1822" y="1710"/>
                </a:lnTo>
                <a:lnTo>
                  <a:pt x="1822" y="1710"/>
                </a:lnTo>
                <a:lnTo>
                  <a:pt x="1822" y="1701"/>
                </a:lnTo>
                <a:lnTo>
                  <a:pt x="1821" y="1694"/>
                </a:lnTo>
                <a:lnTo>
                  <a:pt x="1819" y="1686"/>
                </a:lnTo>
                <a:lnTo>
                  <a:pt x="1817" y="1678"/>
                </a:lnTo>
                <a:lnTo>
                  <a:pt x="1812" y="1672"/>
                </a:lnTo>
                <a:lnTo>
                  <a:pt x="1809" y="1665"/>
                </a:lnTo>
                <a:lnTo>
                  <a:pt x="1803" y="1659"/>
                </a:lnTo>
                <a:lnTo>
                  <a:pt x="1798" y="1654"/>
                </a:lnTo>
                <a:lnTo>
                  <a:pt x="1792" y="1650"/>
                </a:lnTo>
                <a:lnTo>
                  <a:pt x="1786" y="1645"/>
                </a:lnTo>
                <a:lnTo>
                  <a:pt x="1778" y="1642"/>
                </a:lnTo>
                <a:lnTo>
                  <a:pt x="1770" y="1639"/>
                </a:lnTo>
                <a:lnTo>
                  <a:pt x="1761" y="1636"/>
                </a:lnTo>
                <a:lnTo>
                  <a:pt x="1753" y="1635"/>
                </a:lnTo>
                <a:lnTo>
                  <a:pt x="1743" y="1634"/>
                </a:lnTo>
                <a:lnTo>
                  <a:pt x="1733" y="1633"/>
                </a:lnTo>
                <a:lnTo>
                  <a:pt x="1733" y="1633"/>
                </a:lnTo>
                <a:lnTo>
                  <a:pt x="1721" y="1634"/>
                </a:lnTo>
                <a:lnTo>
                  <a:pt x="1711" y="1634"/>
                </a:lnTo>
                <a:lnTo>
                  <a:pt x="1700" y="1636"/>
                </a:lnTo>
                <a:lnTo>
                  <a:pt x="1689" y="1639"/>
                </a:lnTo>
                <a:lnTo>
                  <a:pt x="1679" y="1642"/>
                </a:lnTo>
                <a:lnTo>
                  <a:pt x="1669" y="1645"/>
                </a:lnTo>
                <a:lnTo>
                  <a:pt x="1659" y="1650"/>
                </a:lnTo>
                <a:lnTo>
                  <a:pt x="1649" y="1655"/>
                </a:lnTo>
                <a:lnTo>
                  <a:pt x="1671" y="1693"/>
                </a:lnTo>
                <a:close/>
                <a:moveTo>
                  <a:pt x="1686" y="1786"/>
                </a:moveTo>
                <a:lnTo>
                  <a:pt x="1686" y="1786"/>
                </a:lnTo>
                <a:lnTo>
                  <a:pt x="1686" y="1780"/>
                </a:lnTo>
                <a:lnTo>
                  <a:pt x="1689" y="1773"/>
                </a:lnTo>
                <a:lnTo>
                  <a:pt x="1692" y="1768"/>
                </a:lnTo>
                <a:lnTo>
                  <a:pt x="1696" y="1763"/>
                </a:lnTo>
                <a:lnTo>
                  <a:pt x="1702" y="1760"/>
                </a:lnTo>
                <a:lnTo>
                  <a:pt x="1708" y="1758"/>
                </a:lnTo>
                <a:lnTo>
                  <a:pt x="1716" y="1755"/>
                </a:lnTo>
                <a:lnTo>
                  <a:pt x="1724" y="1755"/>
                </a:lnTo>
                <a:lnTo>
                  <a:pt x="1724" y="1755"/>
                </a:lnTo>
                <a:lnTo>
                  <a:pt x="1736" y="1755"/>
                </a:lnTo>
                <a:lnTo>
                  <a:pt x="1747" y="1758"/>
                </a:lnTo>
                <a:lnTo>
                  <a:pt x="1757" y="1761"/>
                </a:lnTo>
                <a:lnTo>
                  <a:pt x="1767" y="1766"/>
                </a:lnTo>
                <a:lnTo>
                  <a:pt x="1767" y="1796"/>
                </a:lnTo>
                <a:lnTo>
                  <a:pt x="1767" y="1796"/>
                </a:lnTo>
                <a:lnTo>
                  <a:pt x="1765" y="1801"/>
                </a:lnTo>
                <a:lnTo>
                  <a:pt x="1760" y="1805"/>
                </a:lnTo>
                <a:lnTo>
                  <a:pt x="1756" y="1810"/>
                </a:lnTo>
                <a:lnTo>
                  <a:pt x="1750" y="1813"/>
                </a:lnTo>
                <a:lnTo>
                  <a:pt x="1745" y="1816"/>
                </a:lnTo>
                <a:lnTo>
                  <a:pt x="1738" y="1818"/>
                </a:lnTo>
                <a:lnTo>
                  <a:pt x="1732" y="1819"/>
                </a:lnTo>
                <a:lnTo>
                  <a:pt x="1724" y="1821"/>
                </a:lnTo>
                <a:lnTo>
                  <a:pt x="1724" y="1821"/>
                </a:lnTo>
                <a:lnTo>
                  <a:pt x="1716" y="1819"/>
                </a:lnTo>
                <a:lnTo>
                  <a:pt x="1708" y="1817"/>
                </a:lnTo>
                <a:lnTo>
                  <a:pt x="1702" y="1815"/>
                </a:lnTo>
                <a:lnTo>
                  <a:pt x="1696" y="1811"/>
                </a:lnTo>
                <a:lnTo>
                  <a:pt x="1692" y="1806"/>
                </a:lnTo>
                <a:lnTo>
                  <a:pt x="1689" y="1801"/>
                </a:lnTo>
                <a:lnTo>
                  <a:pt x="1687" y="1794"/>
                </a:lnTo>
                <a:lnTo>
                  <a:pt x="1686" y="1786"/>
                </a:lnTo>
                <a:lnTo>
                  <a:pt x="1686" y="1786"/>
                </a:lnTo>
                <a:close/>
                <a:moveTo>
                  <a:pt x="2333" y="1796"/>
                </a:moveTo>
                <a:lnTo>
                  <a:pt x="2333" y="1796"/>
                </a:lnTo>
                <a:lnTo>
                  <a:pt x="2325" y="1803"/>
                </a:lnTo>
                <a:lnTo>
                  <a:pt x="2315" y="1808"/>
                </a:lnTo>
                <a:lnTo>
                  <a:pt x="2310" y="1811"/>
                </a:lnTo>
                <a:lnTo>
                  <a:pt x="2303" y="1813"/>
                </a:lnTo>
                <a:lnTo>
                  <a:pt x="2297" y="1814"/>
                </a:lnTo>
                <a:lnTo>
                  <a:pt x="2290" y="1815"/>
                </a:lnTo>
                <a:lnTo>
                  <a:pt x="2290" y="1815"/>
                </a:lnTo>
                <a:lnTo>
                  <a:pt x="2285" y="1814"/>
                </a:lnTo>
                <a:lnTo>
                  <a:pt x="2278" y="1814"/>
                </a:lnTo>
                <a:lnTo>
                  <a:pt x="2270" y="1812"/>
                </a:lnTo>
                <a:lnTo>
                  <a:pt x="2261" y="1807"/>
                </a:lnTo>
                <a:lnTo>
                  <a:pt x="2254" y="1802"/>
                </a:lnTo>
                <a:lnTo>
                  <a:pt x="2250" y="1797"/>
                </a:lnTo>
                <a:lnTo>
                  <a:pt x="2247" y="1793"/>
                </a:lnTo>
                <a:lnTo>
                  <a:pt x="2245" y="1787"/>
                </a:lnTo>
                <a:lnTo>
                  <a:pt x="2243" y="1781"/>
                </a:lnTo>
                <a:lnTo>
                  <a:pt x="2242" y="1774"/>
                </a:lnTo>
                <a:lnTo>
                  <a:pt x="2240" y="1766"/>
                </a:lnTo>
                <a:lnTo>
                  <a:pt x="2376" y="1766"/>
                </a:lnTo>
                <a:lnTo>
                  <a:pt x="2376" y="1766"/>
                </a:lnTo>
                <a:lnTo>
                  <a:pt x="2377" y="1750"/>
                </a:lnTo>
                <a:lnTo>
                  <a:pt x="2377" y="1750"/>
                </a:lnTo>
                <a:lnTo>
                  <a:pt x="2377" y="1737"/>
                </a:lnTo>
                <a:lnTo>
                  <a:pt x="2375" y="1725"/>
                </a:lnTo>
                <a:lnTo>
                  <a:pt x="2374" y="1712"/>
                </a:lnTo>
                <a:lnTo>
                  <a:pt x="2371" y="1701"/>
                </a:lnTo>
                <a:lnTo>
                  <a:pt x="2367" y="1691"/>
                </a:lnTo>
                <a:lnTo>
                  <a:pt x="2363" y="1682"/>
                </a:lnTo>
                <a:lnTo>
                  <a:pt x="2357" y="1673"/>
                </a:lnTo>
                <a:lnTo>
                  <a:pt x="2352" y="1665"/>
                </a:lnTo>
                <a:lnTo>
                  <a:pt x="2345" y="1657"/>
                </a:lnTo>
                <a:lnTo>
                  <a:pt x="2339" y="1652"/>
                </a:lnTo>
                <a:lnTo>
                  <a:pt x="2331" y="1646"/>
                </a:lnTo>
                <a:lnTo>
                  <a:pt x="2322" y="1642"/>
                </a:lnTo>
                <a:lnTo>
                  <a:pt x="2313" y="1639"/>
                </a:lnTo>
                <a:lnTo>
                  <a:pt x="2304" y="1635"/>
                </a:lnTo>
                <a:lnTo>
                  <a:pt x="2294" y="1634"/>
                </a:lnTo>
                <a:lnTo>
                  <a:pt x="2283" y="1633"/>
                </a:lnTo>
                <a:lnTo>
                  <a:pt x="2283" y="1633"/>
                </a:lnTo>
                <a:lnTo>
                  <a:pt x="2274" y="1634"/>
                </a:lnTo>
                <a:lnTo>
                  <a:pt x="2264" y="1635"/>
                </a:lnTo>
                <a:lnTo>
                  <a:pt x="2254" y="1639"/>
                </a:lnTo>
                <a:lnTo>
                  <a:pt x="2244" y="1642"/>
                </a:lnTo>
                <a:lnTo>
                  <a:pt x="2235" y="1646"/>
                </a:lnTo>
                <a:lnTo>
                  <a:pt x="2227" y="1653"/>
                </a:lnTo>
                <a:lnTo>
                  <a:pt x="2219" y="1658"/>
                </a:lnTo>
                <a:lnTo>
                  <a:pt x="2213" y="1666"/>
                </a:lnTo>
                <a:lnTo>
                  <a:pt x="2206" y="1674"/>
                </a:lnTo>
                <a:lnTo>
                  <a:pt x="2201" y="1683"/>
                </a:lnTo>
                <a:lnTo>
                  <a:pt x="2196" y="1693"/>
                </a:lnTo>
                <a:lnTo>
                  <a:pt x="2192" y="1703"/>
                </a:lnTo>
                <a:lnTo>
                  <a:pt x="2189" y="1714"/>
                </a:lnTo>
                <a:lnTo>
                  <a:pt x="2186" y="1726"/>
                </a:lnTo>
                <a:lnTo>
                  <a:pt x="2185" y="1737"/>
                </a:lnTo>
                <a:lnTo>
                  <a:pt x="2184" y="1750"/>
                </a:lnTo>
                <a:lnTo>
                  <a:pt x="2184" y="1750"/>
                </a:lnTo>
                <a:lnTo>
                  <a:pt x="2185" y="1762"/>
                </a:lnTo>
                <a:lnTo>
                  <a:pt x="2186" y="1774"/>
                </a:lnTo>
                <a:lnTo>
                  <a:pt x="2189" y="1786"/>
                </a:lnTo>
                <a:lnTo>
                  <a:pt x="2192" y="1797"/>
                </a:lnTo>
                <a:lnTo>
                  <a:pt x="2196" y="1807"/>
                </a:lnTo>
                <a:lnTo>
                  <a:pt x="2201" y="1817"/>
                </a:lnTo>
                <a:lnTo>
                  <a:pt x="2206" y="1826"/>
                </a:lnTo>
                <a:lnTo>
                  <a:pt x="2213" y="1834"/>
                </a:lnTo>
                <a:lnTo>
                  <a:pt x="2221" y="1840"/>
                </a:lnTo>
                <a:lnTo>
                  <a:pt x="2228" y="1847"/>
                </a:lnTo>
                <a:lnTo>
                  <a:pt x="2237" y="1853"/>
                </a:lnTo>
                <a:lnTo>
                  <a:pt x="2246" y="1857"/>
                </a:lnTo>
                <a:lnTo>
                  <a:pt x="2256" y="1860"/>
                </a:lnTo>
                <a:lnTo>
                  <a:pt x="2267" y="1864"/>
                </a:lnTo>
                <a:lnTo>
                  <a:pt x="2278" y="1865"/>
                </a:lnTo>
                <a:lnTo>
                  <a:pt x="2290" y="1866"/>
                </a:lnTo>
                <a:lnTo>
                  <a:pt x="2290" y="1866"/>
                </a:lnTo>
                <a:lnTo>
                  <a:pt x="2301" y="1865"/>
                </a:lnTo>
                <a:lnTo>
                  <a:pt x="2311" y="1864"/>
                </a:lnTo>
                <a:lnTo>
                  <a:pt x="2322" y="1860"/>
                </a:lnTo>
                <a:lnTo>
                  <a:pt x="2332" y="1857"/>
                </a:lnTo>
                <a:lnTo>
                  <a:pt x="2342" y="1851"/>
                </a:lnTo>
                <a:lnTo>
                  <a:pt x="2351" y="1846"/>
                </a:lnTo>
                <a:lnTo>
                  <a:pt x="2360" y="1838"/>
                </a:lnTo>
                <a:lnTo>
                  <a:pt x="2368" y="1830"/>
                </a:lnTo>
                <a:lnTo>
                  <a:pt x="2333" y="1796"/>
                </a:lnTo>
                <a:close/>
                <a:moveTo>
                  <a:pt x="2242" y="1726"/>
                </a:moveTo>
                <a:lnTo>
                  <a:pt x="2242" y="1726"/>
                </a:lnTo>
                <a:lnTo>
                  <a:pt x="2243" y="1716"/>
                </a:lnTo>
                <a:lnTo>
                  <a:pt x="2245" y="1707"/>
                </a:lnTo>
                <a:lnTo>
                  <a:pt x="2248" y="1699"/>
                </a:lnTo>
                <a:lnTo>
                  <a:pt x="2254" y="1693"/>
                </a:lnTo>
                <a:lnTo>
                  <a:pt x="2259" y="1687"/>
                </a:lnTo>
                <a:lnTo>
                  <a:pt x="2266" y="1684"/>
                </a:lnTo>
                <a:lnTo>
                  <a:pt x="2274" y="1680"/>
                </a:lnTo>
                <a:lnTo>
                  <a:pt x="2282" y="1680"/>
                </a:lnTo>
                <a:lnTo>
                  <a:pt x="2282" y="1680"/>
                </a:lnTo>
                <a:lnTo>
                  <a:pt x="2292" y="1682"/>
                </a:lnTo>
                <a:lnTo>
                  <a:pt x="2301" y="1684"/>
                </a:lnTo>
                <a:lnTo>
                  <a:pt x="2308" y="1688"/>
                </a:lnTo>
                <a:lnTo>
                  <a:pt x="2313" y="1695"/>
                </a:lnTo>
                <a:lnTo>
                  <a:pt x="2318" y="1701"/>
                </a:lnTo>
                <a:lnTo>
                  <a:pt x="2321" y="1709"/>
                </a:lnTo>
                <a:lnTo>
                  <a:pt x="2323" y="1718"/>
                </a:lnTo>
                <a:lnTo>
                  <a:pt x="2324" y="1726"/>
                </a:lnTo>
                <a:lnTo>
                  <a:pt x="2242" y="1726"/>
                </a:lnTo>
                <a:close/>
                <a:moveTo>
                  <a:pt x="2864" y="1796"/>
                </a:moveTo>
                <a:lnTo>
                  <a:pt x="2864" y="1796"/>
                </a:lnTo>
                <a:lnTo>
                  <a:pt x="2855" y="1803"/>
                </a:lnTo>
                <a:lnTo>
                  <a:pt x="2846" y="1808"/>
                </a:lnTo>
                <a:lnTo>
                  <a:pt x="2840" y="1811"/>
                </a:lnTo>
                <a:lnTo>
                  <a:pt x="2834" y="1813"/>
                </a:lnTo>
                <a:lnTo>
                  <a:pt x="2828" y="1814"/>
                </a:lnTo>
                <a:lnTo>
                  <a:pt x="2820" y="1815"/>
                </a:lnTo>
                <a:lnTo>
                  <a:pt x="2820" y="1815"/>
                </a:lnTo>
                <a:lnTo>
                  <a:pt x="2814" y="1814"/>
                </a:lnTo>
                <a:lnTo>
                  <a:pt x="2808" y="1814"/>
                </a:lnTo>
                <a:lnTo>
                  <a:pt x="2800" y="1812"/>
                </a:lnTo>
                <a:lnTo>
                  <a:pt x="2792" y="1807"/>
                </a:lnTo>
                <a:lnTo>
                  <a:pt x="2784" y="1802"/>
                </a:lnTo>
                <a:lnTo>
                  <a:pt x="2781" y="1797"/>
                </a:lnTo>
                <a:lnTo>
                  <a:pt x="2778" y="1793"/>
                </a:lnTo>
                <a:lnTo>
                  <a:pt x="2776" y="1787"/>
                </a:lnTo>
                <a:lnTo>
                  <a:pt x="2773" y="1781"/>
                </a:lnTo>
                <a:lnTo>
                  <a:pt x="2771" y="1774"/>
                </a:lnTo>
                <a:lnTo>
                  <a:pt x="2770" y="1766"/>
                </a:lnTo>
                <a:lnTo>
                  <a:pt x="2907" y="1766"/>
                </a:lnTo>
                <a:lnTo>
                  <a:pt x="2907" y="1766"/>
                </a:lnTo>
                <a:lnTo>
                  <a:pt x="2908" y="1750"/>
                </a:lnTo>
                <a:lnTo>
                  <a:pt x="2908" y="1750"/>
                </a:lnTo>
                <a:lnTo>
                  <a:pt x="2907" y="1737"/>
                </a:lnTo>
                <a:lnTo>
                  <a:pt x="2906" y="1725"/>
                </a:lnTo>
                <a:lnTo>
                  <a:pt x="2904" y="1712"/>
                </a:lnTo>
                <a:lnTo>
                  <a:pt x="2901" y="1701"/>
                </a:lnTo>
                <a:lnTo>
                  <a:pt x="2897" y="1691"/>
                </a:lnTo>
                <a:lnTo>
                  <a:pt x="2893" y="1682"/>
                </a:lnTo>
                <a:lnTo>
                  <a:pt x="2888" y="1673"/>
                </a:lnTo>
                <a:lnTo>
                  <a:pt x="2883" y="1665"/>
                </a:lnTo>
                <a:lnTo>
                  <a:pt x="2876" y="1657"/>
                </a:lnTo>
                <a:lnTo>
                  <a:pt x="2868" y="1652"/>
                </a:lnTo>
                <a:lnTo>
                  <a:pt x="2861" y="1646"/>
                </a:lnTo>
                <a:lnTo>
                  <a:pt x="2853" y="1642"/>
                </a:lnTo>
                <a:lnTo>
                  <a:pt x="2844" y="1639"/>
                </a:lnTo>
                <a:lnTo>
                  <a:pt x="2834" y="1635"/>
                </a:lnTo>
                <a:lnTo>
                  <a:pt x="2824" y="1634"/>
                </a:lnTo>
                <a:lnTo>
                  <a:pt x="2814" y="1633"/>
                </a:lnTo>
                <a:lnTo>
                  <a:pt x="2814" y="1633"/>
                </a:lnTo>
                <a:lnTo>
                  <a:pt x="2803" y="1634"/>
                </a:lnTo>
                <a:lnTo>
                  <a:pt x="2793" y="1635"/>
                </a:lnTo>
                <a:lnTo>
                  <a:pt x="2783" y="1639"/>
                </a:lnTo>
                <a:lnTo>
                  <a:pt x="2775" y="1642"/>
                </a:lnTo>
                <a:lnTo>
                  <a:pt x="2766" y="1646"/>
                </a:lnTo>
                <a:lnTo>
                  <a:pt x="2757" y="1653"/>
                </a:lnTo>
                <a:lnTo>
                  <a:pt x="2750" y="1658"/>
                </a:lnTo>
                <a:lnTo>
                  <a:pt x="2743" y="1666"/>
                </a:lnTo>
                <a:lnTo>
                  <a:pt x="2736" y="1674"/>
                </a:lnTo>
                <a:lnTo>
                  <a:pt x="2730" y="1683"/>
                </a:lnTo>
                <a:lnTo>
                  <a:pt x="2726" y="1693"/>
                </a:lnTo>
                <a:lnTo>
                  <a:pt x="2722" y="1703"/>
                </a:lnTo>
                <a:lnTo>
                  <a:pt x="2719" y="1714"/>
                </a:lnTo>
                <a:lnTo>
                  <a:pt x="2716" y="1726"/>
                </a:lnTo>
                <a:lnTo>
                  <a:pt x="2715" y="1737"/>
                </a:lnTo>
                <a:lnTo>
                  <a:pt x="2715" y="1750"/>
                </a:lnTo>
                <a:lnTo>
                  <a:pt x="2715" y="1750"/>
                </a:lnTo>
                <a:lnTo>
                  <a:pt x="2715" y="1762"/>
                </a:lnTo>
                <a:lnTo>
                  <a:pt x="2716" y="1774"/>
                </a:lnTo>
                <a:lnTo>
                  <a:pt x="2718" y="1786"/>
                </a:lnTo>
                <a:lnTo>
                  <a:pt x="2722" y="1797"/>
                </a:lnTo>
                <a:lnTo>
                  <a:pt x="2726" y="1807"/>
                </a:lnTo>
                <a:lnTo>
                  <a:pt x="2732" y="1817"/>
                </a:lnTo>
                <a:lnTo>
                  <a:pt x="2737" y="1826"/>
                </a:lnTo>
                <a:lnTo>
                  <a:pt x="2744" y="1834"/>
                </a:lnTo>
                <a:lnTo>
                  <a:pt x="2750" y="1840"/>
                </a:lnTo>
                <a:lnTo>
                  <a:pt x="2758" y="1847"/>
                </a:lnTo>
                <a:lnTo>
                  <a:pt x="2767" y="1853"/>
                </a:lnTo>
                <a:lnTo>
                  <a:pt x="2777" y="1857"/>
                </a:lnTo>
                <a:lnTo>
                  <a:pt x="2787" y="1860"/>
                </a:lnTo>
                <a:lnTo>
                  <a:pt x="2797" y="1864"/>
                </a:lnTo>
                <a:lnTo>
                  <a:pt x="2809" y="1865"/>
                </a:lnTo>
                <a:lnTo>
                  <a:pt x="2820" y="1866"/>
                </a:lnTo>
                <a:lnTo>
                  <a:pt x="2820" y="1866"/>
                </a:lnTo>
                <a:lnTo>
                  <a:pt x="2831" y="1865"/>
                </a:lnTo>
                <a:lnTo>
                  <a:pt x="2842" y="1864"/>
                </a:lnTo>
                <a:lnTo>
                  <a:pt x="2852" y="1860"/>
                </a:lnTo>
                <a:lnTo>
                  <a:pt x="2862" y="1857"/>
                </a:lnTo>
                <a:lnTo>
                  <a:pt x="2872" y="1851"/>
                </a:lnTo>
                <a:lnTo>
                  <a:pt x="2882" y="1846"/>
                </a:lnTo>
                <a:lnTo>
                  <a:pt x="2890" y="1838"/>
                </a:lnTo>
                <a:lnTo>
                  <a:pt x="2898" y="1830"/>
                </a:lnTo>
                <a:lnTo>
                  <a:pt x="2864" y="1796"/>
                </a:lnTo>
                <a:close/>
                <a:moveTo>
                  <a:pt x="2771" y="1726"/>
                </a:moveTo>
                <a:lnTo>
                  <a:pt x="2771" y="1726"/>
                </a:lnTo>
                <a:lnTo>
                  <a:pt x="2772" y="1716"/>
                </a:lnTo>
                <a:lnTo>
                  <a:pt x="2776" y="1707"/>
                </a:lnTo>
                <a:lnTo>
                  <a:pt x="2779" y="1699"/>
                </a:lnTo>
                <a:lnTo>
                  <a:pt x="2783" y="1693"/>
                </a:lnTo>
                <a:lnTo>
                  <a:pt x="2790" y="1687"/>
                </a:lnTo>
                <a:lnTo>
                  <a:pt x="2797" y="1684"/>
                </a:lnTo>
                <a:lnTo>
                  <a:pt x="2804" y="1680"/>
                </a:lnTo>
                <a:lnTo>
                  <a:pt x="2813" y="1680"/>
                </a:lnTo>
                <a:lnTo>
                  <a:pt x="2813" y="1680"/>
                </a:lnTo>
                <a:lnTo>
                  <a:pt x="2823" y="1682"/>
                </a:lnTo>
                <a:lnTo>
                  <a:pt x="2831" y="1684"/>
                </a:lnTo>
                <a:lnTo>
                  <a:pt x="2839" y="1688"/>
                </a:lnTo>
                <a:lnTo>
                  <a:pt x="2844" y="1695"/>
                </a:lnTo>
                <a:lnTo>
                  <a:pt x="2849" y="1701"/>
                </a:lnTo>
                <a:lnTo>
                  <a:pt x="2852" y="1709"/>
                </a:lnTo>
                <a:lnTo>
                  <a:pt x="2854" y="1718"/>
                </a:lnTo>
                <a:lnTo>
                  <a:pt x="2855" y="1726"/>
                </a:lnTo>
                <a:lnTo>
                  <a:pt x="2771" y="1726"/>
                </a:lnTo>
                <a:close/>
                <a:moveTo>
                  <a:pt x="2639" y="1783"/>
                </a:moveTo>
                <a:lnTo>
                  <a:pt x="2639" y="1783"/>
                </a:lnTo>
                <a:lnTo>
                  <a:pt x="2639" y="1791"/>
                </a:lnTo>
                <a:lnTo>
                  <a:pt x="2640" y="1796"/>
                </a:lnTo>
                <a:lnTo>
                  <a:pt x="2642" y="1802"/>
                </a:lnTo>
                <a:lnTo>
                  <a:pt x="2644" y="1806"/>
                </a:lnTo>
                <a:lnTo>
                  <a:pt x="2648" y="1810"/>
                </a:lnTo>
                <a:lnTo>
                  <a:pt x="2652" y="1812"/>
                </a:lnTo>
                <a:lnTo>
                  <a:pt x="2656" y="1813"/>
                </a:lnTo>
                <a:lnTo>
                  <a:pt x="2663" y="1813"/>
                </a:lnTo>
                <a:lnTo>
                  <a:pt x="2663" y="1813"/>
                </a:lnTo>
                <a:lnTo>
                  <a:pt x="2671" y="1813"/>
                </a:lnTo>
                <a:lnTo>
                  <a:pt x="2680" y="1811"/>
                </a:lnTo>
                <a:lnTo>
                  <a:pt x="2688" y="1807"/>
                </a:lnTo>
                <a:lnTo>
                  <a:pt x="2696" y="1803"/>
                </a:lnTo>
                <a:lnTo>
                  <a:pt x="2690" y="1855"/>
                </a:lnTo>
                <a:lnTo>
                  <a:pt x="2690" y="1855"/>
                </a:lnTo>
                <a:lnTo>
                  <a:pt x="2680" y="1859"/>
                </a:lnTo>
                <a:lnTo>
                  <a:pt x="2668" y="1862"/>
                </a:lnTo>
                <a:lnTo>
                  <a:pt x="2655" y="1865"/>
                </a:lnTo>
                <a:lnTo>
                  <a:pt x="2643" y="1866"/>
                </a:lnTo>
                <a:lnTo>
                  <a:pt x="2643" y="1866"/>
                </a:lnTo>
                <a:lnTo>
                  <a:pt x="2636" y="1865"/>
                </a:lnTo>
                <a:lnTo>
                  <a:pt x="2628" y="1864"/>
                </a:lnTo>
                <a:lnTo>
                  <a:pt x="2621" y="1861"/>
                </a:lnTo>
                <a:lnTo>
                  <a:pt x="2616" y="1859"/>
                </a:lnTo>
                <a:lnTo>
                  <a:pt x="2610" y="1856"/>
                </a:lnTo>
                <a:lnTo>
                  <a:pt x="2605" y="1853"/>
                </a:lnTo>
                <a:lnTo>
                  <a:pt x="2601" y="1848"/>
                </a:lnTo>
                <a:lnTo>
                  <a:pt x="2597" y="1843"/>
                </a:lnTo>
                <a:lnTo>
                  <a:pt x="2591" y="1833"/>
                </a:lnTo>
                <a:lnTo>
                  <a:pt x="2587" y="1821"/>
                </a:lnTo>
                <a:lnTo>
                  <a:pt x="2585" y="1810"/>
                </a:lnTo>
                <a:lnTo>
                  <a:pt x="2584" y="1797"/>
                </a:lnTo>
                <a:lnTo>
                  <a:pt x="2584" y="1689"/>
                </a:lnTo>
                <a:lnTo>
                  <a:pt x="2549" y="1689"/>
                </a:lnTo>
                <a:lnTo>
                  <a:pt x="2549" y="1639"/>
                </a:lnTo>
                <a:lnTo>
                  <a:pt x="2584" y="1639"/>
                </a:lnTo>
                <a:lnTo>
                  <a:pt x="2584" y="1581"/>
                </a:lnTo>
                <a:lnTo>
                  <a:pt x="2639" y="1554"/>
                </a:lnTo>
                <a:lnTo>
                  <a:pt x="2639" y="1639"/>
                </a:lnTo>
                <a:lnTo>
                  <a:pt x="2688" y="1639"/>
                </a:lnTo>
                <a:lnTo>
                  <a:pt x="2688" y="1689"/>
                </a:lnTo>
                <a:lnTo>
                  <a:pt x="2639" y="1689"/>
                </a:lnTo>
                <a:lnTo>
                  <a:pt x="2639" y="1783"/>
                </a:lnTo>
                <a:close/>
                <a:moveTo>
                  <a:pt x="2532" y="1855"/>
                </a:moveTo>
                <a:lnTo>
                  <a:pt x="2532" y="1855"/>
                </a:lnTo>
                <a:lnTo>
                  <a:pt x="2522" y="1859"/>
                </a:lnTo>
                <a:lnTo>
                  <a:pt x="2511" y="1862"/>
                </a:lnTo>
                <a:lnTo>
                  <a:pt x="2499" y="1865"/>
                </a:lnTo>
                <a:lnTo>
                  <a:pt x="2487" y="1866"/>
                </a:lnTo>
                <a:lnTo>
                  <a:pt x="2487" y="1866"/>
                </a:lnTo>
                <a:lnTo>
                  <a:pt x="2478" y="1865"/>
                </a:lnTo>
                <a:lnTo>
                  <a:pt x="2471" y="1864"/>
                </a:lnTo>
                <a:lnTo>
                  <a:pt x="2464" y="1861"/>
                </a:lnTo>
                <a:lnTo>
                  <a:pt x="2458" y="1859"/>
                </a:lnTo>
                <a:lnTo>
                  <a:pt x="2453" y="1856"/>
                </a:lnTo>
                <a:lnTo>
                  <a:pt x="2448" y="1853"/>
                </a:lnTo>
                <a:lnTo>
                  <a:pt x="2443" y="1848"/>
                </a:lnTo>
                <a:lnTo>
                  <a:pt x="2440" y="1843"/>
                </a:lnTo>
                <a:lnTo>
                  <a:pt x="2434" y="1833"/>
                </a:lnTo>
                <a:lnTo>
                  <a:pt x="2430" y="1821"/>
                </a:lnTo>
                <a:lnTo>
                  <a:pt x="2427" y="1810"/>
                </a:lnTo>
                <a:lnTo>
                  <a:pt x="2427" y="1797"/>
                </a:lnTo>
                <a:lnTo>
                  <a:pt x="2427" y="1689"/>
                </a:lnTo>
                <a:lnTo>
                  <a:pt x="2393" y="1689"/>
                </a:lnTo>
                <a:lnTo>
                  <a:pt x="2393" y="1639"/>
                </a:lnTo>
                <a:lnTo>
                  <a:pt x="2427" y="1639"/>
                </a:lnTo>
                <a:lnTo>
                  <a:pt x="2427" y="1581"/>
                </a:lnTo>
                <a:lnTo>
                  <a:pt x="2482" y="1554"/>
                </a:lnTo>
                <a:lnTo>
                  <a:pt x="2482" y="1639"/>
                </a:lnTo>
                <a:lnTo>
                  <a:pt x="2528" y="1639"/>
                </a:lnTo>
                <a:lnTo>
                  <a:pt x="2528" y="1689"/>
                </a:lnTo>
                <a:lnTo>
                  <a:pt x="2482" y="1689"/>
                </a:lnTo>
                <a:lnTo>
                  <a:pt x="2482" y="1783"/>
                </a:lnTo>
                <a:lnTo>
                  <a:pt x="2482" y="1783"/>
                </a:lnTo>
                <a:lnTo>
                  <a:pt x="2482" y="1791"/>
                </a:lnTo>
                <a:lnTo>
                  <a:pt x="2483" y="1796"/>
                </a:lnTo>
                <a:lnTo>
                  <a:pt x="2485" y="1802"/>
                </a:lnTo>
                <a:lnTo>
                  <a:pt x="2488" y="1806"/>
                </a:lnTo>
                <a:lnTo>
                  <a:pt x="2491" y="1810"/>
                </a:lnTo>
                <a:lnTo>
                  <a:pt x="2495" y="1812"/>
                </a:lnTo>
                <a:lnTo>
                  <a:pt x="2500" y="1813"/>
                </a:lnTo>
                <a:lnTo>
                  <a:pt x="2505" y="1813"/>
                </a:lnTo>
                <a:lnTo>
                  <a:pt x="2505" y="1813"/>
                </a:lnTo>
                <a:lnTo>
                  <a:pt x="2514" y="1813"/>
                </a:lnTo>
                <a:lnTo>
                  <a:pt x="2523" y="1811"/>
                </a:lnTo>
                <a:lnTo>
                  <a:pt x="2531" y="1807"/>
                </a:lnTo>
                <a:lnTo>
                  <a:pt x="2538" y="1803"/>
                </a:lnTo>
                <a:lnTo>
                  <a:pt x="2532" y="1855"/>
                </a:lnTo>
                <a:close/>
                <a:moveTo>
                  <a:pt x="3074" y="1700"/>
                </a:moveTo>
                <a:lnTo>
                  <a:pt x="3074" y="1700"/>
                </a:lnTo>
                <a:lnTo>
                  <a:pt x="3066" y="1695"/>
                </a:lnTo>
                <a:lnTo>
                  <a:pt x="3057" y="1691"/>
                </a:lnTo>
                <a:lnTo>
                  <a:pt x="3047" y="1689"/>
                </a:lnTo>
                <a:lnTo>
                  <a:pt x="3037" y="1688"/>
                </a:lnTo>
                <a:lnTo>
                  <a:pt x="3037" y="1688"/>
                </a:lnTo>
                <a:lnTo>
                  <a:pt x="3028" y="1689"/>
                </a:lnTo>
                <a:lnTo>
                  <a:pt x="3020" y="1691"/>
                </a:lnTo>
                <a:lnTo>
                  <a:pt x="3013" y="1696"/>
                </a:lnTo>
                <a:lnTo>
                  <a:pt x="3007" y="1701"/>
                </a:lnTo>
                <a:lnTo>
                  <a:pt x="3003" y="1708"/>
                </a:lnTo>
                <a:lnTo>
                  <a:pt x="3001" y="1717"/>
                </a:lnTo>
                <a:lnTo>
                  <a:pt x="2999" y="1728"/>
                </a:lnTo>
                <a:lnTo>
                  <a:pt x="2998" y="1740"/>
                </a:lnTo>
                <a:lnTo>
                  <a:pt x="2998" y="1860"/>
                </a:lnTo>
                <a:lnTo>
                  <a:pt x="2943" y="1860"/>
                </a:lnTo>
                <a:lnTo>
                  <a:pt x="2943" y="1639"/>
                </a:lnTo>
                <a:lnTo>
                  <a:pt x="2998" y="1639"/>
                </a:lnTo>
                <a:lnTo>
                  <a:pt x="2998" y="1657"/>
                </a:lnTo>
                <a:lnTo>
                  <a:pt x="2998" y="1657"/>
                </a:lnTo>
                <a:lnTo>
                  <a:pt x="3003" y="1652"/>
                </a:lnTo>
                <a:lnTo>
                  <a:pt x="3009" y="1646"/>
                </a:lnTo>
                <a:lnTo>
                  <a:pt x="3014" y="1643"/>
                </a:lnTo>
                <a:lnTo>
                  <a:pt x="3021" y="1640"/>
                </a:lnTo>
                <a:lnTo>
                  <a:pt x="3026" y="1636"/>
                </a:lnTo>
                <a:lnTo>
                  <a:pt x="3033" y="1635"/>
                </a:lnTo>
                <a:lnTo>
                  <a:pt x="3039" y="1634"/>
                </a:lnTo>
                <a:lnTo>
                  <a:pt x="3047" y="1633"/>
                </a:lnTo>
                <a:lnTo>
                  <a:pt x="3047" y="1633"/>
                </a:lnTo>
                <a:lnTo>
                  <a:pt x="3058" y="1634"/>
                </a:lnTo>
                <a:lnTo>
                  <a:pt x="3069" y="1637"/>
                </a:lnTo>
                <a:lnTo>
                  <a:pt x="3079" y="1641"/>
                </a:lnTo>
                <a:lnTo>
                  <a:pt x="3088" y="1646"/>
                </a:lnTo>
                <a:lnTo>
                  <a:pt x="3074" y="1700"/>
                </a:lnTo>
                <a:close/>
                <a:moveTo>
                  <a:pt x="593" y="1579"/>
                </a:moveTo>
                <a:lnTo>
                  <a:pt x="593" y="1607"/>
                </a:lnTo>
                <a:lnTo>
                  <a:pt x="537" y="1607"/>
                </a:lnTo>
                <a:lnTo>
                  <a:pt x="537" y="1551"/>
                </a:lnTo>
                <a:lnTo>
                  <a:pt x="593" y="1551"/>
                </a:lnTo>
                <a:lnTo>
                  <a:pt x="593" y="1579"/>
                </a:lnTo>
                <a:close/>
                <a:moveTo>
                  <a:pt x="975" y="1639"/>
                </a:moveTo>
                <a:lnTo>
                  <a:pt x="1030" y="1639"/>
                </a:lnTo>
                <a:lnTo>
                  <a:pt x="1030" y="1738"/>
                </a:lnTo>
                <a:lnTo>
                  <a:pt x="1030" y="1860"/>
                </a:lnTo>
                <a:lnTo>
                  <a:pt x="975" y="1860"/>
                </a:lnTo>
                <a:lnTo>
                  <a:pt x="975" y="1639"/>
                </a:lnTo>
                <a:close/>
                <a:moveTo>
                  <a:pt x="1030" y="1579"/>
                </a:moveTo>
                <a:lnTo>
                  <a:pt x="1030" y="1607"/>
                </a:lnTo>
                <a:lnTo>
                  <a:pt x="975" y="1607"/>
                </a:lnTo>
                <a:lnTo>
                  <a:pt x="975" y="1551"/>
                </a:lnTo>
                <a:lnTo>
                  <a:pt x="1030" y="1551"/>
                </a:lnTo>
                <a:lnTo>
                  <a:pt x="1030" y="1579"/>
                </a:lnTo>
                <a:close/>
                <a:moveTo>
                  <a:pt x="2539" y="2042"/>
                </a:moveTo>
                <a:lnTo>
                  <a:pt x="2539" y="2042"/>
                </a:lnTo>
                <a:lnTo>
                  <a:pt x="2534" y="2038"/>
                </a:lnTo>
                <a:lnTo>
                  <a:pt x="2528" y="2033"/>
                </a:lnTo>
                <a:lnTo>
                  <a:pt x="2523" y="2030"/>
                </a:lnTo>
                <a:lnTo>
                  <a:pt x="2516" y="2027"/>
                </a:lnTo>
                <a:lnTo>
                  <a:pt x="2511" y="2025"/>
                </a:lnTo>
                <a:lnTo>
                  <a:pt x="2504" y="2024"/>
                </a:lnTo>
                <a:lnTo>
                  <a:pt x="2490" y="2021"/>
                </a:lnTo>
                <a:lnTo>
                  <a:pt x="2490" y="2021"/>
                </a:lnTo>
                <a:lnTo>
                  <a:pt x="2480" y="2022"/>
                </a:lnTo>
                <a:lnTo>
                  <a:pt x="2471" y="2024"/>
                </a:lnTo>
                <a:lnTo>
                  <a:pt x="2462" y="2027"/>
                </a:lnTo>
                <a:lnTo>
                  <a:pt x="2453" y="2030"/>
                </a:lnTo>
                <a:lnTo>
                  <a:pt x="2446" y="2035"/>
                </a:lnTo>
                <a:lnTo>
                  <a:pt x="2439" y="2039"/>
                </a:lnTo>
                <a:lnTo>
                  <a:pt x="2432" y="2046"/>
                </a:lnTo>
                <a:lnTo>
                  <a:pt x="2426" y="2052"/>
                </a:lnTo>
                <a:lnTo>
                  <a:pt x="2421" y="2060"/>
                </a:lnTo>
                <a:lnTo>
                  <a:pt x="2416" y="2069"/>
                </a:lnTo>
                <a:lnTo>
                  <a:pt x="2413" y="2078"/>
                </a:lnTo>
                <a:lnTo>
                  <a:pt x="2409" y="2089"/>
                </a:lnTo>
                <a:lnTo>
                  <a:pt x="2406" y="2099"/>
                </a:lnTo>
                <a:lnTo>
                  <a:pt x="2405" y="2111"/>
                </a:lnTo>
                <a:lnTo>
                  <a:pt x="2404" y="2123"/>
                </a:lnTo>
                <a:lnTo>
                  <a:pt x="2403" y="2136"/>
                </a:lnTo>
                <a:lnTo>
                  <a:pt x="2403" y="2136"/>
                </a:lnTo>
                <a:lnTo>
                  <a:pt x="2404" y="2149"/>
                </a:lnTo>
                <a:lnTo>
                  <a:pt x="2405" y="2161"/>
                </a:lnTo>
                <a:lnTo>
                  <a:pt x="2406" y="2174"/>
                </a:lnTo>
                <a:lnTo>
                  <a:pt x="2409" y="2186"/>
                </a:lnTo>
                <a:lnTo>
                  <a:pt x="2411" y="2196"/>
                </a:lnTo>
                <a:lnTo>
                  <a:pt x="2416" y="2206"/>
                </a:lnTo>
                <a:lnTo>
                  <a:pt x="2420" y="2214"/>
                </a:lnTo>
                <a:lnTo>
                  <a:pt x="2426" y="2222"/>
                </a:lnTo>
                <a:lnTo>
                  <a:pt x="2431" y="2230"/>
                </a:lnTo>
                <a:lnTo>
                  <a:pt x="2438" y="2235"/>
                </a:lnTo>
                <a:lnTo>
                  <a:pt x="2445" y="2241"/>
                </a:lnTo>
                <a:lnTo>
                  <a:pt x="2452" y="2245"/>
                </a:lnTo>
                <a:lnTo>
                  <a:pt x="2461" y="2250"/>
                </a:lnTo>
                <a:lnTo>
                  <a:pt x="2470" y="2252"/>
                </a:lnTo>
                <a:lnTo>
                  <a:pt x="2479" y="2253"/>
                </a:lnTo>
                <a:lnTo>
                  <a:pt x="2489" y="2254"/>
                </a:lnTo>
                <a:lnTo>
                  <a:pt x="2489" y="2254"/>
                </a:lnTo>
                <a:lnTo>
                  <a:pt x="2495" y="2253"/>
                </a:lnTo>
                <a:lnTo>
                  <a:pt x="2503" y="2252"/>
                </a:lnTo>
                <a:lnTo>
                  <a:pt x="2510" y="2251"/>
                </a:lnTo>
                <a:lnTo>
                  <a:pt x="2515" y="2249"/>
                </a:lnTo>
                <a:lnTo>
                  <a:pt x="2522" y="2245"/>
                </a:lnTo>
                <a:lnTo>
                  <a:pt x="2528" y="2242"/>
                </a:lnTo>
                <a:lnTo>
                  <a:pt x="2534" y="2238"/>
                </a:lnTo>
                <a:lnTo>
                  <a:pt x="2539" y="2232"/>
                </a:lnTo>
                <a:lnTo>
                  <a:pt x="2539" y="2249"/>
                </a:lnTo>
                <a:lnTo>
                  <a:pt x="2595" y="2249"/>
                </a:lnTo>
                <a:lnTo>
                  <a:pt x="2595" y="1934"/>
                </a:lnTo>
                <a:lnTo>
                  <a:pt x="2539" y="1962"/>
                </a:lnTo>
                <a:lnTo>
                  <a:pt x="2539" y="2042"/>
                </a:lnTo>
                <a:close/>
                <a:moveTo>
                  <a:pt x="2501" y="2203"/>
                </a:moveTo>
                <a:lnTo>
                  <a:pt x="2501" y="2203"/>
                </a:lnTo>
                <a:lnTo>
                  <a:pt x="2493" y="2202"/>
                </a:lnTo>
                <a:lnTo>
                  <a:pt x="2487" y="2200"/>
                </a:lnTo>
                <a:lnTo>
                  <a:pt x="2479" y="2197"/>
                </a:lnTo>
                <a:lnTo>
                  <a:pt x="2472" y="2190"/>
                </a:lnTo>
                <a:lnTo>
                  <a:pt x="2467" y="2181"/>
                </a:lnTo>
                <a:lnTo>
                  <a:pt x="2462" y="2169"/>
                </a:lnTo>
                <a:lnTo>
                  <a:pt x="2460" y="2154"/>
                </a:lnTo>
                <a:lnTo>
                  <a:pt x="2459" y="2134"/>
                </a:lnTo>
                <a:lnTo>
                  <a:pt x="2459" y="2134"/>
                </a:lnTo>
                <a:lnTo>
                  <a:pt x="2460" y="2117"/>
                </a:lnTo>
                <a:lnTo>
                  <a:pt x="2462" y="2103"/>
                </a:lnTo>
                <a:lnTo>
                  <a:pt x="2467" y="2092"/>
                </a:lnTo>
                <a:lnTo>
                  <a:pt x="2472" y="2084"/>
                </a:lnTo>
                <a:lnTo>
                  <a:pt x="2479" y="2079"/>
                </a:lnTo>
                <a:lnTo>
                  <a:pt x="2485" y="2074"/>
                </a:lnTo>
                <a:lnTo>
                  <a:pt x="2493" y="2073"/>
                </a:lnTo>
                <a:lnTo>
                  <a:pt x="2500" y="2072"/>
                </a:lnTo>
                <a:lnTo>
                  <a:pt x="2500" y="2072"/>
                </a:lnTo>
                <a:lnTo>
                  <a:pt x="2507" y="2073"/>
                </a:lnTo>
                <a:lnTo>
                  <a:pt x="2514" y="2074"/>
                </a:lnTo>
                <a:lnTo>
                  <a:pt x="2520" y="2076"/>
                </a:lnTo>
                <a:lnTo>
                  <a:pt x="2525" y="2080"/>
                </a:lnTo>
                <a:lnTo>
                  <a:pt x="2530" y="2083"/>
                </a:lnTo>
                <a:lnTo>
                  <a:pt x="2534" y="2086"/>
                </a:lnTo>
                <a:lnTo>
                  <a:pt x="2539" y="2094"/>
                </a:lnTo>
                <a:lnTo>
                  <a:pt x="2539" y="2181"/>
                </a:lnTo>
                <a:lnTo>
                  <a:pt x="2539" y="2181"/>
                </a:lnTo>
                <a:lnTo>
                  <a:pt x="2533" y="2189"/>
                </a:lnTo>
                <a:lnTo>
                  <a:pt x="2525" y="2196"/>
                </a:lnTo>
                <a:lnTo>
                  <a:pt x="2520" y="2199"/>
                </a:lnTo>
                <a:lnTo>
                  <a:pt x="2514" y="2201"/>
                </a:lnTo>
                <a:lnTo>
                  <a:pt x="2507" y="2202"/>
                </a:lnTo>
                <a:lnTo>
                  <a:pt x="2501" y="2203"/>
                </a:lnTo>
                <a:lnTo>
                  <a:pt x="2501" y="2203"/>
                </a:lnTo>
                <a:close/>
                <a:moveTo>
                  <a:pt x="672" y="2089"/>
                </a:moveTo>
                <a:lnTo>
                  <a:pt x="672" y="2089"/>
                </a:lnTo>
                <a:lnTo>
                  <a:pt x="664" y="2084"/>
                </a:lnTo>
                <a:lnTo>
                  <a:pt x="656" y="2080"/>
                </a:lnTo>
                <a:lnTo>
                  <a:pt x="646" y="2078"/>
                </a:lnTo>
                <a:lnTo>
                  <a:pt x="636" y="2076"/>
                </a:lnTo>
                <a:lnTo>
                  <a:pt x="636" y="2076"/>
                </a:lnTo>
                <a:lnTo>
                  <a:pt x="627" y="2078"/>
                </a:lnTo>
                <a:lnTo>
                  <a:pt x="618" y="2080"/>
                </a:lnTo>
                <a:lnTo>
                  <a:pt x="611" y="2084"/>
                </a:lnTo>
                <a:lnTo>
                  <a:pt x="606" y="2090"/>
                </a:lnTo>
                <a:lnTo>
                  <a:pt x="601" y="2096"/>
                </a:lnTo>
                <a:lnTo>
                  <a:pt x="599" y="2105"/>
                </a:lnTo>
                <a:lnTo>
                  <a:pt x="597" y="2116"/>
                </a:lnTo>
                <a:lnTo>
                  <a:pt x="596" y="2128"/>
                </a:lnTo>
                <a:lnTo>
                  <a:pt x="596" y="2249"/>
                </a:lnTo>
                <a:lnTo>
                  <a:pt x="542" y="2249"/>
                </a:lnTo>
                <a:lnTo>
                  <a:pt x="542" y="2027"/>
                </a:lnTo>
                <a:lnTo>
                  <a:pt x="596" y="2027"/>
                </a:lnTo>
                <a:lnTo>
                  <a:pt x="596" y="2046"/>
                </a:lnTo>
                <a:lnTo>
                  <a:pt x="596" y="2046"/>
                </a:lnTo>
                <a:lnTo>
                  <a:pt x="601" y="2040"/>
                </a:lnTo>
                <a:lnTo>
                  <a:pt x="607" y="2035"/>
                </a:lnTo>
                <a:lnTo>
                  <a:pt x="613" y="2031"/>
                </a:lnTo>
                <a:lnTo>
                  <a:pt x="619" y="2028"/>
                </a:lnTo>
                <a:lnTo>
                  <a:pt x="625" y="2025"/>
                </a:lnTo>
                <a:lnTo>
                  <a:pt x="631" y="2024"/>
                </a:lnTo>
                <a:lnTo>
                  <a:pt x="639" y="2022"/>
                </a:lnTo>
                <a:lnTo>
                  <a:pt x="646" y="2021"/>
                </a:lnTo>
                <a:lnTo>
                  <a:pt x="646" y="2021"/>
                </a:lnTo>
                <a:lnTo>
                  <a:pt x="657" y="2022"/>
                </a:lnTo>
                <a:lnTo>
                  <a:pt x="668" y="2026"/>
                </a:lnTo>
                <a:lnTo>
                  <a:pt x="679" y="2030"/>
                </a:lnTo>
                <a:lnTo>
                  <a:pt x="688" y="2036"/>
                </a:lnTo>
                <a:lnTo>
                  <a:pt x="672" y="2089"/>
                </a:lnTo>
                <a:close/>
                <a:moveTo>
                  <a:pt x="241" y="2027"/>
                </a:moveTo>
                <a:lnTo>
                  <a:pt x="295" y="2027"/>
                </a:lnTo>
                <a:lnTo>
                  <a:pt x="232" y="2249"/>
                </a:lnTo>
                <a:lnTo>
                  <a:pt x="184" y="2249"/>
                </a:lnTo>
                <a:lnTo>
                  <a:pt x="160" y="2157"/>
                </a:lnTo>
                <a:lnTo>
                  <a:pt x="160" y="2157"/>
                </a:lnTo>
                <a:lnTo>
                  <a:pt x="148" y="2108"/>
                </a:lnTo>
                <a:lnTo>
                  <a:pt x="148" y="2108"/>
                </a:lnTo>
                <a:lnTo>
                  <a:pt x="142" y="2132"/>
                </a:lnTo>
                <a:lnTo>
                  <a:pt x="136" y="2158"/>
                </a:lnTo>
                <a:lnTo>
                  <a:pt x="110" y="2249"/>
                </a:lnTo>
                <a:lnTo>
                  <a:pt x="63" y="2249"/>
                </a:lnTo>
                <a:lnTo>
                  <a:pt x="63" y="2247"/>
                </a:lnTo>
                <a:lnTo>
                  <a:pt x="0" y="2027"/>
                </a:lnTo>
                <a:lnTo>
                  <a:pt x="57" y="2027"/>
                </a:lnTo>
                <a:lnTo>
                  <a:pt x="77" y="2110"/>
                </a:lnTo>
                <a:lnTo>
                  <a:pt x="77" y="2110"/>
                </a:lnTo>
                <a:lnTo>
                  <a:pt x="83" y="2136"/>
                </a:lnTo>
                <a:lnTo>
                  <a:pt x="88" y="2164"/>
                </a:lnTo>
                <a:lnTo>
                  <a:pt x="88" y="2164"/>
                </a:lnTo>
                <a:lnTo>
                  <a:pt x="95" y="2136"/>
                </a:lnTo>
                <a:lnTo>
                  <a:pt x="102" y="2108"/>
                </a:lnTo>
                <a:lnTo>
                  <a:pt x="125" y="2027"/>
                </a:lnTo>
                <a:lnTo>
                  <a:pt x="172" y="2027"/>
                </a:lnTo>
                <a:lnTo>
                  <a:pt x="195" y="2108"/>
                </a:lnTo>
                <a:lnTo>
                  <a:pt x="195" y="2108"/>
                </a:lnTo>
                <a:lnTo>
                  <a:pt x="202" y="2135"/>
                </a:lnTo>
                <a:lnTo>
                  <a:pt x="209" y="2165"/>
                </a:lnTo>
                <a:lnTo>
                  <a:pt x="209" y="2165"/>
                </a:lnTo>
                <a:lnTo>
                  <a:pt x="213" y="2139"/>
                </a:lnTo>
                <a:lnTo>
                  <a:pt x="220" y="2108"/>
                </a:lnTo>
                <a:lnTo>
                  <a:pt x="241" y="2027"/>
                </a:lnTo>
                <a:close/>
                <a:moveTo>
                  <a:pt x="406" y="2021"/>
                </a:moveTo>
                <a:lnTo>
                  <a:pt x="406" y="2021"/>
                </a:lnTo>
                <a:lnTo>
                  <a:pt x="396" y="2022"/>
                </a:lnTo>
                <a:lnTo>
                  <a:pt x="385" y="2024"/>
                </a:lnTo>
                <a:lnTo>
                  <a:pt x="375" y="2027"/>
                </a:lnTo>
                <a:lnTo>
                  <a:pt x="366" y="2030"/>
                </a:lnTo>
                <a:lnTo>
                  <a:pt x="358" y="2035"/>
                </a:lnTo>
                <a:lnTo>
                  <a:pt x="349" y="2040"/>
                </a:lnTo>
                <a:lnTo>
                  <a:pt x="341" y="2047"/>
                </a:lnTo>
                <a:lnTo>
                  <a:pt x="334" y="2054"/>
                </a:lnTo>
                <a:lnTo>
                  <a:pt x="328" y="2062"/>
                </a:lnTo>
                <a:lnTo>
                  <a:pt x="322" y="2071"/>
                </a:lnTo>
                <a:lnTo>
                  <a:pt x="317" y="2081"/>
                </a:lnTo>
                <a:lnTo>
                  <a:pt x="313" y="2091"/>
                </a:lnTo>
                <a:lnTo>
                  <a:pt x="310" y="2102"/>
                </a:lnTo>
                <a:lnTo>
                  <a:pt x="308" y="2113"/>
                </a:lnTo>
                <a:lnTo>
                  <a:pt x="306" y="2125"/>
                </a:lnTo>
                <a:lnTo>
                  <a:pt x="306" y="2138"/>
                </a:lnTo>
                <a:lnTo>
                  <a:pt x="306" y="2138"/>
                </a:lnTo>
                <a:lnTo>
                  <a:pt x="306" y="2150"/>
                </a:lnTo>
                <a:lnTo>
                  <a:pt x="308" y="2163"/>
                </a:lnTo>
                <a:lnTo>
                  <a:pt x="310" y="2174"/>
                </a:lnTo>
                <a:lnTo>
                  <a:pt x="313" y="2185"/>
                </a:lnTo>
                <a:lnTo>
                  <a:pt x="317" y="2194"/>
                </a:lnTo>
                <a:lnTo>
                  <a:pt x="322" y="2204"/>
                </a:lnTo>
                <a:lnTo>
                  <a:pt x="328" y="2213"/>
                </a:lnTo>
                <a:lnTo>
                  <a:pt x="334" y="2221"/>
                </a:lnTo>
                <a:lnTo>
                  <a:pt x="341" y="2229"/>
                </a:lnTo>
                <a:lnTo>
                  <a:pt x="349" y="2235"/>
                </a:lnTo>
                <a:lnTo>
                  <a:pt x="358" y="2241"/>
                </a:lnTo>
                <a:lnTo>
                  <a:pt x="366" y="2245"/>
                </a:lnTo>
                <a:lnTo>
                  <a:pt x="375" y="2249"/>
                </a:lnTo>
                <a:lnTo>
                  <a:pt x="385" y="2252"/>
                </a:lnTo>
                <a:lnTo>
                  <a:pt x="396" y="2253"/>
                </a:lnTo>
                <a:lnTo>
                  <a:pt x="406" y="2254"/>
                </a:lnTo>
                <a:lnTo>
                  <a:pt x="406" y="2254"/>
                </a:lnTo>
                <a:lnTo>
                  <a:pt x="417" y="2253"/>
                </a:lnTo>
                <a:lnTo>
                  <a:pt x="428" y="2252"/>
                </a:lnTo>
                <a:lnTo>
                  <a:pt x="438" y="2249"/>
                </a:lnTo>
                <a:lnTo>
                  <a:pt x="447" y="2245"/>
                </a:lnTo>
                <a:lnTo>
                  <a:pt x="456" y="2241"/>
                </a:lnTo>
                <a:lnTo>
                  <a:pt x="465" y="2235"/>
                </a:lnTo>
                <a:lnTo>
                  <a:pt x="472" y="2229"/>
                </a:lnTo>
                <a:lnTo>
                  <a:pt x="479" y="2221"/>
                </a:lnTo>
                <a:lnTo>
                  <a:pt x="486" y="2213"/>
                </a:lnTo>
                <a:lnTo>
                  <a:pt x="491" y="2204"/>
                </a:lnTo>
                <a:lnTo>
                  <a:pt x="496" y="2194"/>
                </a:lnTo>
                <a:lnTo>
                  <a:pt x="500" y="2185"/>
                </a:lnTo>
                <a:lnTo>
                  <a:pt x="503" y="2174"/>
                </a:lnTo>
                <a:lnTo>
                  <a:pt x="505" y="2163"/>
                </a:lnTo>
                <a:lnTo>
                  <a:pt x="508" y="2150"/>
                </a:lnTo>
                <a:lnTo>
                  <a:pt x="508" y="2138"/>
                </a:lnTo>
                <a:lnTo>
                  <a:pt x="508" y="2138"/>
                </a:lnTo>
                <a:lnTo>
                  <a:pt x="508" y="2125"/>
                </a:lnTo>
                <a:lnTo>
                  <a:pt x="505" y="2113"/>
                </a:lnTo>
                <a:lnTo>
                  <a:pt x="503" y="2102"/>
                </a:lnTo>
                <a:lnTo>
                  <a:pt x="500" y="2091"/>
                </a:lnTo>
                <a:lnTo>
                  <a:pt x="496" y="2081"/>
                </a:lnTo>
                <a:lnTo>
                  <a:pt x="491" y="2071"/>
                </a:lnTo>
                <a:lnTo>
                  <a:pt x="486" y="2062"/>
                </a:lnTo>
                <a:lnTo>
                  <a:pt x="479" y="2054"/>
                </a:lnTo>
                <a:lnTo>
                  <a:pt x="472" y="2047"/>
                </a:lnTo>
                <a:lnTo>
                  <a:pt x="465" y="2040"/>
                </a:lnTo>
                <a:lnTo>
                  <a:pt x="456" y="2035"/>
                </a:lnTo>
                <a:lnTo>
                  <a:pt x="447" y="2030"/>
                </a:lnTo>
                <a:lnTo>
                  <a:pt x="438" y="2027"/>
                </a:lnTo>
                <a:lnTo>
                  <a:pt x="428" y="2024"/>
                </a:lnTo>
                <a:lnTo>
                  <a:pt x="417" y="2022"/>
                </a:lnTo>
                <a:lnTo>
                  <a:pt x="406" y="2021"/>
                </a:lnTo>
                <a:lnTo>
                  <a:pt x="406" y="2021"/>
                </a:lnTo>
                <a:close/>
                <a:moveTo>
                  <a:pt x="406" y="2202"/>
                </a:moveTo>
                <a:lnTo>
                  <a:pt x="406" y="2202"/>
                </a:lnTo>
                <a:lnTo>
                  <a:pt x="396" y="2201"/>
                </a:lnTo>
                <a:lnTo>
                  <a:pt x="387" y="2198"/>
                </a:lnTo>
                <a:lnTo>
                  <a:pt x="381" y="2192"/>
                </a:lnTo>
                <a:lnTo>
                  <a:pt x="374" y="2185"/>
                </a:lnTo>
                <a:lnTo>
                  <a:pt x="369" y="2176"/>
                </a:lnTo>
                <a:lnTo>
                  <a:pt x="364" y="2165"/>
                </a:lnTo>
                <a:lnTo>
                  <a:pt x="362" y="2151"/>
                </a:lnTo>
                <a:lnTo>
                  <a:pt x="362" y="2138"/>
                </a:lnTo>
                <a:lnTo>
                  <a:pt x="362" y="2138"/>
                </a:lnTo>
                <a:lnTo>
                  <a:pt x="362" y="2124"/>
                </a:lnTo>
                <a:lnTo>
                  <a:pt x="364" y="2111"/>
                </a:lnTo>
                <a:lnTo>
                  <a:pt x="369" y="2101"/>
                </a:lnTo>
                <a:lnTo>
                  <a:pt x="374" y="2091"/>
                </a:lnTo>
                <a:lnTo>
                  <a:pt x="381" y="2083"/>
                </a:lnTo>
                <a:lnTo>
                  <a:pt x="387" y="2078"/>
                </a:lnTo>
                <a:lnTo>
                  <a:pt x="396" y="2074"/>
                </a:lnTo>
                <a:lnTo>
                  <a:pt x="406" y="2073"/>
                </a:lnTo>
                <a:lnTo>
                  <a:pt x="406" y="2073"/>
                </a:lnTo>
                <a:lnTo>
                  <a:pt x="416" y="2074"/>
                </a:lnTo>
                <a:lnTo>
                  <a:pt x="425" y="2078"/>
                </a:lnTo>
                <a:lnTo>
                  <a:pt x="433" y="2083"/>
                </a:lnTo>
                <a:lnTo>
                  <a:pt x="439" y="2091"/>
                </a:lnTo>
                <a:lnTo>
                  <a:pt x="445" y="2101"/>
                </a:lnTo>
                <a:lnTo>
                  <a:pt x="448" y="2111"/>
                </a:lnTo>
                <a:lnTo>
                  <a:pt x="450" y="2124"/>
                </a:lnTo>
                <a:lnTo>
                  <a:pt x="451" y="2138"/>
                </a:lnTo>
                <a:lnTo>
                  <a:pt x="451" y="2138"/>
                </a:lnTo>
                <a:lnTo>
                  <a:pt x="450" y="2151"/>
                </a:lnTo>
                <a:lnTo>
                  <a:pt x="448" y="2165"/>
                </a:lnTo>
                <a:lnTo>
                  <a:pt x="445" y="2176"/>
                </a:lnTo>
                <a:lnTo>
                  <a:pt x="439" y="2185"/>
                </a:lnTo>
                <a:lnTo>
                  <a:pt x="433" y="2192"/>
                </a:lnTo>
                <a:lnTo>
                  <a:pt x="425" y="2198"/>
                </a:lnTo>
                <a:lnTo>
                  <a:pt x="416" y="2201"/>
                </a:lnTo>
                <a:lnTo>
                  <a:pt x="406" y="2202"/>
                </a:lnTo>
                <a:lnTo>
                  <a:pt x="406" y="2202"/>
                </a:lnTo>
                <a:close/>
                <a:moveTo>
                  <a:pt x="2269" y="2089"/>
                </a:moveTo>
                <a:lnTo>
                  <a:pt x="2269" y="2089"/>
                </a:lnTo>
                <a:lnTo>
                  <a:pt x="2260" y="2084"/>
                </a:lnTo>
                <a:lnTo>
                  <a:pt x="2251" y="2080"/>
                </a:lnTo>
                <a:lnTo>
                  <a:pt x="2242" y="2078"/>
                </a:lnTo>
                <a:lnTo>
                  <a:pt x="2233" y="2076"/>
                </a:lnTo>
                <a:lnTo>
                  <a:pt x="2233" y="2076"/>
                </a:lnTo>
                <a:lnTo>
                  <a:pt x="2223" y="2078"/>
                </a:lnTo>
                <a:lnTo>
                  <a:pt x="2215" y="2080"/>
                </a:lnTo>
                <a:lnTo>
                  <a:pt x="2208" y="2084"/>
                </a:lnTo>
                <a:lnTo>
                  <a:pt x="2203" y="2090"/>
                </a:lnTo>
                <a:lnTo>
                  <a:pt x="2198" y="2096"/>
                </a:lnTo>
                <a:lnTo>
                  <a:pt x="2195" y="2105"/>
                </a:lnTo>
                <a:lnTo>
                  <a:pt x="2193" y="2116"/>
                </a:lnTo>
                <a:lnTo>
                  <a:pt x="2193" y="2128"/>
                </a:lnTo>
                <a:lnTo>
                  <a:pt x="2193" y="2249"/>
                </a:lnTo>
                <a:lnTo>
                  <a:pt x="2138" y="2249"/>
                </a:lnTo>
                <a:lnTo>
                  <a:pt x="2138" y="2027"/>
                </a:lnTo>
                <a:lnTo>
                  <a:pt x="2193" y="2027"/>
                </a:lnTo>
                <a:lnTo>
                  <a:pt x="2193" y="2046"/>
                </a:lnTo>
                <a:lnTo>
                  <a:pt x="2193" y="2046"/>
                </a:lnTo>
                <a:lnTo>
                  <a:pt x="2197" y="2040"/>
                </a:lnTo>
                <a:lnTo>
                  <a:pt x="2203" y="2035"/>
                </a:lnTo>
                <a:lnTo>
                  <a:pt x="2208" y="2031"/>
                </a:lnTo>
                <a:lnTo>
                  <a:pt x="2215" y="2028"/>
                </a:lnTo>
                <a:lnTo>
                  <a:pt x="2222" y="2025"/>
                </a:lnTo>
                <a:lnTo>
                  <a:pt x="2228" y="2024"/>
                </a:lnTo>
                <a:lnTo>
                  <a:pt x="2235" y="2022"/>
                </a:lnTo>
                <a:lnTo>
                  <a:pt x="2242" y="2021"/>
                </a:lnTo>
                <a:lnTo>
                  <a:pt x="2242" y="2021"/>
                </a:lnTo>
                <a:lnTo>
                  <a:pt x="2253" y="2022"/>
                </a:lnTo>
                <a:lnTo>
                  <a:pt x="2264" y="2026"/>
                </a:lnTo>
                <a:lnTo>
                  <a:pt x="2275" y="2030"/>
                </a:lnTo>
                <a:lnTo>
                  <a:pt x="2283" y="2036"/>
                </a:lnTo>
                <a:lnTo>
                  <a:pt x="2269" y="2089"/>
                </a:lnTo>
                <a:close/>
                <a:moveTo>
                  <a:pt x="1836" y="2027"/>
                </a:moveTo>
                <a:lnTo>
                  <a:pt x="1891" y="2027"/>
                </a:lnTo>
                <a:lnTo>
                  <a:pt x="1828" y="2249"/>
                </a:lnTo>
                <a:lnTo>
                  <a:pt x="1780" y="2249"/>
                </a:lnTo>
                <a:lnTo>
                  <a:pt x="1756" y="2157"/>
                </a:lnTo>
                <a:lnTo>
                  <a:pt x="1756" y="2157"/>
                </a:lnTo>
                <a:lnTo>
                  <a:pt x="1744" y="2108"/>
                </a:lnTo>
                <a:lnTo>
                  <a:pt x="1744" y="2108"/>
                </a:lnTo>
                <a:lnTo>
                  <a:pt x="1738" y="2132"/>
                </a:lnTo>
                <a:lnTo>
                  <a:pt x="1732" y="2158"/>
                </a:lnTo>
                <a:lnTo>
                  <a:pt x="1707" y="2249"/>
                </a:lnTo>
                <a:lnTo>
                  <a:pt x="1660" y="2249"/>
                </a:lnTo>
                <a:lnTo>
                  <a:pt x="1659" y="2247"/>
                </a:lnTo>
                <a:lnTo>
                  <a:pt x="1597" y="2027"/>
                </a:lnTo>
                <a:lnTo>
                  <a:pt x="1653" y="2027"/>
                </a:lnTo>
                <a:lnTo>
                  <a:pt x="1674" y="2110"/>
                </a:lnTo>
                <a:lnTo>
                  <a:pt x="1674" y="2110"/>
                </a:lnTo>
                <a:lnTo>
                  <a:pt x="1680" y="2136"/>
                </a:lnTo>
                <a:lnTo>
                  <a:pt x="1685" y="2164"/>
                </a:lnTo>
                <a:lnTo>
                  <a:pt x="1685" y="2164"/>
                </a:lnTo>
                <a:lnTo>
                  <a:pt x="1691" y="2136"/>
                </a:lnTo>
                <a:lnTo>
                  <a:pt x="1699" y="2108"/>
                </a:lnTo>
                <a:lnTo>
                  <a:pt x="1722" y="2027"/>
                </a:lnTo>
                <a:lnTo>
                  <a:pt x="1768" y="2027"/>
                </a:lnTo>
                <a:lnTo>
                  <a:pt x="1791" y="2108"/>
                </a:lnTo>
                <a:lnTo>
                  <a:pt x="1791" y="2108"/>
                </a:lnTo>
                <a:lnTo>
                  <a:pt x="1798" y="2135"/>
                </a:lnTo>
                <a:lnTo>
                  <a:pt x="1804" y="2165"/>
                </a:lnTo>
                <a:lnTo>
                  <a:pt x="1804" y="2165"/>
                </a:lnTo>
                <a:lnTo>
                  <a:pt x="1810" y="2139"/>
                </a:lnTo>
                <a:lnTo>
                  <a:pt x="1817" y="2108"/>
                </a:lnTo>
                <a:lnTo>
                  <a:pt x="1836" y="2027"/>
                </a:lnTo>
                <a:close/>
                <a:moveTo>
                  <a:pt x="2002" y="2021"/>
                </a:moveTo>
                <a:lnTo>
                  <a:pt x="2002" y="2021"/>
                </a:lnTo>
                <a:lnTo>
                  <a:pt x="1992" y="2022"/>
                </a:lnTo>
                <a:lnTo>
                  <a:pt x="1981" y="2024"/>
                </a:lnTo>
                <a:lnTo>
                  <a:pt x="1971" y="2027"/>
                </a:lnTo>
                <a:lnTo>
                  <a:pt x="1962" y="2030"/>
                </a:lnTo>
                <a:lnTo>
                  <a:pt x="1953" y="2035"/>
                </a:lnTo>
                <a:lnTo>
                  <a:pt x="1945" y="2041"/>
                </a:lnTo>
                <a:lnTo>
                  <a:pt x="1937" y="2047"/>
                </a:lnTo>
                <a:lnTo>
                  <a:pt x="1930" y="2054"/>
                </a:lnTo>
                <a:lnTo>
                  <a:pt x="1924" y="2062"/>
                </a:lnTo>
                <a:lnTo>
                  <a:pt x="1918" y="2071"/>
                </a:lnTo>
                <a:lnTo>
                  <a:pt x="1913" y="2081"/>
                </a:lnTo>
                <a:lnTo>
                  <a:pt x="1909" y="2091"/>
                </a:lnTo>
                <a:lnTo>
                  <a:pt x="1906" y="2102"/>
                </a:lnTo>
                <a:lnTo>
                  <a:pt x="1903" y="2114"/>
                </a:lnTo>
                <a:lnTo>
                  <a:pt x="1902" y="2125"/>
                </a:lnTo>
                <a:lnTo>
                  <a:pt x="1902" y="2138"/>
                </a:lnTo>
                <a:lnTo>
                  <a:pt x="1902" y="2138"/>
                </a:lnTo>
                <a:lnTo>
                  <a:pt x="1902" y="2150"/>
                </a:lnTo>
                <a:lnTo>
                  <a:pt x="1903" y="2163"/>
                </a:lnTo>
                <a:lnTo>
                  <a:pt x="1906" y="2174"/>
                </a:lnTo>
                <a:lnTo>
                  <a:pt x="1909" y="2185"/>
                </a:lnTo>
                <a:lnTo>
                  <a:pt x="1913" y="2194"/>
                </a:lnTo>
                <a:lnTo>
                  <a:pt x="1918" y="2204"/>
                </a:lnTo>
                <a:lnTo>
                  <a:pt x="1924" y="2213"/>
                </a:lnTo>
                <a:lnTo>
                  <a:pt x="1930" y="2221"/>
                </a:lnTo>
                <a:lnTo>
                  <a:pt x="1937" y="2229"/>
                </a:lnTo>
                <a:lnTo>
                  <a:pt x="1945" y="2235"/>
                </a:lnTo>
                <a:lnTo>
                  <a:pt x="1953" y="2241"/>
                </a:lnTo>
                <a:lnTo>
                  <a:pt x="1962" y="2245"/>
                </a:lnTo>
                <a:lnTo>
                  <a:pt x="1971" y="2249"/>
                </a:lnTo>
                <a:lnTo>
                  <a:pt x="1981" y="2252"/>
                </a:lnTo>
                <a:lnTo>
                  <a:pt x="1992" y="2253"/>
                </a:lnTo>
                <a:lnTo>
                  <a:pt x="2002" y="2254"/>
                </a:lnTo>
                <a:lnTo>
                  <a:pt x="2002" y="2254"/>
                </a:lnTo>
                <a:lnTo>
                  <a:pt x="2013" y="2253"/>
                </a:lnTo>
                <a:lnTo>
                  <a:pt x="2024" y="2252"/>
                </a:lnTo>
                <a:lnTo>
                  <a:pt x="2034" y="2249"/>
                </a:lnTo>
                <a:lnTo>
                  <a:pt x="2043" y="2245"/>
                </a:lnTo>
                <a:lnTo>
                  <a:pt x="2052" y="2241"/>
                </a:lnTo>
                <a:lnTo>
                  <a:pt x="2061" y="2235"/>
                </a:lnTo>
                <a:lnTo>
                  <a:pt x="2068" y="2229"/>
                </a:lnTo>
                <a:lnTo>
                  <a:pt x="2075" y="2221"/>
                </a:lnTo>
                <a:lnTo>
                  <a:pt x="2081" y="2213"/>
                </a:lnTo>
                <a:lnTo>
                  <a:pt x="2087" y="2204"/>
                </a:lnTo>
                <a:lnTo>
                  <a:pt x="2091" y="2194"/>
                </a:lnTo>
                <a:lnTo>
                  <a:pt x="2096" y="2185"/>
                </a:lnTo>
                <a:lnTo>
                  <a:pt x="2099" y="2174"/>
                </a:lnTo>
                <a:lnTo>
                  <a:pt x="2101" y="2163"/>
                </a:lnTo>
                <a:lnTo>
                  <a:pt x="2104" y="2150"/>
                </a:lnTo>
                <a:lnTo>
                  <a:pt x="2104" y="2138"/>
                </a:lnTo>
                <a:lnTo>
                  <a:pt x="2104" y="2138"/>
                </a:lnTo>
                <a:lnTo>
                  <a:pt x="2104" y="2125"/>
                </a:lnTo>
                <a:lnTo>
                  <a:pt x="2101" y="2114"/>
                </a:lnTo>
                <a:lnTo>
                  <a:pt x="2099" y="2102"/>
                </a:lnTo>
                <a:lnTo>
                  <a:pt x="2096" y="2091"/>
                </a:lnTo>
                <a:lnTo>
                  <a:pt x="2091" y="2081"/>
                </a:lnTo>
                <a:lnTo>
                  <a:pt x="2087" y="2071"/>
                </a:lnTo>
                <a:lnTo>
                  <a:pt x="2081" y="2062"/>
                </a:lnTo>
                <a:lnTo>
                  <a:pt x="2075" y="2054"/>
                </a:lnTo>
                <a:lnTo>
                  <a:pt x="2068" y="2047"/>
                </a:lnTo>
                <a:lnTo>
                  <a:pt x="2061" y="2041"/>
                </a:lnTo>
                <a:lnTo>
                  <a:pt x="2052" y="2035"/>
                </a:lnTo>
                <a:lnTo>
                  <a:pt x="2043" y="2030"/>
                </a:lnTo>
                <a:lnTo>
                  <a:pt x="2034" y="2027"/>
                </a:lnTo>
                <a:lnTo>
                  <a:pt x="2024" y="2024"/>
                </a:lnTo>
                <a:lnTo>
                  <a:pt x="2013" y="2022"/>
                </a:lnTo>
                <a:lnTo>
                  <a:pt x="2002" y="2021"/>
                </a:lnTo>
                <a:lnTo>
                  <a:pt x="2002" y="2021"/>
                </a:lnTo>
                <a:close/>
                <a:moveTo>
                  <a:pt x="2002" y="2202"/>
                </a:moveTo>
                <a:lnTo>
                  <a:pt x="2002" y="2202"/>
                </a:lnTo>
                <a:lnTo>
                  <a:pt x="1992" y="2201"/>
                </a:lnTo>
                <a:lnTo>
                  <a:pt x="1984" y="2198"/>
                </a:lnTo>
                <a:lnTo>
                  <a:pt x="1977" y="2192"/>
                </a:lnTo>
                <a:lnTo>
                  <a:pt x="1970" y="2185"/>
                </a:lnTo>
                <a:lnTo>
                  <a:pt x="1964" y="2176"/>
                </a:lnTo>
                <a:lnTo>
                  <a:pt x="1960" y="2165"/>
                </a:lnTo>
                <a:lnTo>
                  <a:pt x="1958" y="2151"/>
                </a:lnTo>
                <a:lnTo>
                  <a:pt x="1958" y="2138"/>
                </a:lnTo>
                <a:lnTo>
                  <a:pt x="1958" y="2138"/>
                </a:lnTo>
                <a:lnTo>
                  <a:pt x="1958" y="2124"/>
                </a:lnTo>
                <a:lnTo>
                  <a:pt x="1960" y="2112"/>
                </a:lnTo>
                <a:lnTo>
                  <a:pt x="1964" y="2101"/>
                </a:lnTo>
                <a:lnTo>
                  <a:pt x="1970" y="2091"/>
                </a:lnTo>
                <a:lnTo>
                  <a:pt x="1977" y="2083"/>
                </a:lnTo>
                <a:lnTo>
                  <a:pt x="1984" y="2078"/>
                </a:lnTo>
                <a:lnTo>
                  <a:pt x="1992" y="2074"/>
                </a:lnTo>
                <a:lnTo>
                  <a:pt x="2002" y="2073"/>
                </a:lnTo>
                <a:lnTo>
                  <a:pt x="2002" y="2073"/>
                </a:lnTo>
                <a:lnTo>
                  <a:pt x="2012" y="2074"/>
                </a:lnTo>
                <a:lnTo>
                  <a:pt x="2021" y="2078"/>
                </a:lnTo>
                <a:lnTo>
                  <a:pt x="2029" y="2083"/>
                </a:lnTo>
                <a:lnTo>
                  <a:pt x="2035" y="2091"/>
                </a:lnTo>
                <a:lnTo>
                  <a:pt x="2041" y="2101"/>
                </a:lnTo>
                <a:lnTo>
                  <a:pt x="2044" y="2112"/>
                </a:lnTo>
                <a:lnTo>
                  <a:pt x="2046" y="2124"/>
                </a:lnTo>
                <a:lnTo>
                  <a:pt x="2047" y="2138"/>
                </a:lnTo>
                <a:lnTo>
                  <a:pt x="2047" y="2138"/>
                </a:lnTo>
                <a:lnTo>
                  <a:pt x="2046" y="2151"/>
                </a:lnTo>
                <a:lnTo>
                  <a:pt x="2044" y="2165"/>
                </a:lnTo>
                <a:lnTo>
                  <a:pt x="2041" y="2176"/>
                </a:lnTo>
                <a:lnTo>
                  <a:pt x="2035" y="2185"/>
                </a:lnTo>
                <a:lnTo>
                  <a:pt x="2029" y="2192"/>
                </a:lnTo>
                <a:lnTo>
                  <a:pt x="2021" y="2198"/>
                </a:lnTo>
                <a:lnTo>
                  <a:pt x="2012" y="2201"/>
                </a:lnTo>
                <a:lnTo>
                  <a:pt x="2002" y="2202"/>
                </a:lnTo>
                <a:lnTo>
                  <a:pt x="2002" y="2202"/>
                </a:lnTo>
                <a:close/>
                <a:moveTo>
                  <a:pt x="837" y="2100"/>
                </a:moveTo>
                <a:lnTo>
                  <a:pt x="904" y="2249"/>
                </a:lnTo>
                <a:lnTo>
                  <a:pt x="843" y="2249"/>
                </a:lnTo>
                <a:lnTo>
                  <a:pt x="797" y="2146"/>
                </a:lnTo>
                <a:lnTo>
                  <a:pt x="767" y="2182"/>
                </a:lnTo>
                <a:lnTo>
                  <a:pt x="767" y="2249"/>
                </a:lnTo>
                <a:lnTo>
                  <a:pt x="713" y="2249"/>
                </a:lnTo>
                <a:lnTo>
                  <a:pt x="713" y="1962"/>
                </a:lnTo>
                <a:lnTo>
                  <a:pt x="767" y="1934"/>
                </a:lnTo>
                <a:lnTo>
                  <a:pt x="767" y="2112"/>
                </a:lnTo>
                <a:lnTo>
                  <a:pt x="767" y="2112"/>
                </a:lnTo>
                <a:lnTo>
                  <a:pt x="788" y="2083"/>
                </a:lnTo>
                <a:lnTo>
                  <a:pt x="832" y="2027"/>
                </a:lnTo>
                <a:lnTo>
                  <a:pt x="896" y="2027"/>
                </a:lnTo>
                <a:lnTo>
                  <a:pt x="837" y="2100"/>
                </a:lnTo>
                <a:close/>
                <a:moveTo>
                  <a:pt x="1097" y="2249"/>
                </a:moveTo>
                <a:lnTo>
                  <a:pt x="1042" y="2249"/>
                </a:lnTo>
                <a:lnTo>
                  <a:pt x="1042" y="2027"/>
                </a:lnTo>
                <a:lnTo>
                  <a:pt x="1097" y="2027"/>
                </a:lnTo>
                <a:lnTo>
                  <a:pt x="1097" y="2046"/>
                </a:lnTo>
                <a:lnTo>
                  <a:pt x="1097" y="2046"/>
                </a:lnTo>
                <a:lnTo>
                  <a:pt x="1103" y="2040"/>
                </a:lnTo>
                <a:lnTo>
                  <a:pt x="1108" y="2036"/>
                </a:lnTo>
                <a:lnTo>
                  <a:pt x="1115" y="2031"/>
                </a:lnTo>
                <a:lnTo>
                  <a:pt x="1121" y="2028"/>
                </a:lnTo>
                <a:lnTo>
                  <a:pt x="1129" y="2026"/>
                </a:lnTo>
                <a:lnTo>
                  <a:pt x="1137" y="2024"/>
                </a:lnTo>
                <a:lnTo>
                  <a:pt x="1144" y="2022"/>
                </a:lnTo>
                <a:lnTo>
                  <a:pt x="1153" y="2021"/>
                </a:lnTo>
                <a:lnTo>
                  <a:pt x="1153" y="2021"/>
                </a:lnTo>
                <a:lnTo>
                  <a:pt x="1163" y="2022"/>
                </a:lnTo>
                <a:lnTo>
                  <a:pt x="1172" y="2024"/>
                </a:lnTo>
                <a:lnTo>
                  <a:pt x="1180" y="2026"/>
                </a:lnTo>
                <a:lnTo>
                  <a:pt x="1189" y="2028"/>
                </a:lnTo>
                <a:lnTo>
                  <a:pt x="1195" y="2032"/>
                </a:lnTo>
                <a:lnTo>
                  <a:pt x="1202" y="2037"/>
                </a:lnTo>
                <a:lnTo>
                  <a:pt x="1208" y="2041"/>
                </a:lnTo>
                <a:lnTo>
                  <a:pt x="1214" y="2048"/>
                </a:lnTo>
                <a:lnTo>
                  <a:pt x="1218" y="2054"/>
                </a:lnTo>
                <a:lnTo>
                  <a:pt x="1223" y="2062"/>
                </a:lnTo>
                <a:lnTo>
                  <a:pt x="1226" y="2070"/>
                </a:lnTo>
                <a:lnTo>
                  <a:pt x="1229" y="2080"/>
                </a:lnTo>
                <a:lnTo>
                  <a:pt x="1232" y="2090"/>
                </a:lnTo>
                <a:lnTo>
                  <a:pt x="1233" y="2100"/>
                </a:lnTo>
                <a:lnTo>
                  <a:pt x="1234" y="2111"/>
                </a:lnTo>
                <a:lnTo>
                  <a:pt x="1235" y="2123"/>
                </a:lnTo>
                <a:lnTo>
                  <a:pt x="1235" y="2249"/>
                </a:lnTo>
                <a:lnTo>
                  <a:pt x="1180" y="2249"/>
                </a:lnTo>
                <a:lnTo>
                  <a:pt x="1180" y="2126"/>
                </a:lnTo>
                <a:lnTo>
                  <a:pt x="1180" y="2126"/>
                </a:lnTo>
                <a:lnTo>
                  <a:pt x="1179" y="2114"/>
                </a:lnTo>
                <a:lnTo>
                  <a:pt x="1178" y="2102"/>
                </a:lnTo>
                <a:lnTo>
                  <a:pt x="1174" y="2093"/>
                </a:lnTo>
                <a:lnTo>
                  <a:pt x="1170" y="2085"/>
                </a:lnTo>
                <a:lnTo>
                  <a:pt x="1164" y="2080"/>
                </a:lnTo>
                <a:lnTo>
                  <a:pt x="1158" y="2075"/>
                </a:lnTo>
                <a:lnTo>
                  <a:pt x="1149" y="2073"/>
                </a:lnTo>
                <a:lnTo>
                  <a:pt x="1139" y="2072"/>
                </a:lnTo>
                <a:lnTo>
                  <a:pt x="1139" y="2072"/>
                </a:lnTo>
                <a:lnTo>
                  <a:pt x="1130" y="2073"/>
                </a:lnTo>
                <a:lnTo>
                  <a:pt x="1121" y="2075"/>
                </a:lnTo>
                <a:lnTo>
                  <a:pt x="1114" y="2080"/>
                </a:lnTo>
                <a:lnTo>
                  <a:pt x="1108" y="2086"/>
                </a:lnTo>
                <a:lnTo>
                  <a:pt x="1104" y="2093"/>
                </a:lnTo>
                <a:lnTo>
                  <a:pt x="1100" y="2103"/>
                </a:lnTo>
                <a:lnTo>
                  <a:pt x="1098" y="2114"/>
                </a:lnTo>
                <a:lnTo>
                  <a:pt x="1097" y="2126"/>
                </a:lnTo>
                <a:lnTo>
                  <a:pt x="1097" y="2249"/>
                </a:lnTo>
                <a:close/>
                <a:moveTo>
                  <a:pt x="1408" y="2042"/>
                </a:moveTo>
                <a:lnTo>
                  <a:pt x="1408" y="2042"/>
                </a:lnTo>
                <a:lnTo>
                  <a:pt x="1403" y="2038"/>
                </a:lnTo>
                <a:lnTo>
                  <a:pt x="1397" y="2033"/>
                </a:lnTo>
                <a:lnTo>
                  <a:pt x="1392" y="2030"/>
                </a:lnTo>
                <a:lnTo>
                  <a:pt x="1385" y="2027"/>
                </a:lnTo>
                <a:lnTo>
                  <a:pt x="1378" y="2025"/>
                </a:lnTo>
                <a:lnTo>
                  <a:pt x="1372" y="2024"/>
                </a:lnTo>
                <a:lnTo>
                  <a:pt x="1365" y="2022"/>
                </a:lnTo>
                <a:lnTo>
                  <a:pt x="1359" y="2021"/>
                </a:lnTo>
                <a:lnTo>
                  <a:pt x="1359" y="2021"/>
                </a:lnTo>
                <a:lnTo>
                  <a:pt x="1349" y="2022"/>
                </a:lnTo>
                <a:lnTo>
                  <a:pt x="1340" y="2024"/>
                </a:lnTo>
                <a:lnTo>
                  <a:pt x="1331" y="2026"/>
                </a:lnTo>
                <a:lnTo>
                  <a:pt x="1322" y="2030"/>
                </a:lnTo>
                <a:lnTo>
                  <a:pt x="1314" y="2033"/>
                </a:lnTo>
                <a:lnTo>
                  <a:pt x="1308" y="2039"/>
                </a:lnTo>
                <a:lnTo>
                  <a:pt x="1301" y="2046"/>
                </a:lnTo>
                <a:lnTo>
                  <a:pt x="1295" y="2052"/>
                </a:lnTo>
                <a:lnTo>
                  <a:pt x="1289" y="2060"/>
                </a:lnTo>
                <a:lnTo>
                  <a:pt x="1285" y="2069"/>
                </a:lnTo>
                <a:lnTo>
                  <a:pt x="1280" y="2078"/>
                </a:lnTo>
                <a:lnTo>
                  <a:pt x="1277" y="2089"/>
                </a:lnTo>
                <a:lnTo>
                  <a:pt x="1275" y="2099"/>
                </a:lnTo>
                <a:lnTo>
                  <a:pt x="1273" y="2111"/>
                </a:lnTo>
                <a:lnTo>
                  <a:pt x="1271" y="2123"/>
                </a:lnTo>
                <a:lnTo>
                  <a:pt x="1271" y="2135"/>
                </a:lnTo>
                <a:lnTo>
                  <a:pt x="1271" y="2135"/>
                </a:lnTo>
                <a:lnTo>
                  <a:pt x="1271" y="2149"/>
                </a:lnTo>
                <a:lnTo>
                  <a:pt x="1273" y="2161"/>
                </a:lnTo>
                <a:lnTo>
                  <a:pt x="1275" y="2174"/>
                </a:lnTo>
                <a:lnTo>
                  <a:pt x="1277" y="2186"/>
                </a:lnTo>
                <a:lnTo>
                  <a:pt x="1280" y="2196"/>
                </a:lnTo>
                <a:lnTo>
                  <a:pt x="1285" y="2206"/>
                </a:lnTo>
                <a:lnTo>
                  <a:pt x="1289" y="2214"/>
                </a:lnTo>
                <a:lnTo>
                  <a:pt x="1295" y="2222"/>
                </a:lnTo>
                <a:lnTo>
                  <a:pt x="1300" y="2230"/>
                </a:lnTo>
                <a:lnTo>
                  <a:pt x="1307" y="2235"/>
                </a:lnTo>
                <a:lnTo>
                  <a:pt x="1313" y="2241"/>
                </a:lnTo>
                <a:lnTo>
                  <a:pt x="1321" y="2245"/>
                </a:lnTo>
                <a:lnTo>
                  <a:pt x="1330" y="2249"/>
                </a:lnTo>
                <a:lnTo>
                  <a:pt x="1339" y="2252"/>
                </a:lnTo>
                <a:lnTo>
                  <a:pt x="1348" y="2253"/>
                </a:lnTo>
                <a:lnTo>
                  <a:pt x="1357" y="2254"/>
                </a:lnTo>
                <a:lnTo>
                  <a:pt x="1357" y="2254"/>
                </a:lnTo>
                <a:lnTo>
                  <a:pt x="1364" y="2253"/>
                </a:lnTo>
                <a:lnTo>
                  <a:pt x="1372" y="2252"/>
                </a:lnTo>
                <a:lnTo>
                  <a:pt x="1378" y="2251"/>
                </a:lnTo>
                <a:lnTo>
                  <a:pt x="1385" y="2249"/>
                </a:lnTo>
                <a:lnTo>
                  <a:pt x="1391" y="2245"/>
                </a:lnTo>
                <a:lnTo>
                  <a:pt x="1397" y="2242"/>
                </a:lnTo>
                <a:lnTo>
                  <a:pt x="1403" y="2238"/>
                </a:lnTo>
                <a:lnTo>
                  <a:pt x="1408" y="2232"/>
                </a:lnTo>
                <a:lnTo>
                  <a:pt x="1408" y="2238"/>
                </a:lnTo>
                <a:lnTo>
                  <a:pt x="1408" y="2238"/>
                </a:lnTo>
                <a:lnTo>
                  <a:pt x="1408" y="2246"/>
                </a:lnTo>
                <a:lnTo>
                  <a:pt x="1407" y="2256"/>
                </a:lnTo>
                <a:lnTo>
                  <a:pt x="1404" y="2266"/>
                </a:lnTo>
                <a:lnTo>
                  <a:pt x="1402" y="2271"/>
                </a:lnTo>
                <a:lnTo>
                  <a:pt x="1399" y="2275"/>
                </a:lnTo>
                <a:lnTo>
                  <a:pt x="1395" y="2279"/>
                </a:lnTo>
                <a:lnTo>
                  <a:pt x="1391" y="2284"/>
                </a:lnTo>
                <a:lnTo>
                  <a:pt x="1385" y="2287"/>
                </a:lnTo>
                <a:lnTo>
                  <a:pt x="1378" y="2290"/>
                </a:lnTo>
                <a:lnTo>
                  <a:pt x="1370" y="2293"/>
                </a:lnTo>
                <a:lnTo>
                  <a:pt x="1361" y="2295"/>
                </a:lnTo>
                <a:lnTo>
                  <a:pt x="1350" y="2296"/>
                </a:lnTo>
                <a:lnTo>
                  <a:pt x="1337" y="2296"/>
                </a:lnTo>
                <a:lnTo>
                  <a:pt x="1334" y="2296"/>
                </a:lnTo>
                <a:lnTo>
                  <a:pt x="1354" y="2339"/>
                </a:lnTo>
                <a:lnTo>
                  <a:pt x="1355" y="2339"/>
                </a:lnTo>
                <a:lnTo>
                  <a:pt x="1355" y="2339"/>
                </a:lnTo>
                <a:lnTo>
                  <a:pt x="1369" y="2339"/>
                </a:lnTo>
                <a:lnTo>
                  <a:pt x="1381" y="2338"/>
                </a:lnTo>
                <a:lnTo>
                  <a:pt x="1392" y="2335"/>
                </a:lnTo>
                <a:lnTo>
                  <a:pt x="1403" y="2332"/>
                </a:lnTo>
                <a:lnTo>
                  <a:pt x="1413" y="2328"/>
                </a:lnTo>
                <a:lnTo>
                  <a:pt x="1421" y="2324"/>
                </a:lnTo>
                <a:lnTo>
                  <a:pt x="1429" y="2318"/>
                </a:lnTo>
                <a:lnTo>
                  <a:pt x="1436" y="2311"/>
                </a:lnTo>
                <a:lnTo>
                  <a:pt x="1442" y="2304"/>
                </a:lnTo>
                <a:lnTo>
                  <a:pt x="1448" y="2296"/>
                </a:lnTo>
                <a:lnTo>
                  <a:pt x="1452" y="2286"/>
                </a:lnTo>
                <a:lnTo>
                  <a:pt x="1456" y="2276"/>
                </a:lnTo>
                <a:lnTo>
                  <a:pt x="1459" y="2266"/>
                </a:lnTo>
                <a:lnTo>
                  <a:pt x="1461" y="2254"/>
                </a:lnTo>
                <a:lnTo>
                  <a:pt x="1462" y="2242"/>
                </a:lnTo>
                <a:lnTo>
                  <a:pt x="1462" y="2229"/>
                </a:lnTo>
                <a:lnTo>
                  <a:pt x="1462" y="2027"/>
                </a:lnTo>
                <a:lnTo>
                  <a:pt x="1408" y="2027"/>
                </a:lnTo>
                <a:lnTo>
                  <a:pt x="1408" y="2042"/>
                </a:lnTo>
                <a:close/>
                <a:moveTo>
                  <a:pt x="1408" y="2094"/>
                </a:moveTo>
                <a:lnTo>
                  <a:pt x="1408" y="2181"/>
                </a:lnTo>
                <a:lnTo>
                  <a:pt x="1408" y="2181"/>
                </a:lnTo>
                <a:lnTo>
                  <a:pt x="1401" y="2189"/>
                </a:lnTo>
                <a:lnTo>
                  <a:pt x="1393" y="2197"/>
                </a:lnTo>
                <a:lnTo>
                  <a:pt x="1387" y="2199"/>
                </a:lnTo>
                <a:lnTo>
                  <a:pt x="1382" y="2201"/>
                </a:lnTo>
                <a:lnTo>
                  <a:pt x="1376" y="2202"/>
                </a:lnTo>
                <a:lnTo>
                  <a:pt x="1369" y="2203"/>
                </a:lnTo>
                <a:lnTo>
                  <a:pt x="1369" y="2203"/>
                </a:lnTo>
                <a:lnTo>
                  <a:pt x="1362" y="2202"/>
                </a:lnTo>
                <a:lnTo>
                  <a:pt x="1354" y="2200"/>
                </a:lnTo>
                <a:lnTo>
                  <a:pt x="1348" y="2197"/>
                </a:lnTo>
                <a:lnTo>
                  <a:pt x="1341" y="2190"/>
                </a:lnTo>
                <a:lnTo>
                  <a:pt x="1335" y="2181"/>
                </a:lnTo>
                <a:lnTo>
                  <a:pt x="1331" y="2169"/>
                </a:lnTo>
                <a:lnTo>
                  <a:pt x="1329" y="2154"/>
                </a:lnTo>
                <a:lnTo>
                  <a:pt x="1328" y="2134"/>
                </a:lnTo>
                <a:lnTo>
                  <a:pt x="1328" y="2134"/>
                </a:lnTo>
                <a:lnTo>
                  <a:pt x="1329" y="2117"/>
                </a:lnTo>
                <a:lnTo>
                  <a:pt x="1331" y="2103"/>
                </a:lnTo>
                <a:lnTo>
                  <a:pt x="1335" y="2092"/>
                </a:lnTo>
                <a:lnTo>
                  <a:pt x="1341" y="2084"/>
                </a:lnTo>
                <a:lnTo>
                  <a:pt x="1348" y="2079"/>
                </a:lnTo>
                <a:lnTo>
                  <a:pt x="1354" y="2074"/>
                </a:lnTo>
                <a:lnTo>
                  <a:pt x="1362" y="2073"/>
                </a:lnTo>
                <a:lnTo>
                  <a:pt x="1369" y="2072"/>
                </a:lnTo>
                <a:lnTo>
                  <a:pt x="1369" y="2072"/>
                </a:lnTo>
                <a:lnTo>
                  <a:pt x="1376" y="2073"/>
                </a:lnTo>
                <a:lnTo>
                  <a:pt x="1383" y="2074"/>
                </a:lnTo>
                <a:lnTo>
                  <a:pt x="1388" y="2076"/>
                </a:lnTo>
                <a:lnTo>
                  <a:pt x="1394" y="2080"/>
                </a:lnTo>
                <a:lnTo>
                  <a:pt x="1398" y="2083"/>
                </a:lnTo>
                <a:lnTo>
                  <a:pt x="1402" y="2086"/>
                </a:lnTo>
                <a:lnTo>
                  <a:pt x="1408" y="2094"/>
                </a:lnTo>
                <a:lnTo>
                  <a:pt x="1408" y="2094"/>
                </a:lnTo>
                <a:close/>
                <a:moveTo>
                  <a:pt x="938" y="2027"/>
                </a:moveTo>
                <a:lnTo>
                  <a:pt x="993" y="2027"/>
                </a:lnTo>
                <a:lnTo>
                  <a:pt x="993" y="2123"/>
                </a:lnTo>
                <a:lnTo>
                  <a:pt x="993" y="2249"/>
                </a:lnTo>
                <a:lnTo>
                  <a:pt x="938" y="2249"/>
                </a:lnTo>
                <a:lnTo>
                  <a:pt x="938" y="2027"/>
                </a:lnTo>
                <a:close/>
                <a:moveTo>
                  <a:pt x="993" y="1967"/>
                </a:moveTo>
                <a:lnTo>
                  <a:pt x="993" y="1995"/>
                </a:lnTo>
                <a:lnTo>
                  <a:pt x="938" y="1995"/>
                </a:lnTo>
                <a:lnTo>
                  <a:pt x="938" y="1940"/>
                </a:lnTo>
                <a:lnTo>
                  <a:pt x="993" y="1940"/>
                </a:lnTo>
                <a:lnTo>
                  <a:pt x="993" y="1967"/>
                </a:lnTo>
                <a:close/>
                <a:moveTo>
                  <a:pt x="2309" y="1962"/>
                </a:moveTo>
                <a:lnTo>
                  <a:pt x="2364" y="1934"/>
                </a:lnTo>
                <a:lnTo>
                  <a:pt x="2364" y="2127"/>
                </a:lnTo>
                <a:lnTo>
                  <a:pt x="2364" y="2249"/>
                </a:lnTo>
                <a:lnTo>
                  <a:pt x="2309" y="2249"/>
                </a:lnTo>
                <a:lnTo>
                  <a:pt x="2309" y="1962"/>
                </a:lnTo>
                <a:close/>
                <a:moveTo>
                  <a:pt x="397" y="757"/>
                </a:moveTo>
                <a:lnTo>
                  <a:pt x="850" y="757"/>
                </a:lnTo>
                <a:lnTo>
                  <a:pt x="850" y="495"/>
                </a:lnTo>
                <a:lnTo>
                  <a:pt x="397" y="495"/>
                </a:lnTo>
                <a:lnTo>
                  <a:pt x="397" y="288"/>
                </a:lnTo>
                <a:lnTo>
                  <a:pt x="898" y="288"/>
                </a:lnTo>
                <a:lnTo>
                  <a:pt x="732" y="0"/>
                </a:lnTo>
                <a:lnTo>
                  <a:pt x="22" y="0"/>
                </a:lnTo>
                <a:lnTo>
                  <a:pt x="22" y="1251"/>
                </a:lnTo>
                <a:lnTo>
                  <a:pt x="1023" y="1251"/>
                </a:lnTo>
                <a:lnTo>
                  <a:pt x="1023" y="963"/>
                </a:lnTo>
                <a:lnTo>
                  <a:pt x="397" y="963"/>
                </a:lnTo>
                <a:lnTo>
                  <a:pt x="397" y="757"/>
                </a:lnTo>
                <a:close/>
                <a:moveTo>
                  <a:pt x="1690" y="0"/>
                </a:moveTo>
                <a:lnTo>
                  <a:pt x="1477" y="409"/>
                </a:lnTo>
                <a:lnTo>
                  <a:pt x="1265" y="0"/>
                </a:lnTo>
                <a:lnTo>
                  <a:pt x="850" y="0"/>
                </a:lnTo>
                <a:lnTo>
                  <a:pt x="1287" y="757"/>
                </a:lnTo>
                <a:lnTo>
                  <a:pt x="1287" y="1251"/>
                </a:lnTo>
                <a:lnTo>
                  <a:pt x="1661" y="1251"/>
                </a:lnTo>
                <a:lnTo>
                  <a:pt x="1661" y="757"/>
                </a:lnTo>
                <a:lnTo>
                  <a:pt x="2099" y="0"/>
                </a:lnTo>
                <a:lnTo>
                  <a:pt x="1690" y="0"/>
                </a:lnTo>
                <a:close/>
              </a:path>
            </a:pathLst>
          </a:custGeom>
          <a:solidFill>
            <a:srgbClr val="F6F6F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endParaRPr lang="en-US" sz="1799" noProof="0" dirty="0"/>
          </a:p>
        </p:txBody>
      </p:sp>
      <p:pic>
        <p:nvPicPr>
          <p:cNvPr id="48" name="Grafik 47">
            <a:extLst>
              <a:ext uri="{FF2B5EF4-FFF2-40B4-BE49-F238E27FC236}">
                <a16:creationId xmlns:a16="http://schemas.microsoft.com/office/drawing/2014/main" id="{CD8CFB81-0F8A-4957-9F71-2E5C7E4E72C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868" t="30525" r="48266" b="26518"/>
          <a:stretch/>
        </p:blipFill>
        <p:spPr>
          <a:xfrm>
            <a:off x="4908487" y="1055364"/>
            <a:ext cx="2554953" cy="25110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52200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slideLayout" Target="../slideLayouts/slideLayout15.xml"/><Relationship Id="rId7" Type="http://schemas.openxmlformats.org/officeDocument/2006/relationships/tags" Target="../tags/tag1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6.xml"/><Relationship Id="rId9" Type="http://schemas.openxmlformats.org/officeDocument/2006/relationships/image" Target="../media/image10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slideLayout" Target="../slideLayouts/slideLayout35.xml"/><Relationship Id="rId26" Type="http://schemas.openxmlformats.org/officeDocument/2006/relationships/slideLayout" Target="../slideLayouts/slideLayout43.xml"/><Relationship Id="rId3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38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slideLayout" Target="../slideLayouts/slideLayout34.xml"/><Relationship Id="rId25" Type="http://schemas.openxmlformats.org/officeDocument/2006/relationships/slideLayout" Target="../slideLayouts/slideLayout42.xml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20" Type="http://schemas.openxmlformats.org/officeDocument/2006/relationships/slideLayout" Target="../slideLayouts/slideLayout37.xml"/><Relationship Id="rId29" Type="http://schemas.openxmlformats.org/officeDocument/2006/relationships/tags" Target="../tags/tag13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24" Type="http://schemas.openxmlformats.org/officeDocument/2006/relationships/slideLayout" Target="../slideLayouts/slideLayout41.xml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23" Type="http://schemas.openxmlformats.org/officeDocument/2006/relationships/slideLayout" Target="../slideLayouts/slideLayout40.xml"/><Relationship Id="rId28" Type="http://schemas.openxmlformats.org/officeDocument/2006/relationships/theme" Target="../theme/theme3.xml"/><Relationship Id="rId10" Type="http://schemas.openxmlformats.org/officeDocument/2006/relationships/slideLayout" Target="../slideLayouts/slideLayout27.xml"/><Relationship Id="rId19" Type="http://schemas.openxmlformats.org/officeDocument/2006/relationships/slideLayout" Target="../slideLayouts/slideLayout36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Relationship Id="rId22" Type="http://schemas.openxmlformats.org/officeDocument/2006/relationships/slideLayout" Target="../slideLayouts/slideLayout39.xml"/><Relationship Id="rId27" Type="http://schemas.openxmlformats.org/officeDocument/2006/relationships/slideLayout" Target="../slideLayouts/slideLayout44.xml"/><Relationship Id="rId30" Type="http://schemas.openxmlformats.org/officeDocument/2006/relationships/oleObject" Target="../embeddings/oleObject8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DA25761-5D8D-979E-5FD4-073A5250BE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5619913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86" imgH="486" progId="TCLayout.ActiveDocument.1">
                  <p:embed/>
                </p:oleObj>
              </mc:Choice>
              <mc:Fallback>
                <p:oleObj name="think-cell Slide" r:id="rId15" imgW="486" imgH="48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DA25761-5D8D-979E-5FD4-073A5250BE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1137920"/>
            <a:ext cx="109728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7E89FB01-0304-4B7A-83F4-087FD710583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1250" y="6356350"/>
            <a:ext cx="303055" cy="311150"/>
            <a:chOff x="7110" y="4004"/>
            <a:chExt cx="191" cy="196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4DE1CE93-8A80-4A24-92CA-71C05E4537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0000"/>
                </a:lnSpc>
              </a:pPr>
              <a:endParaRPr lang="en-US" sz="1799" noProof="0" dirty="0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769AC85D-6BA0-4E5B-A206-FB7E85E0DD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0000"/>
                </a:lnSpc>
              </a:pPr>
              <a:endParaRPr lang="en-US" sz="1799" noProof="0" dirty="0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5A99D1FF-A731-4C56-AEC5-4C61FAC748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0000"/>
                </a:lnSpc>
              </a:pPr>
              <a:endParaRPr lang="en-US" sz="1799" noProof="0" dirty="0"/>
            </a:p>
          </p:txBody>
        </p:sp>
      </p:grpSp>
      <p:sp>
        <p:nvSpPr>
          <p:cNvPr id="20" name="Date Placeholder 3">
            <a:extLst>
              <a:ext uri="{FF2B5EF4-FFF2-40B4-BE49-F238E27FC236}">
                <a16:creationId xmlns:a16="http://schemas.microsoft.com/office/drawing/2014/main" id="{7FA7D49F-D989-4CDB-9335-913430F7425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428184" y="6471244"/>
            <a:ext cx="1190638" cy="180000"/>
          </a:xfrm>
          <a:prstGeom prst="rect">
            <a:avLst/>
          </a:prstGeom>
        </p:spPr>
        <p:txBody>
          <a:bodyPr lIns="0" tIns="0" rIns="0" bIns="0" anchor="ctr"/>
          <a:lstStyle>
            <a:lvl1pPr marL="0" algn="l" defTabSz="913943" rtl="0" eaLnBrk="1" latinLnBrk="0" hangingPunct="1">
              <a:lnSpc>
                <a:spcPct val="100000"/>
              </a:lnSpc>
              <a:defRPr lang="en-US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fld id="{AB1DF376-C9F9-44B2-A37A-B4245ECFE416}" type="datetime3">
              <a:rPr lang="en-US" smtClean="0"/>
              <a:t>27 March 2025</a:t>
            </a:fld>
            <a:endParaRPr lang="de-DE" dirty="0"/>
          </a:p>
        </p:txBody>
      </p:sp>
      <p:sp>
        <p:nvSpPr>
          <p:cNvPr id="21" name="Footer Placeholder 4">
            <a:extLst>
              <a:ext uri="{FF2B5EF4-FFF2-40B4-BE49-F238E27FC236}">
                <a16:creationId xmlns:a16="http://schemas.microsoft.com/office/drawing/2014/main" id="{26944631-E8AF-4601-B721-3347E3AFB2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37502" y="6471244"/>
            <a:ext cx="3084493" cy="180000"/>
          </a:xfrm>
          <a:prstGeom prst="rect">
            <a:avLst/>
          </a:prstGeom>
        </p:spPr>
        <p:txBody>
          <a:bodyPr lIns="0" tIns="0" rIns="0" bIns="0" anchor="ctr"/>
          <a:lstStyle>
            <a:lvl1pPr marL="0" algn="l" defTabSz="913943" rtl="0" eaLnBrk="1" latinLnBrk="0" hangingPunct="1">
              <a:lnSpc>
                <a:spcPct val="100000"/>
              </a:lnSpc>
              <a:defRPr lang="en-US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de-DE"/>
              <a:t>EY DE PPT Gallery</a:t>
            </a:r>
            <a:endParaRPr lang="de-DE" dirty="0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1E733AAD-1BCD-417D-A2A4-521F133E28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16900" y="6471244"/>
            <a:ext cx="662721" cy="180000"/>
          </a:xfrm>
          <a:prstGeom prst="rect">
            <a:avLst/>
          </a:prstGeom>
        </p:spPr>
        <p:txBody>
          <a:bodyPr lIns="0" tIns="0" rIns="0" bIns="0" anchor="ctr"/>
          <a:lstStyle>
            <a:lvl1pPr marL="0" algn="l" defTabSz="913943" rtl="0" eaLnBrk="1" latinLnBrk="0" hangingPunct="1">
              <a:lnSpc>
                <a:spcPct val="100000"/>
              </a:lnSpc>
              <a:defRPr lang="en-GB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US"/>
              <a:t>Page </a:t>
            </a:r>
            <a:fld id="{F1BC30E3-FFE5-4B91-AA19-87A149EBB9E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03294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</p:sldLayoutIdLst>
  <p:hf hdr="0" dt="0"/>
  <p:txStyles>
    <p:titleStyle>
      <a:lvl1pPr algn="l" defTabSz="913943" rtl="0" eaLnBrk="1" latinLnBrk="0" hangingPunct="1">
        <a:lnSpc>
          <a:spcPct val="100000"/>
        </a:lnSpc>
        <a:spcBef>
          <a:spcPct val="0"/>
        </a:spcBef>
        <a:buNone/>
        <a:defRPr sz="2399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356438" indent="-356438" algn="l" defTabSz="913943" rtl="0" eaLnBrk="1" latinLnBrk="0" hangingPunct="1">
        <a:lnSpc>
          <a:spcPct val="100000"/>
        </a:lnSpc>
        <a:spcBef>
          <a:spcPts val="0"/>
        </a:spcBef>
        <a:buClr>
          <a:schemeClr val="tx2"/>
        </a:buClr>
        <a:buSzPct val="70000"/>
        <a:buFont typeface="Arial" pitchFamily="34" charset="0"/>
        <a:buChar char="►"/>
        <a:defRPr sz="19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712875" indent="-356438" algn="l" defTabSz="913943" rtl="0" eaLnBrk="1" latinLnBrk="0" hangingPunct="1">
        <a:lnSpc>
          <a:spcPct val="100000"/>
        </a:lnSpc>
        <a:spcBef>
          <a:spcPts val="0"/>
        </a:spcBef>
        <a:buClr>
          <a:schemeClr val="tx2"/>
        </a:buClr>
        <a:buSzPct val="70000"/>
        <a:buFont typeface="Arial" pitchFamily="34" charset="0"/>
        <a:buChar char="►"/>
        <a:defRPr sz="17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1069313" indent="-356438" algn="l" defTabSz="913943" rtl="0" eaLnBrk="1" latinLnBrk="0" hangingPunct="1">
        <a:lnSpc>
          <a:spcPct val="100000"/>
        </a:lnSpc>
        <a:spcBef>
          <a:spcPts val="0"/>
        </a:spcBef>
        <a:buClr>
          <a:schemeClr val="tx2"/>
        </a:buClr>
        <a:buSzPct val="70000"/>
        <a:buFont typeface="Arial" pitchFamily="34" charset="0"/>
        <a:buChar char="►"/>
        <a:defRPr sz="15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425751" indent="-356438" algn="l" defTabSz="913943" rtl="0" eaLnBrk="1" latinLnBrk="0" hangingPunct="1">
        <a:lnSpc>
          <a:spcPct val="100000"/>
        </a:lnSpc>
        <a:spcBef>
          <a:spcPts val="0"/>
        </a:spcBef>
        <a:buClr>
          <a:schemeClr val="tx2"/>
        </a:buClr>
        <a:buSzPct val="70000"/>
        <a:buFont typeface="Arial" pitchFamily="34" charset="0"/>
        <a:buChar char="►"/>
        <a:defRPr sz="13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697776" indent="-271327" algn="l" defTabSz="913943" rtl="0" eaLnBrk="1" latinLnBrk="0" hangingPunct="1">
        <a:lnSpc>
          <a:spcPct val="100000"/>
        </a:lnSpc>
        <a:spcBef>
          <a:spcPts val="0"/>
        </a:spcBef>
        <a:buClr>
          <a:schemeClr val="tx2"/>
        </a:buClr>
        <a:buSzPct val="70000"/>
        <a:buFont typeface="Arial" pitchFamily="34" charset="0"/>
        <a:buChar char="►"/>
        <a:defRPr sz="11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3343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314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286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257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" pos="7301">
          <p15:clr>
            <a:srgbClr val="F26B43"/>
          </p15:clr>
        </p15:guide>
        <p15:guide id="5" pos="384">
          <p15:clr>
            <a:srgbClr val="F26B43"/>
          </p15:clr>
        </p15:guide>
        <p15:guide id="6" orient="horz" pos="187">
          <p15:clr>
            <a:srgbClr val="F26B43"/>
          </p15:clr>
        </p15:guide>
        <p15:guide id="7" orient="horz" pos="709">
          <p15:clr>
            <a:srgbClr val="F26B43"/>
          </p15:clr>
        </p15:guide>
        <p15:guide id="8" orient="horz" pos="3838">
          <p15:clr>
            <a:srgbClr val="F26B43"/>
          </p15:clr>
        </p15:guide>
        <p15:guide id="9" orient="horz" pos="4156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D16E743-F4D1-456B-412A-5533CDDB2B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219879964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00" imgH="300" progId="TCLayout.ActiveDocument.1">
                  <p:embed/>
                </p:oleObj>
              </mc:Choice>
              <mc:Fallback>
                <p:oleObj name="think-cell Slide" r:id="rId8" imgW="300" imgH="3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D16E743-F4D1-456B-412A-5533CDDB2B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608083" y="1137600"/>
            <a:ext cx="10976221" cy="4946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/>
            </a:pPr>
            <a:r>
              <a:rPr kumimoji="0" lang="en-US" sz="1999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Click to edit Master text styles</a:t>
            </a:r>
          </a:p>
          <a:p>
            <a:pPr marL="271327" marR="0" lvl="1" indent="-271327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999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Second level</a:t>
            </a:r>
          </a:p>
          <a:p>
            <a:pPr marL="510919" marR="0" lvl="2" indent="-233246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Third level</a:t>
            </a:r>
          </a:p>
          <a:p>
            <a:pPr marL="745752" marR="0" lvl="3" indent="-231659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599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Fourth level</a:t>
            </a:r>
          </a:p>
          <a:p>
            <a:pPr marL="944091" marR="0" lvl="4" indent="-201512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399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Text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7E89FB01-0304-4B7A-83F4-087FD710583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1250" y="6356350"/>
            <a:ext cx="303055" cy="311150"/>
            <a:chOff x="7110" y="4004"/>
            <a:chExt cx="191" cy="196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4DE1CE93-8A80-4A24-92CA-71C05E4537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0000"/>
                </a:lnSpc>
              </a:pPr>
              <a:endParaRPr lang="en-US" sz="1799" noProof="0" dirty="0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769AC85D-6BA0-4E5B-A206-FB7E85E0DD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0000"/>
                </a:lnSpc>
              </a:pPr>
              <a:endParaRPr lang="en-US" sz="1799" noProof="0" dirty="0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5A99D1FF-A731-4C56-AEC5-4C61FAC748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0000"/>
                </a:lnSpc>
              </a:pPr>
              <a:endParaRPr lang="en-US" sz="1799" noProof="0" dirty="0"/>
            </a:p>
          </p:txBody>
        </p:sp>
      </p:grpSp>
      <p:sp>
        <p:nvSpPr>
          <p:cNvPr id="20" name="Date Placeholder 3">
            <a:extLst>
              <a:ext uri="{FF2B5EF4-FFF2-40B4-BE49-F238E27FC236}">
                <a16:creationId xmlns:a16="http://schemas.microsoft.com/office/drawing/2014/main" id="{7FA7D49F-D989-4CDB-9335-913430F7425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428184" y="6471244"/>
            <a:ext cx="1190638" cy="180000"/>
          </a:xfrm>
          <a:prstGeom prst="rect">
            <a:avLst/>
          </a:prstGeom>
        </p:spPr>
        <p:txBody>
          <a:bodyPr lIns="0" tIns="0" rIns="0" bIns="0" anchor="ctr"/>
          <a:lstStyle>
            <a:lvl1pPr marL="0" algn="l" defTabSz="913943" rtl="0" eaLnBrk="1" latinLnBrk="0" hangingPunct="1">
              <a:lnSpc>
                <a:spcPct val="100000"/>
              </a:lnSpc>
              <a:defRPr lang="en-US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fld id="{FF689614-5369-440F-8EAB-15876908D66D}" type="datetime3">
              <a:rPr lang="en-US" noProof="0" smtClean="0"/>
              <a:t>27 March 2025</a:t>
            </a:fld>
            <a:endParaRPr lang="en-US" noProof="0" dirty="0"/>
          </a:p>
        </p:txBody>
      </p:sp>
      <p:sp>
        <p:nvSpPr>
          <p:cNvPr id="21" name="Footer Placeholder 4">
            <a:extLst>
              <a:ext uri="{FF2B5EF4-FFF2-40B4-BE49-F238E27FC236}">
                <a16:creationId xmlns:a16="http://schemas.microsoft.com/office/drawing/2014/main" id="{26944631-E8AF-4601-B721-3347E3AFB2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37502" y="6471244"/>
            <a:ext cx="3084493" cy="180000"/>
          </a:xfrm>
          <a:prstGeom prst="rect">
            <a:avLst/>
          </a:prstGeom>
        </p:spPr>
        <p:txBody>
          <a:bodyPr lIns="0" tIns="0" rIns="0" bIns="0" anchor="ctr"/>
          <a:lstStyle>
            <a:lvl1pPr marL="0" algn="l" defTabSz="913943" rtl="0" eaLnBrk="1" latinLnBrk="0" hangingPunct="1">
              <a:lnSpc>
                <a:spcPct val="100000"/>
              </a:lnSpc>
              <a:defRPr lang="en-US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de-DE" dirty="0" err="1"/>
              <a:t>Hypatos</a:t>
            </a:r>
            <a:r>
              <a:rPr lang="de-DE" dirty="0"/>
              <a:t> x Klüber – Kick-Off Workshop</a:t>
            </a:r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1E733AAD-1BCD-417D-A2A4-521F133E28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16900" y="6471244"/>
            <a:ext cx="662721" cy="180000"/>
          </a:xfrm>
          <a:prstGeom prst="rect">
            <a:avLst/>
          </a:prstGeom>
        </p:spPr>
        <p:txBody>
          <a:bodyPr lIns="0" tIns="0" rIns="0" bIns="0" anchor="ctr"/>
          <a:lstStyle>
            <a:lvl1pPr marL="0" algn="l" defTabSz="913943" rtl="0" eaLnBrk="1" latinLnBrk="0" hangingPunct="1">
              <a:lnSpc>
                <a:spcPct val="100000"/>
              </a:lnSpc>
              <a:defRPr lang="en-GB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US" noProof="0" dirty="0"/>
              <a:t>Page </a:t>
            </a:r>
            <a:fld id="{F1BC30E3-FFE5-4B91-AA19-87A149EBB9E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332261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</p:sldLayoutIdLst>
  <p:hf hdr="0" dt="0"/>
  <p:txStyles>
    <p:titleStyle>
      <a:lvl1pPr algn="l" defTabSz="913943" rtl="0" eaLnBrk="1" latinLnBrk="0" hangingPunct="1">
        <a:lnSpc>
          <a:spcPct val="100000"/>
        </a:lnSpc>
        <a:spcBef>
          <a:spcPct val="0"/>
        </a:spcBef>
        <a:buNone/>
        <a:defRPr sz="2399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0" marR="0" indent="0" algn="l" defTabSz="913943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FFE600"/>
        </a:buClr>
        <a:buSzPct val="70000"/>
        <a:buFont typeface="Arial" pitchFamily="34" charset="0"/>
        <a:buNone/>
        <a:tabLst/>
        <a:defRPr kumimoji="0" lang="de-DE" sz="1999" b="0" i="0" u="none" strike="noStrike" kern="1200" cap="none" spc="0" normalizeH="0" baseline="0">
          <a:ln>
            <a:noFill/>
          </a:ln>
          <a:solidFill>
            <a:schemeClr val="bg1"/>
          </a:solidFill>
          <a:effectLst/>
          <a:uLnTx/>
          <a:uFillTx/>
          <a:latin typeface="EYInterstate Light" panose="02000506000000020004" pitchFamily="2" charset="0"/>
          <a:ea typeface="+mn-ea"/>
          <a:cs typeface="+mn-cs"/>
        </a:defRPr>
      </a:lvl1pPr>
      <a:lvl2pPr marL="271327" marR="0" indent="-271327" algn="l" defTabSz="913943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FFE600"/>
        </a:buClr>
        <a:buSzPct val="70000"/>
        <a:buFont typeface="Arial" pitchFamily="34" charset="0"/>
        <a:buChar char="►"/>
        <a:tabLst/>
        <a:defRPr kumimoji="0" lang="de-DE" sz="1999" b="0" i="0" u="none" strike="noStrike" kern="1200" cap="none" spc="0" normalizeH="0" baseline="0">
          <a:ln>
            <a:noFill/>
          </a:ln>
          <a:solidFill>
            <a:schemeClr val="bg1"/>
          </a:solidFill>
          <a:effectLst/>
          <a:uLnTx/>
          <a:uFillTx/>
          <a:latin typeface="EYInterstate Light" panose="02000506000000020004" pitchFamily="2" charset="0"/>
          <a:ea typeface="+mn-ea"/>
          <a:cs typeface="+mn-cs"/>
        </a:defRPr>
      </a:lvl2pPr>
      <a:lvl3pPr marL="510919" marR="0" indent="-233246" algn="l" defTabSz="913943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FFE600"/>
        </a:buClr>
        <a:buSzPct val="70000"/>
        <a:buFont typeface="Arial" pitchFamily="34" charset="0"/>
        <a:buChar char="►"/>
        <a:tabLst/>
        <a:defRPr kumimoji="0" lang="de-DE" sz="1799" b="0" i="0" u="none" strike="noStrike" kern="1200" cap="none" spc="0" normalizeH="0" baseline="0">
          <a:ln>
            <a:noFill/>
          </a:ln>
          <a:solidFill>
            <a:schemeClr val="bg1"/>
          </a:solidFill>
          <a:effectLst/>
          <a:uLnTx/>
          <a:uFillTx/>
          <a:latin typeface="EYInterstate Light" panose="02000506000000020004" pitchFamily="2" charset="0"/>
          <a:ea typeface="+mn-ea"/>
          <a:cs typeface="+mn-cs"/>
        </a:defRPr>
      </a:lvl3pPr>
      <a:lvl4pPr marL="745752" marR="0" indent="-231659" algn="l" defTabSz="913943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FFE600"/>
        </a:buClr>
        <a:buSzPct val="70000"/>
        <a:buFont typeface="Arial" pitchFamily="34" charset="0"/>
        <a:buChar char="►"/>
        <a:tabLst/>
        <a:defRPr kumimoji="0" lang="de-DE" sz="1599" b="0" i="0" u="none" strike="noStrike" kern="1200" cap="none" spc="0" normalizeH="0" baseline="0">
          <a:ln>
            <a:noFill/>
          </a:ln>
          <a:solidFill>
            <a:schemeClr val="bg1"/>
          </a:solidFill>
          <a:effectLst/>
          <a:uLnTx/>
          <a:uFillTx/>
          <a:latin typeface="EYInterstate Light" panose="02000506000000020004" pitchFamily="2" charset="0"/>
          <a:ea typeface="+mn-ea"/>
          <a:cs typeface="+mn-cs"/>
        </a:defRPr>
      </a:lvl4pPr>
      <a:lvl5pPr marL="944091" marR="0" indent="-201512" algn="l" defTabSz="913943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FFE600"/>
        </a:buClr>
        <a:buSzPct val="70000"/>
        <a:buFont typeface="Arial" pitchFamily="34" charset="0"/>
        <a:buChar char="►"/>
        <a:tabLst/>
        <a:defRPr kumimoji="0" lang="de-DE" sz="1399" b="0" i="0" u="none" strike="noStrike" kern="1200" cap="none" spc="0" normalizeH="0" baseline="0">
          <a:ln>
            <a:noFill/>
          </a:ln>
          <a:solidFill>
            <a:schemeClr val="bg1"/>
          </a:solidFill>
          <a:effectLst/>
          <a:uLnTx/>
          <a:uFillTx/>
          <a:latin typeface="EYInterstate Light" panose="02000506000000020004" pitchFamily="2" charset="0"/>
          <a:ea typeface="+mn-ea"/>
          <a:cs typeface="+mn-cs"/>
        </a:defRPr>
      </a:lvl5pPr>
      <a:lvl6pPr marL="2513343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314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286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257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" pos="7301">
          <p15:clr>
            <a:srgbClr val="F26B43"/>
          </p15:clr>
        </p15:guide>
        <p15:guide id="5" pos="384">
          <p15:clr>
            <a:srgbClr val="F26B43"/>
          </p15:clr>
        </p15:guide>
        <p15:guide id="6" orient="horz" pos="187">
          <p15:clr>
            <a:srgbClr val="F26B43"/>
          </p15:clr>
        </p15:guide>
        <p15:guide id="7" orient="horz" pos="709">
          <p15:clr>
            <a:srgbClr val="F26B43"/>
          </p15:clr>
        </p15:guide>
        <p15:guide id="8" orient="horz" pos="3838">
          <p15:clr>
            <a:srgbClr val="F26B43"/>
          </p15:clr>
        </p15:guide>
        <p15:guide id="9" orient="horz" pos="4156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F6FAB43-50F7-F9EE-6304-19F3F0A419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876776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486" imgH="486" progId="TCLayout.ActiveDocument.1">
                  <p:embed/>
                </p:oleObj>
              </mc:Choice>
              <mc:Fallback>
                <p:oleObj name="think-cell Slide" r:id="rId30" imgW="486" imgH="48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F6FAB43-50F7-F9EE-6304-19F3F0A419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85523" y="369888"/>
            <a:ext cx="11224347" cy="47089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5523" y="1411287"/>
            <a:ext cx="11224347" cy="46386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First level text style </a:t>
            </a:r>
            <a:r>
              <a:rPr lang="en-US" dirty="0" err="1"/>
              <a:t>EYInterstate</a:t>
            </a:r>
            <a:r>
              <a:rPr lang="en-US" dirty="0"/>
              <a:t> Light </a:t>
            </a:r>
            <a:r>
              <a:rPr lang="en-US" dirty="0" err="1"/>
              <a:t>20pt</a:t>
            </a:r>
            <a:endParaRPr lang="en-US" dirty="0"/>
          </a:p>
          <a:p>
            <a:pPr lvl="1"/>
            <a:r>
              <a:rPr lang="en-US" dirty="0"/>
              <a:t>Second level text style </a:t>
            </a:r>
            <a:r>
              <a:rPr lang="en-US" dirty="0" err="1"/>
              <a:t>EYInterstate</a:t>
            </a:r>
            <a:r>
              <a:rPr lang="en-US" dirty="0"/>
              <a:t> Light </a:t>
            </a:r>
            <a:r>
              <a:rPr lang="en-US" dirty="0" err="1"/>
              <a:t>20pt</a:t>
            </a:r>
            <a:endParaRPr lang="en-US" dirty="0"/>
          </a:p>
          <a:p>
            <a:pPr lvl="2"/>
            <a:r>
              <a:rPr lang="en-US" dirty="0"/>
              <a:t>Third level text style </a:t>
            </a:r>
            <a:r>
              <a:rPr lang="en-US" dirty="0" err="1"/>
              <a:t>EYInterstate</a:t>
            </a:r>
            <a:r>
              <a:rPr lang="en-US" dirty="0"/>
              <a:t> Light </a:t>
            </a:r>
            <a:r>
              <a:rPr lang="en-US" dirty="0" err="1"/>
              <a:t>18pt</a:t>
            </a:r>
            <a:endParaRPr lang="en-US" dirty="0"/>
          </a:p>
          <a:p>
            <a:pPr lvl="3"/>
            <a:r>
              <a:rPr lang="en-US" dirty="0"/>
              <a:t>Fourth level text style </a:t>
            </a:r>
            <a:r>
              <a:rPr lang="en-US" dirty="0" err="1"/>
              <a:t>EYInterstate</a:t>
            </a:r>
            <a:r>
              <a:rPr lang="en-US" dirty="0"/>
              <a:t> Light </a:t>
            </a:r>
            <a:r>
              <a:rPr lang="en-US" dirty="0" err="1"/>
              <a:t>16pt</a:t>
            </a:r>
            <a:endParaRPr lang="en-US" dirty="0"/>
          </a:p>
          <a:p>
            <a:pPr lvl="4"/>
            <a:r>
              <a:rPr lang="en-US" dirty="0"/>
              <a:t>Fifth level text style </a:t>
            </a:r>
            <a:r>
              <a:rPr lang="en-US" dirty="0" err="1"/>
              <a:t>EYInterstate</a:t>
            </a:r>
            <a:r>
              <a:rPr lang="en-US" dirty="0"/>
              <a:t> Light </a:t>
            </a:r>
            <a:r>
              <a:rPr lang="en-US" dirty="0" err="1"/>
              <a:t>16pt</a:t>
            </a:r>
            <a:endParaRPr lang="en-US" dirty="0"/>
          </a:p>
          <a:p>
            <a:pPr lvl="5"/>
            <a:r>
              <a:rPr lang="en-US" dirty="0"/>
              <a:t>Sixth level text style </a:t>
            </a:r>
            <a:r>
              <a:rPr lang="en-US" dirty="0" err="1"/>
              <a:t>EYInterstate</a:t>
            </a:r>
            <a:r>
              <a:rPr lang="en-US" dirty="0"/>
              <a:t> Light </a:t>
            </a:r>
            <a:r>
              <a:rPr lang="en-US" dirty="0" err="1"/>
              <a:t>14pt</a:t>
            </a:r>
            <a:endParaRPr lang="en-US" dirty="0"/>
          </a:p>
          <a:p>
            <a:pPr lvl="6"/>
            <a:r>
              <a:rPr lang="en-US" dirty="0"/>
              <a:t>Seventh level text style </a:t>
            </a:r>
            <a:r>
              <a:rPr lang="en-US" dirty="0" err="1"/>
              <a:t>EYInterstate</a:t>
            </a:r>
            <a:r>
              <a:rPr lang="en-US" dirty="0"/>
              <a:t> Light </a:t>
            </a:r>
            <a:r>
              <a:rPr lang="en-US" dirty="0" err="1"/>
              <a:t>14pt</a:t>
            </a:r>
            <a:endParaRPr lang="en-US" dirty="0"/>
          </a:p>
          <a:p>
            <a:pPr lvl="7"/>
            <a:r>
              <a:rPr lang="en-US" dirty="0"/>
              <a:t>Eighth level text style </a:t>
            </a:r>
            <a:r>
              <a:rPr lang="en-US" dirty="0" err="1"/>
              <a:t>EYInterstate</a:t>
            </a:r>
            <a:r>
              <a:rPr lang="en-US" dirty="0"/>
              <a:t> Light </a:t>
            </a:r>
            <a:r>
              <a:rPr lang="en-US" dirty="0" err="1"/>
              <a:t>12pt</a:t>
            </a:r>
            <a:endParaRPr lang="en-US" dirty="0"/>
          </a:p>
          <a:p>
            <a:pPr lvl="8"/>
            <a:r>
              <a:rPr lang="en-US" dirty="0"/>
              <a:t>Nineth level text style </a:t>
            </a:r>
            <a:r>
              <a:rPr lang="en-US" dirty="0" err="1"/>
              <a:t>EYInterstate</a:t>
            </a:r>
            <a:r>
              <a:rPr lang="en-US" dirty="0"/>
              <a:t> Light </a:t>
            </a:r>
            <a:r>
              <a:rPr lang="en-US" dirty="0" err="1"/>
              <a:t>12pt</a:t>
            </a:r>
            <a:endParaRPr lang="en-US" dirty="0"/>
          </a:p>
        </p:txBody>
      </p:sp>
      <p:grpSp>
        <p:nvGrpSpPr>
          <p:cNvPr id="6" name="Group 4">
            <a:extLst>
              <a:ext uri="{FF2B5EF4-FFF2-40B4-BE49-F238E27FC236}">
                <a16:creationId xmlns:a16="http://schemas.microsoft.com/office/drawing/2014/main" id="{84D8E7BF-2CB9-F661-3559-99D90AE0A4E5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3900" y="6276977"/>
            <a:ext cx="346158" cy="355219"/>
            <a:chOff x="7110" y="4004"/>
            <a:chExt cx="191" cy="196"/>
          </a:xfrm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B6AA6DF4-2FEA-00BD-9BF9-6CDE40EF389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9F5D8B0B-D61C-3D77-A3C6-C71B65E66459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66939EE2-541D-2E43-8858-BD44D3A0144C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12" name="Slide Number Placeholder">
            <a:extLst>
              <a:ext uri="{FF2B5EF4-FFF2-40B4-BE49-F238E27FC236}">
                <a16:creationId xmlns:a16="http://schemas.microsoft.com/office/drawing/2014/main" id="{ED74E7B3-73BA-6CBF-F361-5C4836CC1A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85747" y="6437115"/>
            <a:ext cx="50909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algn="l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F1BC30E3-FFE5-4B91-AA19-87A149EBB9EE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Date Placeholder">
            <a:extLst>
              <a:ext uri="{FF2B5EF4-FFF2-40B4-BE49-F238E27FC236}">
                <a16:creationId xmlns:a16="http://schemas.microsoft.com/office/drawing/2014/main" id="{F72B6F9D-B29D-E927-36D7-47D67210920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94845" y="6437115"/>
            <a:ext cx="1275686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algn="l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505209A-9CC7-459A-A7CE-13339705E87D}" type="datetime3">
              <a:rPr lang="en-US" smtClean="0"/>
              <a:t>27 March 2025</a:t>
            </a:fld>
            <a:endParaRPr lang="en-US" dirty="0"/>
          </a:p>
        </p:txBody>
      </p:sp>
      <p:sp>
        <p:nvSpPr>
          <p:cNvPr id="15" name="Footer Placeholder">
            <a:extLst>
              <a:ext uri="{FF2B5EF4-FFF2-40B4-BE49-F238E27FC236}">
                <a16:creationId xmlns:a16="http://schemas.microsoft.com/office/drawing/2014/main" id="{F3C10C79-9BC5-0699-5C8C-F8347F4643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70531" y="6437115"/>
            <a:ext cx="3825470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algn="l" defTabSz="914400" rtl="0" eaLnBrk="1" latinLnBrk="0" hangingPunct="1">
              <a:defRPr lang="en-IN" sz="8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Insert footer text here</a:t>
            </a:r>
          </a:p>
        </p:txBody>
      </p:sp>
    </p:spTree>
    <p:extLst>
      <p:ext uri="{BB962C8B-B14F-4D97-AF65-F5344CB8AC3E}">
        <p14:creationId xmlns:p14="http://schemas.microsoft.com/office/powerpoint/2010/main" val="10882400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  <p:sldLayoutId id="2147483704" r:id="rId7"/>
    <p:sldLayoutId id="2147483705" r:id="rId8"/>
    <p:sldLayoutId id="2147483706" r:id="rId9"/>
    <p:sldLayoutId id="2147483707" r:id="rId10"/>
    <p:sldLayoutId id="2147483708" r:id="rId11"/>
    <p:sldLayoutId id="2147483709" r:id="rId12"/>
    <p:sldLayoutId id="2147483710" r:id="rId13"/>
    <p:sldLayoutId id="2147483711" r:id="rId14"/>
    <p:sldLayoutId id="2147483712" r:id="rId15"/>
    <p:sldLayoutId id="2147483713" r:id="rId16"/>
    <p:sldLayoutId id="2147483714" r:id="rId17"/>
    <p:sldLayoutId id="2147483715" r:id="rId18"/>
    <p:sldLayoutId id="2147483716" r:id="rId19"/>
    <p:sldLayoutId id="2147483717" r:id="rId20"/>
    <p:sldLayoutId id="2147483718" r:id="rId21"/>
    <p:sldLayoutId id="2147483719" r:id="rId22"/>
    <p:sldLayoutId id="2147483720" r:id="rId23"/>
    <p:sldLayoutId id="2147483721" r:id="rId24"/>
    <p:sldLayoutId id="2147483722" r:id="rId25"/>
    <p:sldLayoutId id="2147483723" r:id="rId26"/>
    <p:sldLayoutId id="2147483724" r:id="rId27"/>
  </p:sldLayoutIdLst>
  <p:hf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600" b="1" i="0" kern="1200">
          <a:solidFill>
            <a:schemeClr val="bg1"/>
          </a:solidFill>
          <a:latin typeface="EYInterstate" panose="02000503020000020004" pitchFamily="2" charset="0"/>
          <a:ea typeface="+mj-ea"/>
          <a:cs typeface="Arial" pitchFamily="34" charset="0"/>
        </a:defRPr>
      </a:lvl1pPr>
    </p:titleStyle>
    <p:bodyStyle>
      <a:lvl1pPr marL="252000" indent="-252000" algn="l" defTabSz="914400" rtl="0" eaLnBrk="1" latinLnBrk="0" hangingPunct="1">
        <a:spcBef>
          <a:spcPts val="400"/>
        </a:spcBef>
        <a:spcAft>
          <a:spcPts val="400"/>
        </a:spcAft>
        <a:buClr>
          <a:schemeClr val="tx2"/>
        </a:buClr>
        <a:buSzPct val="100000"/>
        <a:buFont typeface="Wingdings" pitchFamily="2" charset="2"/>
        <a:buChar char="§"/>
        <a:defRPr sz="2000" kern="1200">
          <a:solidFill>
            <a:schemeClr val="bg1"/>
          </a:solidFill>
          <a:latin typeface="+mn-lt"/>
          <a:ea typeface="+mn-ea"/>
          <a:cs typeface="+mn-cs"/>
        </a:defRPr>
      </a:lvl1pPr>
      <a:lvl2pPr marL="504000" indent="-252000" algn="l" defTabSz="914400" rtl="0" eaLnBrk="1" latinLnBrk="0" hangingPunct="1">
        <a:spcBef>
          <a:spcPts val="400"/>
        </a:spcBef>
        <a:spcAft>
          <a:spcPts val="400"/>
        </a:spcAft>
        <a:buClr>
          <a:schemeClr val="tx2"/>
        </a:buClr>
        <a:buSzPct val="100000"/>
        <a:buFont typeface="Wingdings" pitchFamily="2" charset="2"/>
        <a:buChar char="§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756000" indent="-252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defRPr sz="1800" kern="1200">
          <a:solidFill>
            <a:schemeClr val="bg1"/>
          </a:solidFill>
          <a:latin typeface="+mn-lt"/>
          <a:ea typeface="+mn-ea"/>
          <a:cs typeface="+mn-cs"/>
        </a:defRPr>
      </a:lvl3pPr>
      <a:lvl4pPr marL="1008000" indent="-252000" algn="l" defTabSz="914400" rtl="0" eaLnBrk="1" latinLnBrk="0" hangingPunct="1">
        <a:spcBef>
          <a:spcPts val="0"/>
        </a:spcBef>
        <a:spcAft>
          <a:spcPts val="400"/>
        </a:spcAft>
        <a:buClr>
          <a:schemeClr val="tx2"/>
        </a:buClr>
        <a:buSzPct val="100000"/>
        <a:buFont typeface="Wingdings" pitchFamily="2" charset="2"/>
        <a:buChar char="§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1260000" indent="-252000" algn="l" defTabSz="914400" rtl="0" eaLnBrk="1" latinLnBrk="0" hangingPunct="1">
        <a:spcBef>
          <a:spcPts val="0"/>
        </a:spcBef>
        <a:spcAft>
          <a:spcPts val="400"/>
        </a:spcAft>
        <a:buClr>
          <a:schemeClr val="tx2"/>
        </a:buClr>
        <a:buSzPct val="100000"/>
        <a:buFont typeface="Wingdings" pitchFamily="2" charset="2"/>
        <a:buChar char="§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1512000" indent="-252000" algn="l" defTabSz="914400" rtl="0" eaLnBrk="1" latinLnBrk="0" hangingPunct="1"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tabLst/>
        <a:defRPr sz="1400" kern="1200">
          <a:solidFill>
            <a:schemeClr val="bg1"/>
          </a:solidFill>
          <a:latin typeface="+mn-lt"/>
          <a:ea typeface="+mn-ea"/>
          <a:cs typeface="+mn-cs"/>
        </a:defRPr>
      </a:lvl6pPr>
      <a:lvl7pPr marL="1764000" indent="-252000" algn="l" defTabSz="914400" rtl="0" eaLnBrk="1" latinLnBrk="0" hangingPunct="1"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tabLst/>
        <a:defRPr sz="1400" kern="1200">
          <a:solidFill>
            <a:schemeClr val="bg1"/>
          </a:solidFill>
          <a:latin typeface="+mn-lt"/>
          <a:ea typeface="+mn-ea"/>
          <a:cs typeface="+mn-cs"/>
        </a:defRPr>
      </a:lvl7pPr>
      <a:lvl8pPr marL="2016000" indent="-252000" algn="l" defTabSz="914400" rtl="0" eaLnBrk="1" latinLnBrk="0" hangingPunct="1"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tabLst/>
        <a:defRPr sz="1200" kern="1200">
          <a:solidFill>
            <a:schemeClr val="bg1"/>
          </a:solidFill>
          <a:latin typeface="+mn-lt"/>
          <a:ea typeface="+mn-ea"/>
          <a:cs typeface="+mn-cs"/>
        </a:defRPr>
      </a:lvl8pPr>
      <a:lvl9pPr marL="2268000" indent="-252000" algn="l" defTabSz="914400" rtl="0" eaLnBrk="1" latinLnBrk="0" hangingPunct="1"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tabLst/>
        <a:defRPr sz="1200" kern="1200">
          <a:solidFill>
            <a:schemeClr val="bg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>
          <p15:clr>
            <a:srgbClr val="F26B43"/>
          </p15:clr>
        </p15:guide>
        <p15:guide id="2" pos="7378">
          <p15:clr>
            <a:srgbClr val="F26B43"/>
          </p15:clr>
        </p15:guide>
        <p15:guide id="48" orient="horz" pos="527">
          <p15:clr>
            <a:srgbClr val="F26B43"/>
          </p15:clr>
        </p15:guide>
        <p15:guide id="57" orient="horz" pos="890">
          <p15:clr>
            <a:srgbClr val="F26B43"/>
          </p15:clr>
        </p15:guide>
        <p15:guide id="78" orient="horz" pos="3816">
          <p15:clr>
            <a:srgbClr val="F26B43"/>
          </p15:clr>
        </p15:guide>
        <p15:guide id="79" orient="horz" pos="23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notesSlide" Target="../notesSlides/notesSlide1.xml"/><Relationship Id="rId7" Type="http://schemas.microsoft.com/office/2007/relationships/hdphoto" Target="../media/hdphoto2.wdp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4.xml"/><Relationship Id="rId6" Type="http://schemas.openxmlformats.org/officeDocument/2006/relationships/image" Target="../media/image21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9.bin"/><Relationship Id="rId9" Type="http://schemas.openxmlformats.org/officeDocument/2006/relationships/image" Target="../media/image23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jpg"/><Relationship Id="rId3" Type="http://schemas.openxmlformats.org/officeDocument/2006/relationships/oleObject" Target="../embeddings/oleObject10.bin"/><Relationship Id="rId7" Type="http://schemas.openxmlformats.org/officeDocument/2006/relationships/image" Target="../media/image32.pn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187.xml"/><Relationship Id="rId6" Type="http://schemas.openxmlformats.org/officeDocument/2006/relationships/image" Target="../media/image31.jpg"/><Relationship Id="rId5" Type="http://schemas.openxmlformats.org/officeDocument/2006/relationships/image" Target="../media/image30.jpg"/><Relationship Id="rId4" Type="http://schemas.openxmlformats.org/officeDocument/2006/relationships/image" Target="../media/image25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15.xml"/><Relationship Id="rId6" Type="http://schemas.openxmlformats.org/officeDocument/2006/relationships/image" Target="../media/image22.png"/><Relationship Id="rId5" Type="http://schemas.openxmlformats.org/officeDocument/2006/relationships/image" Target="../media/image25.emf"/><Relationship Id="rId4" Type="http://schemas.openxmlformats.org/officeDocument/2006/relationships/oleObject" Target="../embeddings/oleObject10.bin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29.svg"/><Relationship Id="rId4" Type="http://schemas.openxmlformats.org/officeDocument/2006/relationships/image" Target="../media/image28.png"/></Relationships>
</file>

<file path=ppt/slides/_rels/slide9.xml.rels><?xml version="1.0" encoding="UTF-8" standalone="yes"?>
<Relationships xmlns="http://schemas.openxmlformats.org/package/2006/relationships"><Relationship Id="rId117" Type="http://schemas.openxmlformats.org/officeDocument/2006/relationships/tags" Target="../tags/tag132.xml"/><Relationship Id="rId21" Type="http://schemas.openxmlformats.org/officeDocument/2006/relationships/tags" Target="../tags/tag36.xml"/><Relationship Id="rId42" Type="http://schemas.openxmlformats.org/officeDocument/2006/relationships/tags" Target="../tags/tag57.xml"/><Relationship Id="rId63" Type="http://schemas.openxmlformats.org/officeDocument/2006/relationships/tags" Target="../tags/tag78.xml"/><Relationship Id="rId84" Type="http://schemas.openxmlformats.org/officeDocument/2006/relationships/tags" Target="../tags/tag99.xml"/><Relationship Id="rId138" Type="http://schemas.openxmlformats.org/officeDocument/2006/relationships/tags" Target="../tags/tag153.xml"/><Relationship Id="rId159" Type="http://schemas.openxmlformats.org/officeDocument/2006/relationships/tags" Target="../tags/tag174.xml"/><Relationship Id="rId170" Type="http://schemas.openxmlformats.org/officeDocument/2006/relationships/tags" Target="../tags/tag185.xml"/><Relationship Id="rId107" Type="http://schemas.openxmlformats.org/officeDocument/2006/relationships/tags" Target="../tags/tag122.xml"/><Relationship Id="rId11" Type="http://schemas.openxmlformats.org/officeDocument/2006/relationships/tags" Target="../tags/tag26.xml"/><Relationship Id="rId32" Type="http://schemas.openxmlformats.org/officeDocument/2006/relationships/tags" Target="../tags/tag47.xml"/><Relationship Id="rId53" Type="http://schemas.openxmlformats.org/officeDocument/2006/relationships/tags" Target="../tags/tag68.xml"/><Relationship Id="rId74" Type="http://schemas.openxmlformats.org/officeDocument/2006/relationships/tags" Target="../tags/tag89.xml"/><Relationship Id="rId128" Type="http://schemas.openxmlformats.org/officeDocument/2006/relationships/tags" Target="../tags/tag143.xml"/><Relationship Id="rId149" Type="http://schemas.openxmlformats.org/officeDocument/2006/relationships/tags" Target="../tags/tag164.xml"/><Relationship Id="rId5" Type="http://schemas.openxmlformats.org/officeDocument/2006/relationships/tags" Target="../tags/tag20.xml"/><Relationship Id="rId95" Type="http://schemas.openxmlformats.org/officeDocument/2006/relationships/tags" Target="../tags/tag110.xml"/><Relationship Id="rId160" Type="http://schemas.openxmlformats.org/officeDocument/2006/relationships/tags" Target="../tags/tag175.xml"/><Relationship Id="rId22" Type="http://schemas.openxmlformats.org/officeDocument/2006/relationships/tags" Target="../tags/tag37.xml"/><Relationship Id="rId43" Type="http://schemas.openxmlformats.org/officeDocument/2006/relationships/tags" Target="../tags/tag58.xml"/><Relationship Id="rId64" Type="http://schemas.openxmlformats.org/officeDocument/2006/relationships/tags" Target="../tags/tag79.xml"/><Relationship Id="rId118" Type="http://schemas.openxmlformats.org/officeDocument/2006/relationships/tags" Target="../tags/tag133.xml"/><Relationship Id="rId139" Type="http://schemas.openxmlformats.org/officeDocument/2006/relationships/tags" Target="../tags/tag154.xml"/><Relationship Id="rId85" Type="http://schemas.openxmlformats.org/officeDocument/2006/relationships/tags" Target="../tags/tag100.xml"/><Relationship Id="rId150" Type="http://schemas.openxmlformats.org/officeDocument/2006/relationships/tags" Target="../tags/tag165.xml"/><Relationship Id="rId171" Type="http://schemas.openxmlformats.org/officeDocument/2006/relationships/tags" Target="../tags/tag186.xml"/><Relationship Id="rId12" Type="http://schemas.openxmlformats.org/officeDocument/2006/relationships/tags" Target="../tags/tag27.xml"/><Relationship Id="rId33" Type="http://schemas.openxmlformats.org/officeDocument/2006/relationships/tags" Target="../tags/tag48.xml"/><Relationship Id="rId108" Type="http://schemas.openxmlformats.org/officeDocument/2006/relationships/tags" Target="../tags/tag123.xml"/><Relationship Id="rId129" Type="http://schemas.openxmlformats.org/officeDocument/2006/relationships/tags" Target="../tags/tag144.xml"/><Relationship Id="rId54" Type="http://schemas.openxmlformats.org/officeDocument/2006/relationships/tags" Target="../tags/tag69.xml"/><Relationship Id="rId75" Type="http://schemas.openxmlformats.org/officeDocument/2006/relationships/tags" Target="../tags/tag90.xml"/><Relationship Id="rId96" Type="http://schemas.openxmlformats.org/officeDocument/2006/relationships/tags" Target="../tags/tag111.xml"/><Relationship Id="rId140" Type="http://schemas.openxmlformats.org/officeDocument/2006/relationships/tags" Target="../tags/tag155.xml"/><Relationship Id="rId161" Type="http://schemas.openxmlformats.org/officeDocument/2006/relationships/tags" Target="../tags/tag176.xml"/><Relationship Id="rId1" Type="http://schemas.openxmlformats.org/officeDocument/2006/relationships/tags" Target="../tags/tag16.xml"/><Relationship Id="rId6" Type="http://schemas.openxmlformats.org/officeDocument/2006/relationships/tags" Target="../tags/tag21.xml"/><Relationship Id="rId23" Type="http://schemas.openxmlformats.org/officeDocument/2006/relationships/tags" Target="../tags/tag38.xml"/><Relationship Id="rId28" Type="http://schemas.openxmlformats.org/officeDocument/2006/relationships/tags" Target="../tags/tag43.xml"/><Relationship Id="rId49" Type="http://schemas.openxmlformats.org/officeDocument/2006/relationships/tags" Target="../tags/tag64.xml"/><Relationship Id="rId114" Type="http://schemas.openxmlformats.org/officeDocument/2006/relationships/tags" Target="../tags/tag129.xml"/><Relationship Id="rId119" Type="http://schemas.openxmlformats.org/officeDocument/2006/relationships/tags" Target="../tags/tag134.xml"/><Relationship Id="rId44" Type="http://schemas.openxmlformats.org/officeDocument/2006/relationships/tags" Target="../tags/tag59.xml"/><Relationship Id="rId60" Type="http://schemas.openxmlformats.org/officeDocument/2006/relationships/tags" Target="../tags/tag75.xml"/><Relationship Id="rId65" Type="http://schemas.openxmlformats.org/officeDocument/2006/relationships/tags" Target="../tags/tag80.xml"/><Relationship Id="rId81" Type="http://schemas.openxmlformats.org/officeDocument/2006/relationships/tags" Target="../tags/tag96.xml"/><Relationship Id="rId86" Type="http://schemas.openxmlformats.org/officeDocument/2006/relationships/tags" Target="../tags/tag101.xml"/><Relationship Id="rId130" Type="http://schemas.openxmlformats.org/officeDocument/2006/relationships/tags" Target="../tags/tag145.xml"/><Relationship Id="rId135" Type="http://schemas.openxmlformats.org/officeDocument/2006/relationships/tags" Target="../tags/tag150.xml"/><Relationship Id="rId151" Type="http://schemas.openxmlformats.org/officeDocument/2006/relationships/tags" Target="../tags/tag166.xml"/><Relationship Id="rId156" Type="http://schemas.openxmlformats.org/officeDocument/2006/relationships/tags" Target="../tags/tag171.xml"/><Relationship Id="rId172" Type="http://schemas.openxmlformats.org/officeDocument/2006/relationships/slideLayout" Target="../slideLayouts/slideLayout15.xml"/><Relationship Id="rId13" Type="http://schemas.openxmlformats.org/officeDocument/2006/relationships/tags" Target="../tags/tag28.xml"/><Relationship Id="rId18" Type="http://schemas.openxmlformats.org/officeDocument/2006/relationships/tags" Target="../tags/tag33.xml"/><Relationship Id="rId39" Type="http://schemas.openxmlformats.org/officeDocument/2006/relationships/tags" Target="../tags/tag54.xml"/><Relationship Id="rId109" Type="http://schemas.openxmlformats.org/officeDocument/2006/relationships/tags" Target="../tags/tag124.xml"/><Relationship Id="rId34" Type="http://schemas.openxmlformats.org/officeDocument/2006/relationships/tags" Target="../tags/tag49.xml"/><Relationship Id="rId50" Type="http://schemas.openxmlformats.org/officeDocument/2006/relationships/tags" Target="../tags/tag65.xml"/><Relationship Id="rId55" Type="http://schemas.openxmlformats.org/officeDocument/2006/relationships/tags" Target="../tags/tag70.xml"/><Relationship Id="rId76" Type="http://schemas.openxmlformats.org/officeDocument/2006/relationships/tags" Target="../tags/tag91.xml"/><Relationship Id="rId97" Type="http://schemas.openxmlformats.org/officeDocument/2006/relationships/tags" Target="../tags/tag112.xml"/><Relationship Id="rId104" Type="http://schemas.openxmlformats.org/officeDocument/2006/relationships/tags" Target="../tags/tag119.xml"/><Relationship Id="rId120" Type="http://schemas.openxmlformats.org/officeDocument/2006/relationships/tags" Target="../tags/tag135.xml"/><Relationship Id="rId125" Type="http://schemas.openxmlformats.org/officeDocument/2006/relationships/tags" Target="../tags/tag140.xml"/><Relationship Id="rId141" Type="http://schemas.openxmlformats.org/officeDocument/2006/relationships/tags" Target="../tags/tag156.xml"/><Relationship Id="rId146" Type="http://schemas.openxmlformats.org/officeDocument/2006/relationships/tags" Target="../tags/tag161.xml"/><Relationship Id="rId167" Type="http://schemas.openxmlformats.org/officeDocument/2006/relationships/tags" Target="../tags/tag182.xml"/><Relationship Id="rId7" Type="http://schemas.openxmlformats.org/officeDocument/2006/relationships/tags" Target="../tags/tag22.xml"/><Relationship Id="rId71" Type="http://schemas.openxmlformats.org/officeDocument/2006/relationships/tags" Target="../tags/tag86.xml"/><Relationship Id="rId92" Type="http://schemas.openxmlformats.org/officeDocument/2006/relationships/tags" Target="../tags/tag107.xml"/><Relationship Id="rId162" Type="http://schemas.openxmlformats.org/officeDocument/2006/relationships/tags" Target="../tags/tag177.xml"/><Relationship Id="rId2" Type="http://schemas.openxmlformats.org/officeDocument/2006/relationships/tags" Target="../tags/tag17.xml"/><Relationship Id="rId29" Type="http://schemas.openxmlformats.org/officeDocument/2006/relationships/tags" Target="../tags/tag44.xml"/><Relationship Id="rId24" Type="http://schemas.openxmlformats.org/officeDocument/2006/relationships/tags" Target="../tags/tag39.xml"/><Relationship Id="rId40" Type="http://schemas.openxmlformats.org/officeDocument/2006/relationships/tags" Target="../tags/tag55.xml"/><Relationship Id="rId45" Type="http://schemas.openxmlformats.org/officeDocument/2006/relationships/tags" Target="../tags/tag60.xml"/><Relationship Id="rId66" Type="http://schemas.openxmlformats.org/officeDocument/2006/relationships/tags" Target="../tags/tag81.xml"/><Relationship Id="rId87" Type="http://schemas.openxmlformats.org/officeDocument/2006/relationships/tags" Target="../tags/tag102.xml"/><Relationship Id="rId110" Type="http://schemas.openxmlformats.org/officeDocument/2006/relationships/tags" Target="../tags/tag125.xml"/><Relationship Id="rId115" Type="http://schemas.openxmlformats.org/officeDocument/2006/relationships/tags" Target="../tags/tag130.xml"/><Relationship Id="rId131" Type="http://schemas.openxmlformats.org/officeDocument/2006/relationships/tags" Target="../tags/tag146.xml"/><Relationship Id="rId136" Type="http://schemas.openxmlformats.org/officeDocument/2006/relationships/tags" Target="../tags/tag151.xml"/><Relationship Id="rId157" Type="http://schemas.openxmlformats.org/officeDocument/2006/relationships/tags" Target="../tags/tag172.xml"/><Relationship Id="rId61" Type="http://schemas.openxmlformats.org/officeDocument/2006/relationships/tags" Target="../tags/tag76.xml"/><Relationship Id="rId82" Type="http://schemas.openxmlformats.org/officeDocument/2006/relationships/tags" Target="../tags/tag97.xml"/><Relationship Id="rId152" Type="http://schemas.openxmlformats.org/officeDocument/2006/relationships/tags" Target="../tags/tag167.xml"/><Relationship Id="rId173" Type="http://schemas.openxmlformats.org/officeDocument/2006/relationships/image" Target="../media/image24.png"/><Relationship Id="rId19" Type="http://schemas.openxmlformats.org/officeDocument/2006/relationships/tags" Target="../tags/tag34.xml"/><Relationship Id="rId14" Type="http://schemas.openxmlformats.org/officeDocument/2006/relationships/tags" Target="../tags/tag29.xml"/><Relationship Id="rId30" Type="http://schemas.openxmlformats.org/officeDocument/2006/relationships/tags" Target="../tags/tag45.xml"/><Relationship Id="rId35" Type="http://schemas.openxmlformats.org/officeDocument/2006/relationships/tags" Target="../tags/tag50.xml"/><Relationship Id="rId56" Type="http://schemas.openxmlformats.org/officeDocument/2006/relationships/tags" Target="../tags/tag71.xml"/><Relationship Id="rId77" Type="http://schemas.openxmlformats.org/officeDocument/2006/relationships/tags" Target="../tags/tag92.xml"/><Relationship Id="rId100" Type="http://schemas.openxmlformats.org/officeDocument/2006/relationships/tags" Target="../tags/tag115.xml"/><Relationship Id="rId105" Type="http://schemas.openxmlformats.org/officeDocument/2006/relationships/tags" Target="../tags/tag120.xml"/><Relationship Id="rId126" Type="http://schemas.openxmlformats.org/officeDocument/2006/relationships/tags" Target="../tags/tag141.xml"/><Relationship Id="rId147" Type="http://schemas.openxmlformats.org/officeDocument/2006/relationships/tags" Target="../tags/tag162.xml"/><Relationship Id="rId168" Type="http://schemas.openxmlformats.org/officeDocument/2006/relationships/tags" Target="../tags/tag183.xml"/><Relationship Id="rId8" Type="http://schemas.openxmlformats.org/officeDocument/2006/relationships/tags" Target="../tags/tag23.xml"/><Relationship Id="rId51" Type="http://schemas.openxmlformats.org/officeDocument/2006/relationships/tags" Target="../tags/tag66.xml"/><Relationship Id="rId72" Type="http://schemas.openxmlformats.org/officeDocument/2006/relationships/tags" Target="../tags/tag87.xml"/><Relationship Id="rId93" Type="http://schemas.openxmlformats.org/officeDocument/2006/relationships/tags" Target="../tags/tag108.xml"/><Relationship Id="rId98" Type="http://schemas.openxmlformats.org/officeDocument/2006/relationships/tags" Target="../tags/tag113.xml"/><Relationship Id="rId121" Type="http://schemas.openxmlformats.org/officeDocument/2006/relationships/tags" Target="../tags/tag136.xml"/><Relationship Id="rId142" Type="http://schemas.openxmlformats.org/officeDocument/2006/relationships/tags" Target="../tags/tag157.xml"/><Relationship Id="rId163" Type="http://schemas.openxmlformats.org/officeDocument/2006/relationships/tags" Target="../tags/tag178.xml"/><Relationship Id="rId3" Type="http://schemas.openxmlformats.org/officeDocument/2006/relationships/tags" Target="../tags/tag18.xml"/><Relationship Id="rId25" Type="http://schemas.openxmlformats.org/officeDocument/2006/relationships/tags" Target="../tags/tag40.xml"/><Relationship Id="rId46" Type="http://schemas.openxmlformats.org/officeDocument/2006/relationships/tags" Target="../tags/tag61.xml"/><Relationship Id="rId67" Type="http://schemas.openxmlformats.org/officeDocument/2006/relationships/tags" Target="../tags/tag82.xml"/><Relationship Id="rId116" Type="http://schemas.openxmlformats.org/officeDocument/2006/relationships/tags" Target="../tags/tag131.xml"/><Relationship Id="rId137" Type="http://schemas.openxmlformats.org/officeDocument/2006/relationships/tags" Target="../tags/tag152.xml"/><Relationship Id="rId158" Type="http://schemas.openxmlformats.org/officeDocument/2006/relationships/tags" Target="../tags/tag173.xml"/><Relationship Id="rId20" Type="http://schemas.openxmlformats.org/officeDocument/2006/relationships/tags" Target="../tags/tag35.xml"/><Relationship Id="rId41" Type="http://schemas.openxmlformats.org/officeDocument/2006/relationships/tags" Target="../tags/tag56.xml"/><Relationship Id="rId62" Type="http://schemas.openxmlformats.org/officeDocument/2006/relationships/tags" Target="../tags/tag77.xml"/><Relationship Id="rId83" Type="http://schemas.openxmlformats.org/officeDocument/2006/relationships/tags" Target="../tags/tag98.xml"/><Relationship Id="rId88" Type="http://schemas.openxmlformats.org/officeDocument/2006/relationships/tags" Target="../tags/tag103.xml"/><Relationship Id="rId111" Type="http://schemas.openxmlformats.org/officeDocument/2006/relationships/tags" Target="../tags/tag126.xml"/><Relationship Id="rId132" Type="http://schemas.openxmlformats.org/officeDocument/2006/relationships/tags" Target="../tags/tag147.xml"/><Relationship Id="rId153" Type="http://schemas.openxmlformats.org/officeDocument/2006/relationships/tags" Target="../tags/tag168.xml"/><Relationship Id="rId174" Type="http://schemas.openxmlformats.org/officeDocument/2006/relationships/oleObject" Target="../embeddings/oleObject11.bin"/><Relationship Id="rId15" Type="http://schemas.openxmlformats.org/officeDocument/2006/relationships/tags" Target="../tags/tag30.xml"/><Relationship Id="rId36" Type="http://schemas.openxmlformats.org/officeDocument/2006/relationships/tags" Target="../tags/tag51.xml"/><Relationship Id="rId57" Type="http://schemas.openxmlformats.org/officeDocument/2006/relationships/tags" Target="../tags/tag72.xml"/><Relationship Id="rId106" Type="http://schemas.openxmlformats.org/officeDocument/2006/relationships/tags" Target="../tags/tag121.xml"/><Relationship Id="rId127" Type="http://schemas.openxmlformats.org/officeDocument/2006/relationships/tags" Target="../tags/tag142.xml"/><Relationship Id="rId10" Type="http://schemas.openxmlformats.org/officeDocument/2006/relationships/tags" Target="../tags/tag25.xml"/><Relationship Id="rId31" Type="http://schemas.openxmlformats.org/officeDocument/2006/relationships/tags" Target="../tags/tag46.xml"/><Relationship Id="rId52" Type="http://schemas.openxmlformats.org/officeDocument/2006/relationships/tags" Target="../tags/tag67.xml"/><Relationship Id="rId73" Type="http://schemas.openxmlformats.org/officeDocument/2006/relationships/tags" Target="../tags/tag88.xml"/><Relationship Id="rId78" Type="http://schemas.openxmlformats.org/officeDocument/2006/relationships/tags" Target="../tags/tag93.xml"/><Relationship Id="rId94" Type="http://schemas.openxmlformats.org/officeDocument/2006/relationships/tags" Target="../tags/tag109.xml"/><Relationship Id="rId99" Type="http://schemas.openxmlformats.org/officeDocument/2006/relationships/tags" Target="../tags/tag114.xml"/><Relationship Id="rId101" Type="http://schemas.openxmlformats.org/officeDocument/2006/relationships/tags" Target="../tags/tag116.xml"/><Relationship Id="rId122" Type="http://schemas.openxmlformats.org/officeDocument/2006/relationships/tags" Target="../tags/tag137.xml"/><Relationship Id="rId143" Type="http://schemas.openxmlformats.org/officeDocument/2006/relationships/tags" Target="../tags/tag158.xml"/><Relationship Id="rId148" Type="http://schemas.openxmlformats.org/officeDocument/2006/relationships/tags" Target="../tags/tag163.xml"/><Relationship Id="rId164" Type="http://schemas.openxmlformats.org/officeDocument/2006/relationships/tags" Target="../tags/tag179.xml"/><Relationship Id="rId169" Type="http://schemas.openxmlformats.org/officeDocument/2006/relationships/tags" Target="../tags/tag184.xml"/><Relationship Id="rId4" Type="http://schemas.openxmlformats.org/officeDocument/2006/relationships/tags" Target="../tags/tag19.xml"/><Relationship Id="rId9" Type="http://schemas.openxmlformats.org/officeDocument/2006/relationships/tags" Target="../tags/tag24.xml"/><Relationship Id="rId26" Type="http://schemas.openxmlformats.org/officeDocument/2006/relationships/tags" Target="../tags/tag41.xml"/><Relationship Id="rId47" Type="http://schemas.openxmlformats.org/officeDocument/2006/relationships/tags" Target="../tags/tag62.xml"/><Relationship Id="rId68" Type="http://schemas.openxmlformats.org/officeDocument/2006/relationships/tags" Target="../tags/tag83.xml"/><Relationship Id="rId89" Type="http://schemas.openxmlformats.org/officeDocument/2006/relationships/tags" Target="../tags/tag104.xml"/><Relationship Id="rId112" Type="http://schemas.openxmlformats.org/officeDocument/2006/relationships/tags" Target="../tags/tag127.xml"/><Relationship Id="rId133" Type="http://schemas.openxmlformats.org/officeDocument/2006/relationships/tags" Target="../tags/tag148.xml"/><Relationship Id="rId154" Type="http://schemas.openxmlformats.org/officeDocument/2006/relationships/tags" Target="../tags/tag169.xml"/><Relationship Id="rId175" Type="http://schemas.openxmlformats.org/officeDocument/2006/relationships/image" Target="../media/image25.emf"/><Relationship Id="rId16" Type="http://schemas.openxmlformats.org/officeDocument/2006/relationships/tags" Target="../tags/tag31.xml"/><Relationship Id="rId37" Type="http://schemas.openxmlformats.org/officeDocument/2006/relationships/tags" Target="../tags/tag52.xml"/><Relationship Id="rId58" Type="http://schemas.openxmlformats.org/officeDocument/2006/relationships/tags" Target="../tags/tag73.xml"/><Relationship Id="rId79" Type="http://schemas.openxmlformats.org/officeDocument/2006/relationships/tags" Target="../tags/tag94.xml"/><Relationship Id="rId102" Type="http://schemas.openxmlformats.org/officeDocument/2006/relationships/tags" Target="../tags/tag117.xml"/><Relationship Id="rId123" Type="http://schemas.openxmlformats.org/officeDocument/2006/relationships/tags" Target="../tags/tag138.xml"/><Relationship Id="rId144" Type="http://schemas.openxmlformats.org/officeDocument/2006/relationships/tags" Target="../tags/tag159.xml"/><Relationship Id="rId90" Type="http://schemas.openxmlformats.org/officeDocument/2006/relationships/tags" Target="../tags/tag105.xml"/><Relationship Id="rId165" Type="http://schemas.openxmlformats.org/officeDocument/2006/relationships/tags" Target="../tags/tag180.xml"/><Relationship Id="rId27" Type="http://schemas.openxmlformats.org/officeDocument/2006/relationships/tags" Target="../tags/tag42.xml"/><Relationship Id="rId48" Type="http://schemas.openxmlformats.org/officeDocument/2006/relationships/tags" Target="../tags/tag63.xml"/><Relationship Id="rId69" Type="http://schemas.openxmlformats.org/officeDocument/2006/relationships/tags" Target="../tags/tag84.xml"/><Relationship Id="rId113" Type="http://schemas.openxmlformats.org/officeDocument/2006/relationships/tags" Target="../tags/tag128.xml"/><Relationship Id="rId134" Type="http://schemas.openxmlformats.org/officeDocument/2006/relationships/tags" Target="../tags/tag149.xml"/><Relationship Id="rId80" Type="http://schemas.openxmlformats.org/officeDocument/2006/relationships/tags" Target="../tags/tag95.xml"/><Relationship Id="rId155" Type="http://schemas.openxmlformats.org/officeDocument/2006/relationships/tags" Target="../tags/tag170.xml"/><Relationship Id="rId176" Type="http://schemas.openxmlformats.org/officeDocument/2006/relationships/image" Target="../media/image22.png"/><Relationship Id="rId17" Type="http://schemas.openxmlformats.org/officeDocument/2006/relationships/tags" Target="../tags/tag32.xml"/><Relationship Id="rId38" Type="http://schemas.openxmlformats.org/officeDocument/2006/relationships/tags" Target="../tags/tag53.xml"/><Relationship Id="rId59" Type="http://schemas.openxmlformats.org/officeDocument/2006/relationships/tags" Target="../tags/tag74.xml"/><Relationship Id="rId103" Type="http://schemas.openxmlformats.org/officeDocument/2006/relationships/tags" Target="../tags/tag118.xml"/><Relationship Id="rId124" Type="http://schemas.openxmlformats.org/officeDocument/2006/relationships/tags" Target="../tags/tag139.xml"/><Relationship Id="rId70" Type="http://schemas.openxmlformats.org/officeDocument/2006/relationships/tags" Target="../tags/tag85.xml"/><Relationship Id="rId91" Type="http://schemas.openxmlformats.org/officeDocument/2006/relationships/tags" Target="../tags/tag106.xml"/><Relationship Id="rId145" Type="http://schemas.openxmlformats.org/officeDocument/2006/relationships/tags" Target="../tags/tag160.xml"/><Relationship Id="rId166" Type="http://schemas.openxmlformats.org/officeDocument/2006/relationships/tags" Target="../tags/tag18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5D6F993-F62B-3FBF-9D87-1EC7172F02E5}"/>
              </a:ext>
            </a:extLst>
          </p:cNvPr>
          <p:cNvSpPr/>
          <p:nvPr/>
        </p:nvSpPr>
        <p:spPr>
          <a:xfrm>
            <a:off x="8194766" y="0"/>
            <a:ext cx="3997234" cy="6858000"/>
          </a:xfrm>
          <a:prstGeom prst="rect">
            <a:avLst/>
          </a:prstGeom>
          <a:solidFill>
            <a:schemeClr val="tx1">
              <a:lumMod val="95000"/>
            </a:schemeClr>
          </a:solidFill>
          <a:ln w="12700" cap="sq" cmpd="sng" algn="ctr">
            <a:noFill/>
            <a:prstDash val="solid"/>
            <a:miter lim="800000"/>
            <a:tailEnd type="none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</a:endParaRPr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4EBF0E9-8189-29F3-C5F1-F842D5DFCEF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3547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6" imgH="403" progId="TCLayout.ActiveDocument.1">
                  <p:embed/>
                </p:oleObj>
              </mc:Choice>
              <mc:Fallback>
                <p:oleObj name="think-cell Slide" r:id="rId4" imgW="406" imgH="40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4EBF0E9-8189-29F3-C5F1-F842D5DFCE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20D521E6-A9D0-E5E4-1B64-6F4F417DE210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482737" y="1422400"/>
            <a:ext cx="5680075" cy="2006600"/>
          </a:xfrm>
        </p:spPr>
        <p:txBody>
          <a:bodyPr vert="horz">
            <a:normAutofit/>
          </a:bodyPr>
          <a:lstStyle/>
          <a:p>
            <a:r>
              <a:rPr lang="en-GB" sz="3600" dirty="0"/>
              <a:t>Next Generation AI for Document Automation – Accounts Payable</a:t>
            </a:r>
            <a:endParaRPr lang="en-US" sz="3600" dirty="0"/>
          </a:p>
        </p:txBody>
      </p:sp>
      <p:sp>
        <p:nvSpPr>
          <p:cNvPr id="3" name="Alcím 2">
            <a:extLst>
              <a:ext uri="{FF2B5EF4-FFF2-40B4-BE49-F238E27FC236}">
                <a16:creationId xmlns:a16="http://schemas.microsoft.com/office/drawing/2014/main" id="{FCCB28E9-57C2-6F42-8FC3-2BC3B58EA961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482736" y="4619671"/>
            <a:ext cx="2398687" cy="401637"/>
          </a:xfrm>
        </p:spPr>
        <p:txBody>
          <a:bodyPr/>
          <a:lstStyle/>
          <a:p>
            <a:r>
              <a:rPr lang="en-US" b="1" dirty="0">
                <a:latin typeface="+mn-lt"/>
              </a:rPr>
              <a:t>Weekly Report CW</a:t>
            </a:r>
          </a:p>
        </p:txBody>
      </p:sp>
      <p:pic>
        <p:nvPicPr>
          <p:cNvPr id="10" name="Kép 10">
            <a:extLst>
              <a:ext uri="{FF2B5EF4-FFF2-40B4-BE49-F238E27FC236}">
                <a16:creationId xmlns:a16="http://schemas.microsoft.com/office/drawing/2014/main" id="{9C6F8094-D964-818A-FF05-00FCA869979D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colorTemperature colorTemp="7025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467203" y="1333241"/>
            <a:ext cx="4770308" cy="4277799"/>
          </a:xfrm>
          <a:prstGeom prst="rect">
            <a:avLst/>
          </a:prstGeom>
        </p:spPr>
      </p:pic>
      <p:pic>
        <p:nvPicPr>
          <p:cNvPr id="11" name="Picture 10" descr="A yellow and black logo&#10;&#10;AI-generated content may be incorrect.">
            <a:extLst>
              <a:ext uri="{FF2B5EF4-FFF2-40B4-BE49-F238E27FC236}">
                <a16:creationId xmlns:a16="http://schemas.microsoft.com/office/drawing/2014/main" id="{ACB54535-E91A-717A-FE50-2F7D63F63F6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294303" y="6329027"/>
            <a:ext cx="314937" cy="322217"/>
          </a:xfrm>
          <a:prstGeom prst="rect">
            <a:avLst/>
          </a:prstGeom>
        </p:spPr>
      </p:pic>
      <p:pic>
        <p:nvPicPr>
          <p:cNvPr id="1028" name="Picture 4" descr="Karcher Logo, symbol, meaning, history, PNG, brand">
            <a:extLst>
              <a:ext uri="{FF2B5EF4-FFF2-40B4-BE49-F238E27FC236}">
                <a16:creationId xmlns:a16="http://schemas.microsoft.com/office/drawing/2014/main" id="{B5F68519-B057-FD0C-1DE7-E12705B331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8718" y="97089"/>
            <a:ext cx="2196209" cy="12361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CWPlaceHolder">
            <a:extLst>
              <a:ext uri="{FF2B5EF4-FFF2-40B4-BE49-F238E27FC236}">
                <a16:creationId xmlns:a16="http://schemas.microsoft.com/office/drawing/2014/main" id="{E97790D4-CF56-9FAE-B9B3-6E15C8BC9DC9}"/>
              </a:ext>
            </a:extLst>
          </p:cNvPr>
          <p:cNvSpPr txBox="1"/>
          <p:nvPr/>
        </p:nvSpPr>
        <p:spPr>
          <a:xfrm>
            <a:off x="2881423" y="4544332"/>
            <a:ext cx="2126896" cy="402546"/>
          </a:xfrm>
          <a:prstGeom prst="rect">
            <a:avLst/>
          </a:prstGeom>
        </p:spPr>
        <p:txBody>
          <a:bodyPr vert="horz" lIns="0" tIns="45720" rIns="91440" bIns="45720" rtlCol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None/>
              <a:defRPr sz="18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None/>
              <a:defRPr sz="20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None/>
              <a:defRPr sz="18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None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None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Open Sauce One"/>
              </a:rPr>
              <a:t>#placeholder</a:t>
            </a:r>
            <a:endParaRPr lang="en-US" dirty="0"/>
          </a:p>
        </p:txBody>
      </p:sp>
      <p:sp>
        <p:nvSpPr>
          <p:cNvPr id="8" name="Szöveg helye 3">
            <a:extLst>
              <a:ext uri="{FF2B5EF4-FFF2-40B4-BE49-F238E27FC236}">
                <a16:creationId xmlns:a16="http://schemas.microsoft.com/office/drawing/2014/main" id="{BAB1092B-A95A-F78B-6ECA-8ED8AF8A3615}"/>
              </a:ext>
            </a:extLst>
          </p:cNvPr>
          <p:cNvSpPr txBox="1">
            <a:spLocks/>
          </p:cNvSpPr>
          <p:nvPr/>
        </p:nvSpPr>
        <p:spPr>
          <a:xfrm>
            <a:off x="407988" y="5795184"/>
            <a:ext cx="5688012" cy="333617"/>
          </a:xfrm>
          <a:prstGeom prst="rect">
            <a:avLst/>
          </a:prstGeom>
        </p:spPr>
        <p:txBody>
          <a:bodyPr/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January 202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757872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>
          <a:extLst>
            <a:ext uri="{FF2B5EF4-FFF2-40B4-BE49-F238E27FC236}">
              <a16:creationId xmlns:a16="http://schemas.microsoft.com/office/drawing/2014/main" id="{CF6E8BA0-02A8-7641-1BDA-3166A64766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2D9FF23-5D67-A117-5056-05A52F1E8A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srgbClr val="2E2E38"/>
                </a:solidFill>
              </a:rPr>
              <a:t>Page </a:t>
            </a:r>
            <a:fld id="{F1BC30E3-FFE5-4B91-AA19-87A149EBB9EE}" type="slidenum">
              <a:rPr lang="en-US">
                <a:solidFill>
                  <a:srgbClr val="2E2E38"/>
                </a:solidFill>
              </a:rPr>
              <a:pPr/>
              <a:t>10</a:t>
            </a:fld>
            <a:endParaRPr lang="en-US" dirty="0">
              <a:solidFill>
                <a:srgbClr val="2E2E38"/>
              </a:solidFill>
            </a:endParaRPr>
          </a:p>
        </p:txBody>
      </p:sp>
      <p:sp>
        <p:nvSpPr>
          <p:cNvPr id="10" name="Tartalom helye 4">
            <a:extLst>
              <a:ext uri="{FF2B5EF4-FFF2-40B4-BE49-F238E27FC236}">
                <a16:creationId xmlns:a16="http://schemas.microsoft.com/office/drawing/2014/main" id="{C83C0B97-313B-A81F-8E2C-6A99786CCCA8}"/>
              </a:ext>
            </a:extLst>
          </p:cNvPr>
          <p:cNvSpPr txBox="1">
            <a:spLocks/>
          </p:cNvSpPr>
          <p:nvPr/>
        </p:nvSpPr>
        <p:spPr>
          <a:xfrm>
            <a:off x="407987" y="389446"/>
            <a:ext cx="11341099" cy="391374"/>
          </a:xfrm>
          <a:prstGeom prst="rect">
            <a:avLst/>
          </a:prstGeom>
        </p:spPr>
        <p:txBody>
          <a:bodyPr/>
          <a:lstStyle>
            <a:lvl1pPr marL="0" marR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 kumimoji="0" lang="de-DE" sz="1999" b="0" i="0" u="none" strike="noStrike" kern="120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271327" marR="0" indent="-271327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kumimoji="0" lang="de-DE" sz="1999" b="0" i="0" u="none" strike="noStrike" kern="120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510919" marR="0" indent="-233246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kumimoji="0" lang="de-DE" sz="1799" b="0" i="0" u="none" strike="noStrike" kern="120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745752" marR="0" indent="-231659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kumimoji="0" lang="de-DE" sz="1599" b="0" i="0" u="none" strike="noStrike" kern="120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944091" marR="0" indent="-201512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kumimoji="0" lang="de-DE" sz="1399" b="0" i="0" u="none" strike="noStrike" kern="120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b="1" dirty="0"/>
              <a:t>Agenda</a:t>
            </a:r>
            <a:endParaRPr lang="en-US" b="1" dirty="0"/>
          </a:p>
          <a:p>
            <a:endParaRPr lang="en-US" dirty="0"/>
          </a:p>
        </p:txBody>
      </p:sp>
      <p:sp>
        <p:nvSpPr>
          <p:cNvPr id="8" name="Lekerekített téglalap 11">
            <a:extLst>
              <a:ext uri="{FF2B5EF4-FFF2-40B4-BE49-F238E27FC236}">
                <a16:creationId xmlns:a16="http://schemas.microsoft.com/office/drawing/2014/main" id="{EF0A4B02-8912-24BD-13B4-D36EFC54CA95}"/>
              </a:ext>
            </a:extLst>
          </p:cNvPr>
          <p:cNvSpPr/>
          <p:nvPr/>
        </p:nvSpPr>
        <p:spPr>
          <a:xfrm>
            <a:off x="407988" y="1274164"/>
            <a:ext cx="9862683" cy="417080"/>
          </a:xfrm>
          <a:prstGeom prst="roundRect">
            <a:avLst>
              <a:gd name="adj" fmla="val 11614"/>
            </a:avLst>
          </a:prstGeom>
          <a:solidFill>
            <a:schemeClr val="tx1">
              <a:lumMod val="95000"/>
            </a:schemeClr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solidFill>
                  <a:schemeClr val="bg1"/>
                </a:solidFill>
                <a:latin typeface="Open Sauce One" pitchFamily="2" charset="0"/>
              </a:rPr>
              <a:t>RAID (Risks, Actions, Issues &amp; Decisions) </a:t>
            </a:r>
            <a:r>
              <a:rPr lang="en-US" sz="1400" dirty="0">
                <a:solidFill>
                  <a:schemeClr val="bg1"/>
                </a:solidFill>
              </a:rPr>
              <a:t>Follow-up</a:t>
            </a:r>
          </a:p>
        </p:txBody>
      </p:sp>
      <p:sp>
        <p:nvSpPr>
          <p:cNvPr id="12" name="Lekerekített téglalap 10">
            <a:extLst>
              <a:ext uri="{FF2B5EF4-FFF2-40B4-BE49-F238E27FC236}">
                <a16:creationId xmlns:a16="http://schemas.microsoft.com/office/drawing/2014/main" id="{532027A0-1521-4F23-E3F3-CD12E455DFEA}"/>
              </a:ext>
            </a:extLst>
          </p:cNvPr>
          <p:cNvSpPr/>
          <p:nvPr/>
        </p:nvSpPr>
        <p:spPr>
          <a:xfrm>
            <a:off x="407986" y="1810583"/>
            <a:ext cx="9862683" cy="417080"/>
          </a:xfrm>
          <a:prstGeom prst="roundRect">
            <a:avLst>
              <a:gd name="adj" fmla="val 8975"/>
            </a:avLst>
          </a:prstGeom>
          <a:solidFill>
            <a:schemeClr val="tx1">
              <a:lumMod val="95000"/>
            </a:schemeClr>
          </a:solidFill>
          <a:ln w="12700" cap="flat" cmpd="sng" algn="ctr">
            <a:solidFill>
              <a:schemeClr val="tx2"/>
            </a:solidFill>
            <a:prstDash val="solid"/>
            <a:miter lim="800000"/>
          </a:ln>
          <a:effectLst>
            <a:outerShdw blurRad="762000" dist="76200" dir="5400000" sx="95049" sy="95049" algn="t" rotWithShape="0">
              <a:srgbClr val="030436">
                <a:alpha val="20000"/>
              </a:srgbClr>
            </a:outerShdw>
          </a:effectLst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solidFill>
                  <a:srgbClr val="030436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t>Project Status &amp; Timeline Review</a:t>
            </a:r>
          </a:p>
        </p:txBody>
      </p:sp>
      <p:sp>
        <p:nvSpPr>
          <p:cNvPr id="13" name="Lekerekített téglalap 16">
            <a:extLst>
              <a:ext uri="{FF2B5EF4-FFF2-40B4-BE49-F238E27FC236}">
                <a16:creationId xmlns:a16="http://schemas.microsoft.com/office/drawing/2014/main" id="{F5B3B239-BA5E-70B2-FB64-636063BE09A0}"/>
              </a:ext>
            </a:extLst>
          </p:cNvPr>
          <p:cNvSpPr/>
          <p:nvPr/>
        </p:nvSpPr>
        <p:spPr>
          <a:xfrm>
            <a:off x="407986" y="2352039"/>
            <a:ext cx="9862683" cy="417080"/>
          </a:xfrm>
          <a:prstGeom prst="roundRect">
            <a:avLst>
              <a:gd name="adj" fmla="val 8975"/>
            </a:avLst>
          </a:prstGeom>
          <a:solidFill>
            <a:schemeClr val="tx2"/>
          </a:solidFill>
          <a:ln w="12700" cap="flat" cmpd="sng" algn="ctr">
            <a:solidFill>
              <a:schemeClr val="tx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ea typeface="+mn-ea"/>
                <a:cs typeface="+mn-cs"/>
              </a:rPr>
              <a:t>Highlight Topics</a:t>
            </a:r>
          </a:p>
        </p:txBody>
      </p:sp>
    </p:spTree>
    <p:extLst>
      <p:ext uri="{BB962C8B-B14F-4D97-AF65-F5344CB8AC3E}">
        <p14:creationId xmlns:p14="http://schemas.microsoft.com/office/powerpoint/2010/main" val="127427611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C05974-1DC6-EC48-A2B5-2B3BD14C5E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Körszelet 4">
            <a:extLst>
              <a:ext uri="{FF2B5EF4-FFF2-40B4-BE49-F238E27FC236}">
                <a16:creationId xmlns:a16="http://schemas.microsoft.com/office/drawing/2014/main" id="{FEF1D752-B369-E3BE-85CD-DC8FB9A19749}"/>
              </a:ext>
            </a:extLst>
          </p:cNvPr>
          <p:cNvSpPr/>
          <p:nvPr/>
        </p:nvSpPr>
        <p:spPr>
          <a:xfrm>
            <a:off x="8520693" y="2151010"/>
            <a:ext cx="4302177" cy="4302177"/>
          </a:xfrm>
          <a:prstGeom prst="chord">
            <a:avLst>
              <a:gd name="adj1" fmla="val 2700000"/>
              <a:gd name="adj2" fmla="val 18918683"/>
            </a:avLst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FE397EB4-9D75-479E-E220-D5396F2CC7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E397EB4-9D75-479E-E220-D5396F2CC7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3742C340-C45C-B116-8872-F46F347CA3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en-US" dirty="0"/>
          </a:p>
          <a:p>
            <a:r>
              <a:rPr lang="en-US" dirty="0"/>
              <a:t>Page 11</a:t>
            </a:r>
          </a:p>
          <a:p>
            <a:endParaRPr lang="en-US" dirty="0"/>
          </a:p>
        </p:txBody>
      </p:sp>
      <p:sp>
        <p:nvSpPr>
          <p:cNvPr id="5" name="Cím 1">
            <a:extLst>
              <a:ext uri="{FF2B5EF4-FFF2-40B4-BE49-F238E27FC236}">
                <a16:creationId xmlns:a16="http://schemas.microsoft.com/office/drawing/2014/main" id="{E3678682-B719-B9D9-B627-2C174369E914}"/>
              </a:ext>
            </a:extLst>
          </p:cNvPr>
          <p:cNvSpPr txBox="1">
            <a:spLocks/>
          </p:cNvSpPr>
          <p:nvPr/>
        </p:nvSpPr>
        <p:spPr>
          <a:xfrm>
            <a:off x="407988" y="404813"/>
            <a:ext cx="11341100" cy="1015663"/>
          </a:xfrm>
          <a:prstGeom prst="rect">
            <a:avLst/>
          </a:prstGeom>
        </p:spPr>
        <p:txBody>
          <a:bodyPr vert="horz" lIns="0" tIns="45720" rIns="91440" bIns="4572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1" kern="1200">
                <a:solidFill>
                  <a:schemeClr val="tx2"/>
                </a:solidFill>
                <a:latin typeface="Open Sauce One" pitchFamily="2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1" i="0" u="none" strike="noStrike" kern="1200" cap="none" spc="0" normalizeH="0" baseline="0" noProof="0">
                <a:ln>
                  <a:noFill/>
                </a:ln>
                <a:solidFill>
                  <a:srgbClr val="030436"/>
                </a:solidFill>
                <a:effectLst/>
                <a:uLnTx/>
                <a:uFillTx/>
                <a:latin typeface="Open Sauce One" pitchFamily="2" charset="0"/>
                <a:ea typeface="+mj-ea"/>
                <a:cs typeface="+mj-cs"/>
              </a:rPr>
              <a:t>Thank you</a:t>
            </a:r>
            <a:endParaRPr kumimoji="0" lang="en-US" sz="6000" b="1" i="0" u="none" strike="noStrike" kern="1200" cap="none" spc="0" normalizeH="0" baseline="0" noProof="0" dirty="0">
              <a:ln>
                <a:noFill/>
              </a:ln>
              <a:solidFill>
                <a:srgbClr val="030436"/>
              </a:solidFill>
              <a:effectLst/>
              <a:uLnTx/>
              <a:uFillTx/>
              <a:latin typeface="Open Sauce One" pitchFamily="2" charset="0"/>
              <a:ea typeface="+mj-ea"/>
              <a:cs typeface="+mj-cs"/>
            </a:endParaRPr>
          </a:p>
        </p:txBody>
      </p:sp>
      <p:pic>
        <p:nvPicPr>
          <p:cNvPr id="7" name="Kép 11">
            <a:extLst>
              <a:ext uri="{FF2B5EF4-FFF2-40B4-BE49-F238E27FC236}">
                <a16:creationId xmlns:a16="http://schemas.microsoft.com/office/drawing/2014/main" id="{6C6DE117-8234-E67D-1AF4-636ADBC0D0A6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763" t="6044" r="-763" b="17452"/>
          <a:stretch/>
        </p:blipFill>
        <p:spPr>
          <a:xfrm>
            <a:off x="503904" y="1887433"/>
            <a:ext cx="1566351" cy="1541567"/>
          </a:xfrm>
          <a:prstGeom prst="flowChartConnector">
            <a:avLst/>
          </a:prstGeom>
        </p:spPr>
      </p:pic>
      <p:sp>
        <p:nvSpPr>
          <p:cNvPr id="10" name="Rechteck 6">
            <a:extLst>
              <a:ext uri="{FF2B5EF4-FFF2-40B4-BE49-F238E27FC236}">
                <a16:creationId xmlns:a16="http://schemas.microsoft.com/office/drawing/2014/main" id="{C8F09839-62B9-5474-C4BD-E802DC57D7E7}"/>
              </a:ext>
            </a:extLst>
          </p:cNvPr>
          <p:cNvSpPr/>
          <p:nvPr/>
        </p:nvSpPr>
        <p:spPr>
          <a:xfrm>
            <a:off x="407988" y="3590217"/>
            <a:ext cx="3000846" cy="16699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de-DE" b="1" dirty="0">
                <a:solidFill>
                  <a:schemeClr val="bg2"/>
                </a:solidFill>
              </a:rPr>
              <a:t>Michael Schütz</a:t>
            </a:r>
            <a:endParaRPr lang="de-DE" dirty="0">
              <a:solidFill>
                <a:schemeClr val="bg2"/>
              </a:solidFill>
            </a:endParaRPr>
          </a:p>
          <a:p>
            <a:pPr>
              <a:lnSpc>
                <a:spcPct val="150000"/>
              </a:lnSpc>
              <a:defRPr/>
            </a:pPr>
            <a:r>
              <a:rPr lang="de-DE" sz="1200" dirty="0">
                <a:solidFill>
                  <a:schemeClr val="bg2"/>
                </a:solidFill>
              </a:rPr>
              <a:t>Project Manager</a:t>
            </a:r>
          </a:p>
          <a:p>
            <a:pPr>
              <a:lnSpc>
                <a:spcPct val="150000"/>
              </a:lnSpc>
              <a:defRPr/>
            </a:pPr>
            <a:r>
              <a:rPr lang="de-DE" sz="1200" dirty="0">
                <a:solidFill>
                  <a:schemeClr val="bg2"/>
                </a:solidFill>
              </a:rPr>
              <a:t>Michael.Schuetz@de.ey.com</a:t>
            </a:r>
          </a:p>
          <a:p>
            <a:pPr>
              <a:lnSpc>
                <a:spcPct val="150000"/>
              </a:lnSpc>
              <a:defRPr/>
            </a:pPr>
            <a:r>
              <a:rPr lang="de-DE" sz="1200" dirty="0">
                <a:solidFill>
                  <a:schemeClr val="bg2"/>
                </a:solidFill>
              </a:rPr>
              <a:t>+49 (0) 160 939 22494</a:t>
            </a:r>
          </a:p>
          <a:p>
            <a:pPr>
              <a:lnSpc>
                <a:spcPct val="150000"/>
              </a:lnSpc>
              <a:defRPr/>
            </a:pPr>
            <a:endParaRPr lang="de-DE" sz="1600" dirty="0">
              <a:solidFill>
                <a:srgbClr val="FFFFFF"/>
              </a:solidFill>
              <a:latin typeface="Open Sauce One" pitchFamily="2" charset="0"/>
            </a:endParaRPr>
          </a:p>
        </p:txBody>
      </p:sp>
      <p:pic>
        <p:nvPicPr>
          <p:cNvPr id="11" name="Kép 11">
            <a:extLst>
              <a:ext uri="{FF2B5EF4-FFF2-40B4-BE49-F238E27FC236}">
                <a16:creationId xmlns:a16="http://schemas.microsoft.com/office/drawing/2014/main" id="{B3F426AE-5DB3-C8A6-904C-30ADB40F9FFF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-659" t="4299" r="659" b="31283"/>
          <a:stretch/>
        </p:blipFill>
        <p:spPr>
          <a:xfrm>
            <a:off x="2914985" y="1905721"/>
            <a:ext cx="1566351" cy="1514478"/>
          </a:xfrm>
          <a:prstGeom prst="ellipse">
            <a:avLst/>
          </a:prstGeom>
        </p:spPr>
      </p:pic>
      <p:sp>
        <p:nvSpPr>
          <p:cNvPr id="12" name="Rechteck 6">
            <a:extLst>
              <a:ext uri="{FF2B5EF4-FFF2-40B4-BE49-F238E27FC236}">
                <a16:creationId xmlns:a16="http://schemas.microsoft.com/office/drawing/2014/main" id="{932F8790-925D-72FA-CAA7-9D72D68DE813}"/>
              </a:ext>
            </a:extLst>
          </p:cNvPr>
          <p:cNvSpPr/>
          <p:nvPr/>
        </p:nvSpPr>
        <p:spPr>
          <a:xfrm>
            <a:off x="2831026" y="3590217"/>
            <a:ext cx="2344478" cy="16699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de-DE" b="1" dirty="0">
                <a:solidFill>
                  <a:schemeClr val="bg2"/>
                </a:solidFill>
                <a:latin typeface="Open Sauce One" pitchFamily="2" charset="0"/>
              </a:rPr>
              <a:t>Ly</a:t>
            </a:r>
            <a:r>
              <a:rPr lang="de-DE" b="1" dirty="0" err="1">
                <a:solidFill>
                  <a:schemeClr val="bg2"/>
                </a:solidFill>
                <a:latin typeface="Open Sauce One" pitchFamily="2" charset="0"/>
              </a:rPr>
              <a:t>nn</a:t>
            </a:r>
            <a:r>
              <a:rPr lang="de-DE" b="1" dirty="0">
                <a:solidFill>
                  <a:schemeClr val="bg2"/>
                </a:solidFill>
                <a:latin typeface="Open Sauce One" pitchFamily="2" charset="0"/>
              </a:rPr>
              <a:t> Fiedler</a:t>
            </a:r>
            <a:endParaRPr lang="de-DE" dirty="0">
              <a:solidFill>
                <a:schemeClr val="bg2"/>
              </a:solidFill>
              <a:latin typeface="Open Sauce One" pitchFamily="2" charset="0"/>
            </a:endParaRPr>
          </a:p>
          <a:p>
            <a:pPr>
              <a:lnSpc>
                <a:spcPct val="150000"/>
              </a:lnSpc>
              <a:defRPr/>
            </a:pPr>
            <a:r>
              <a:rPr lang="de-DE" sz="1200" dirty="0">
                <a:solidFill>
                  <a:schemeClr val="bg2"/>
                </a:solidFill>
              </a:rPr>
              <a:t>CoE &amp; Accounts Payable Expert</a:t>
            </a:r>
          </a:p>
          <a:p>
            <a:pPr>
              <a:lnSpc>
                <a:spcPct val="150000"/>
              </a:lnSpc>
              <a:defRPr/>
            </a:pPr>
            <a:r>
              <a:rPr lang="de-DE" sz="1200" dirty="0">
                <a:solidFill>
                  <a:schemeClr val="bg2"/>
                </a:solidFill>
              </a:rPr>
              <a:t>Lynn.Fiedler@de.ey.com</a:t>
            </a:r>
          </a:p>
          <a:p>
            <a:pPr>
              <a:lnSpc>
                <a:spcPct val="150000"/>
              </a:lnSpc>
              <a:defRPr/>
            </a:pPr>
            <a:r>
              <a:rPr lang="de-DE" sz="1200" dirty="0">
                <a:solidFill>
                  <a:schemeClr val="bg2"/>
                </a:solidFill>
              </a:rPr>
              <a:t>+49 (0) 160 939 29898</a:t>
            </a:r>
            <a:br>
              <a:rPr lang="de-DE" sz="1200" dirty="0">
                <a:solidFill>
                  <a:srgbClr val="030436"/>
                </a:solidFill>
                <a:latin typeface="Open Sauce One" pitchFamily="2" charset="0"/>
              </a:rPr>
            </a:br>
            <a:endParaRPr lang="de-DE" sz="1600" dirty="0">
              <a:solidFill>
                <a:srgbClr val="FFFFFF"/>
              </a:solidFill>
              <a:latin typeface="Open Sauce One" pitchFamily="2" charset="0"/>
            </a:endParaRPr>
          </a:p>
        </p:txBody>
      </p:sp>
      <p:pic>
        <p:nvPicPr>
          <p:cNvPr id="13" name="Kép 2">
            <a:extLst>
              <a:ext uri="{FF2B5EF4-FFF2-40B4-BE49-F238E27FC236}">
                <a16:creationId xmlns:a16="http://schemas.microsoft.com/office/drawing/2014/main" id="{63D28F4D-3BF0-23D0-14CF-8702B5CB4EA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018652" y="3154146"/>
            <a:ext cx="3718491" cy="3470223"/>
          </a:xfrm>
          <a:prstGeom prst="rect">
            <a:avLst/>
          </a:prstGeom>
        </p:spPr>
      </p:pic>
      <p:pic>
        <p:nvPicPr>
          <p:cNvPr id="2" name="Kép 11">
            <a:extLst>
              <a:ext uri="{FF2B5EF4-FFF2-40B4-BE49-F238E27FC236}">
                <a16:creationId xmlns:a16="http://schemas.microsoft.com/office/drawing/2014/main" id="{640730C1-76CB-83EC-C016-3F686112178C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t="22806" b="22806"/>
          <a:stretch/>
        </p:blipFill>
        <p:spPr>
          <a:xfrm>
            <a:off x="5466867" y="1887433"/>
            <a:ext cx="1566351" cy="1514478"/>
          </a:xfrm>
          <a:prstGeom prst="ellipse">
            <a:avLst/>
          </a:prstGeom>
        </p:spPr>
      </p:pic>
      <p:sp>
        <p:nvSpPr>
          <p:cNvPr id="3" name="Rechteck 6">
            <a:extLst>
              <a:ext uri="{FF2B5EF4-FFF2-40B4-BE49-F238E27FC236}">
                <a16:creationId xmlns:a16="http://schemas.microsoft.com/office/drawing/2014/main" id="{0695BF05-627C-54C9-FA37-B370F1315968}"/>
              </a:ext>
            </a:extLst>
          </p:cNvPr>
          <p:cNvSpPr/>
          <p:nvPr/>
        </p:nvSpPr>
        <p:spPr>
          <a:xfrm>
            <a:off x="5382908" y="3571929"/>
            <a:ext cx="2892412" cy="13094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de-DE" b="1" dirty="0">
                <a:solidFill>
                  <a:schemeClr val="bg2"/>
                </a:solidFill>
                <a:latin typeface="Open Sauce One" pitchFamily="2" charset="0"/>
              </a:rPr>
              <a:t>Junior Alexis Perez Mendez</a:t>
            </a:r>
            <a:endParaRPr lang="de-DE" dirty="0">
              <a:solidFill>
                <a:schemeClr val="bg2"/>
              </a:solidFill>
              <a:latin typeface="Open Sauce One" pitchFamily="2" charset="0"/>
            </a:endParaRPr>
          </a:p>
          <a:p>
            <a:pPr>
              <a:lnSpc>
                <a:spcPct val="150000"/>
              </a:lnSpc>
              <a:defRPr/>
            </a:pPr>
            <a:r>
              <a:rPr lang="de-DE" sz="1200" dirty="0">
                <a:solidFill>
                  <a:schemeClr val="bg2"/>
                </a:solidFill>
              </a:rPr>
              <a:t>CoE &amp; Accounts Payable Expert</a:t>
            </a:r>
          </a:p>
          <a:p>
            <a:pPr>
              <a:lnSpc>
                <a:spcPct val="150000"/>
              </a:lnSpc>
              <a:defRPr/>
            </a:pPr>
            <a:r>
              <a:rPr lang="de-DE" sz="1200" dirty="0">
                <a:solidFill>
                  <a:schemeClr val="bg2"/>
                </a:solidFill>
              </a:rPr>
              <a:t>Junior.Alexis.Perez.Mendez@de.ey.com+49 (0) 160 939 13951</a:t>
            </a:r>
            <a:endParaRPr lang="de-DE" sz="1600" dirty="0">
              <a:solidFill>
                <a:srgbClr val="FFFFFF"/>
              </a:solidFill>
              <a:latin typeface="Open Sauce One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53037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9270F2-E721-15E3-D776-9C53A5D6E5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E9BFF3DF-89DF-274E-8291-07E5B4D4B23F}"/>
              </a:ext>
            </a:extLst>
          </p:cNvPr>
          <p:cNvSpPr/>
          <p:nvPr/>
        </p:nvSpPr>
        <p:spPr>
          <a:xfrm>
            <a:off x="8194766" y="0"/>
            <a:ext cx="3997234" cy="6858000"/>
          </a:xfrm>
          <a:prstGeom prst="rect">
            <a:avLst/>
          </a:prstGeom>
          <a:solidFill>
            <a:schemeClr val="tx1">
              <a:lumMod val="95000"/>
            </a:schemeClr>
          </a:solidFill>
          <a:ln w="12700" cap="sq" cmpd="sng" algn="ctr">
            <a:noFill/>
            <a:prstDash val="solid"/>
            <a:miter lim="800000"/>
            <a:tailEnd type="none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</a:endParaRPr>
          </a:p>
        </p:txBody>
      </p:sp>
      <p:pic>
        <p:nvPicPr>
          <p:cNvPr id="8" name="Kép 7">
            <a:extLst>
              <a:ext uri="{FF2B5EF4-FFF2-40B4-BE49-F238E27FC236}">
                <a16:creationId xmlns:a16="http://schemas.microsoft.com/office/drawing/2014/main" id="{3D90ED3D-76C6-2707-E0CF-07F1D58B0DA2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1274" y="700278"/>
            <a:ext cx="5959642" cy="5959642"/>
          </a:xfrm>
          <a:prstGeom prst="rect">
            <a:avLst/>
          </a:prstGeom>
        </p:spPr>
      </p:pic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A407A4ED-51EC-6EEB-713A-42FFE3D7A20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407A4ED-51EC-6EEB-713A-42FFE3D7A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93DFA5D2-ED26-8720-170D-06B594163B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en-US" dirty="0"/>
          </a:p>
          <a:p>
            <a:r>
              <a:rPr lang="en-US" dirty="0"/>
              <a:t>Page 2</a:t>
            </a:r>
          </a:p>
          <a:p>
            <a:endParaRPr lang="en-US" dirty="0"/>
          </a:p>
        </p:txBody>
      </p:sp>
      <p:pic>
        <p:nvPicPr>
          <p:cNvPr id="7" name="Picture 6" descr="A yellow and black logo&#10;&#10;AI-generated content may be incorrect.">
            <a:extLst>
              <a:ext uri="{FF2B5EF4-FFF2-40B4-BE49-F238E27FC236}">
                <a16:creationId xmlns:a16="http://schemas.microsoft.com/office/drawing/2014/main" id="{B7FD4A54-8C75-EB48-A666-77237399453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294303" y="6329027"/>
            <a:ext cx="314937" cy="322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483310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>
          <a:extLst>
            <a:ext uri="{FF2B5EF4-FFF2-40B4-BE49-F238E27FC236}">
              <a16:creationId xmlns:a16="http://schemas.microsoft.com/office/drawing/2014/main" id="{27B1D2EC-1B9A-7743-A50A-6A815FDA99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344208F-584A-4B0D-42D4-AD84806C97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rgbClr val="2E2E38"/>
                </a:solidFill>
              </a:rPr>
              <a:t>Page </a:t>
            </a:r>
            <a:fld id="{F1BC30E3-FFE5-4B91-AA19-87A149EBB9EE}" type="slidenum">
              <a:rPr lang="en-US">
                <a:solidFill>
                  <a:srgbClr val="2E2E38"/>
                </a:solidFill>
              </a:rPr>
              <a:pPr/>
              <a:t>3</a:t>
            </a:fld>
            <a:endParaRPr lang="en-US" dirty="0">
              <a:solidFill>
                <a:srgbClr val="2E2E38"/>
              </a:solidFill>
            </a:endParaRPr>
          </a:p>
        </p:txBody>
      </p:sp>
      <p:sp>
        <p:nvSpPr>
          <p:cNvPr id="10" name="Tartalom helye 4">
            <a:extLst>
              <a:ext uri="{FF2B5EF4-FFF2-40B4-BE49-F238E27FC236}">
                <a16:creationId xmlns:a16="http://schemas.microsoft.com/office/drawing/2014/main" id="{44A3AF01-970C-8AAE-07A2-CF3703EED274}"/>
              </a:ext>
            </a:extLst>
          </p:cNvPr>
          <p:cNvSpPr txBox="1">
            <a:spLocks/>
          </p:cNvSpPr>
          <p:nvPr/>
        </p:nvSpPr>
        <p:spPr>
          <a:xfrm>
            <a:off x="407987" y="389446"/>
            <a:ext cx="11341099" cy="391374"/>
          </a:xfrm>
          <a:prstGeom prst="rect">
            <a:avLst/>
          </a:prstGeom>
        </p:spPr>
        <p:txBody>
          <a:bodyPr/>
          <a:lstStyle>
            <a:lvl1pPr marL="0" marR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 kumimoji="0" lang="de-DE" sz="1999" b="0" i="0" u="none" strike="noStrike" kern="120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271327" marR="0" indent="-271327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kumimoji="0" lang="de-DE" sz="1999" b="0" i="0" u="none" strike="noStrike" kern="120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510919" marR="0" indent="-233246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kumimoji="0" lang="de-DE" sz="1799" b="0" i="0" u="none" strike="noStrike" kern="120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745752" marR="0" indent="-231659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kumimoji="0" lang="de-DE" sz="1599" b="0" i="0" u="none" strike="noStrike" kern="120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944091" marR="0" indent="-201512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kumimoji="0" lang="de-DE" sz="1399" b="0" i="0" u="none" strike="noStrike" kern="120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b="1" dirty="0"/>
              <a:t>Agenda</a:t>
            </a:r>
            <a:endParaRPr lang="en-US" b="1" dirty="0"/>
          </a:p>
          <a:p>
            <a:endParaRPr lang="en-US" dirty="0"/>
          </a:p>
        </p:txBody>
      </p:sp>
      <p:sp>
        <p:nvSpPr>
          <p:cNvPr id="8" name="Lekerekített téglalap 11">
            <a:extLst>
              <a:ext uri="{FF2B5EF4-FFF2-40B4-BE49-F238E27FC236}">
                <a16:creationId xmlns:a16="http://schemas.microsoft.com/office/drawing/2014/main" id="{5F7537E2-4BB5-4DE4-C53C-3E75849302DC}"/>
              </a:ext>
            </a:extLst>
          </p:cNvPr>
          <p:cNvSpPr/>
          <p:nvPr/>
        </p:nvSpPr>
        <p:spPr>
          <a:xfrm>
            <a:off x="407988" y="1274164"/>
            <a:ext cx="9862683" cy="417080"/>
          </a:xfrm>
          <a:prstGeom prst="roundRect">
            <a:avLst>
              <a:gd name="adj" fmla="val 11614"/>
            </a:avLst>
          </a:prstGeom>
          <a:solidFill>
            <a:schemeClr val="tx2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chemeClr val="bg1"/>
                </a:solidFill>
              </a:rPr>
              <a:t>RAID (Risks, Actions, Issues &amp; Decisions) Follow-up</a:t>
            </a:r>
          </a:p>
        </p:txBody>
      </p:sp>
      <p:sp>
        <p:nvSpPr>
          <p:cNvPr id="12" name="Lekerekített téglalap 10">
            <a:extLst>
              <a:ext uri="{FF2B5EF4-FFF2-40B4-BE49-F238E27FC236}">
                <a16:creationId xmlns:a16="http://schemas.microsoft.com/office/drawing/2014/main" id="{135FF93D-CC21-283D-C6FE-83F26B5AFE79}"/>
              </a:ext>
            </a:extLst>
          </p:cNvPr>
          <p:cNvSpPr/>
          <p:nvPr/>
        </p:nvSpPr>
        <p:spPr>
          <a:xfrm>
            <a:off x="407986" y="1810583"/>
            <a:ext cx="9862683" cy="417080"/>
          </a:xfrm>
          <a:prstGeom prst="roundRect">
            <a:avLst>
              <a:gd name="adj" fmla="val 8975"/>
            </a:avLst>
          </a:prstGeom>
          <a:solidFill>
            <a:schemeClr val="tx1">
              <a:lumMod val="95000"/>
            </a:schemeClr>
          </a:solidFill>
          <a:ln w="12700" cap="flat" cmpd="sng" algn="ctr">
            <a:solidFill>
              <a:schemeClr val="tx2"/>
            </a:solidFill>
            <a:prstDash val="solid"/>
            <a:miter lim="800000"/>
          </a:ln>
          <a:effectLst>
            <a:outerShdw blurRad="762000" dist="76200" dir="5400000" sx="95049" sy="95049" algn="t" rotWithShape="0">
              <a:srgbClr val="030436">
                <a:alpha val="20000"/>
              </a:srgbClr>
            </a:outerShdw>
          </a:effectLst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solidFill>
                  <a:srgbClr val="030436"/>
                </a:solidFill>
                <a:effectLst/>
                <a:uLnTx/>
                <a:uFillTx/>
              </a:rPr>
              <a:t>Project Status &amp; Timeline Review</a:t>
            </a:r>
          </a:p>
        </p:txBody>
      </p:sp>
      <p:sp>
        <p:nvSpPr>
          <p:cNvPr id="13" name="Lekerekített téglalap 16">
            <a:extLst>
              <a:ext uri="{FF2B5EF4-FFF2-40B4-BE49-F238E27FC236}">
                <a16:creationId xmlns:a16="http://schemas.microsoft.com/office/drawing/2014/main" id="{1BE994B3-899F-C805-39F5-EA867FA7E4E1}"/>
              </a:ext>
            </a:extLst>
          </p:cNvPr>
          <p:cNvSpPr/>
          <p:nvPr/>
        </p:nvSpPr>
        <p:spPr>
          <a:xfrm>
            <a:off x="407986" y="2352039"/>
            <a:ext cx="9862683" cy="417080"/>
          </a:xfrm>
          <a:prstGeom prst="roundRect">
            <a:avLst>
              <a:gd name="adj" fmla="val 8975"/>
            </a:avLst>
          </a:prstGeom>
          <a:solidFill>
            <a:schemeClr val="tx1">
              <a:lumMod val="95000"/>
            </a:schemeClr>
          </a:solidFill>
          <a:ln w="12700" cap="flat" cmpd="sng" algn="ctr">
            <a:solidFill>
              <a:schemeClr val="tx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ea typeface="+mn-ea"/>
                <a:cs typeface="+mn-cs"/>
              </a:rPr>
              <a:t>Highlight Topics</a:t>
            </a:r>
          </a:p>
        </p:txBody>
      </p:sp>
    </p:spTree>
    <p:extLst>
      <p:ext uri="{BB962C8B-B14F-4D97-AF65-F5344CB8AC3E}">
        <p14:creationId xmlns:p14="http://schemas.microsoft.com/office/powerpoint/2010/main" val="308539102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6D87E6A-51A7-47AB-9E71-4BC18BE720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srgbClr val="2E2E38"/>
                </a:solidFill>
              </a:rPr>
              <a:t>Page </a:t>
            </a:r>
            <a:fld id="{F1BC30E3-FFE5-4B91-AA19-87A149EBB9EE}" type="slidenum">
              <a:rPr lang="en-US">
                <a:solidFill>
                  <a:srgbClr val="2E2E38"/>
                </a:solidFill>
              </a:rPr>
              <a:pPr/>
              <a:t>4</a:t>
            </a:fld>
            <a:endParaRPr lang="en-US" dirty="0">
              <a:solidFill>
                <a:srgbClr val="2E2E38"/>
              </a:solidFill>
            </a:endParaRPr>
          </a:p>
        </p:txBody>
      </p:sp>
      <p:graphicFrame>
        <p:nvGraphicFramePr>
          <p:cNvPr id="6" name="Table 20">
            <a:extLst>
              <a:ext uri="{FF2B5EF4-FFF2-40B4-BE49-F238E27FC236}">
                <a16:creationId xmlns:a16="http://schemas.microsoft.com/office/drawing/2014/main" id="{A1040726-2AA5-221B-C6B6-B51CE83E603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49904951"/>
              </p:ext>
            </p:extLst>
          </p:nvPr>
        </p:nvGraphicFramePr>
        <p:xfrm>
          <a:off x="406268" y="1604864"/>
          <a:ext cx="11379465" cy="3294233"/>
        </p:xfrm>
        <a:graphic>
          <a:graphicData uri="http://schemas.openxmlformats.org/drawingml/2006/table">
            <a:tbl>
              <a:tblPr firstRow="1" bandRow="1"/>
              <a:tblGrid>
                <a:gridCol w="613343">
                  <a:extLst>
                    <a:ext uri="{9D8B030D-6E8A-4147-A177-3AD203B41FA5}">
                      <a16:colId xmlns:a16="http://schemas.microsoft.com/office/drawing/2014/main" val="3287350630"/>
                    </a:ext>
                  </a:extLst>
                </a:gridCol>
                <a:gridCol w="735678">
                  <a:extLst>
                    <a:ext uri="{9D8B030D-6E8A-4147-A177-3AD203B41FA5}">
                      <a16:colId xmlns:a16="http://schemas.microsoft.com/office/drawing/2014/main" val="1514582785"/>
                    </a:ext>
                  </a:extLst>
                </a:gridCol>
                <a:gridCol w="448155">
                  <a:extLst>
                    <a:ext uri="{9D8B030D-6E8A-4147-A177-3AD203B41FA5}">
                      <a16:colId xmlns:a16="http://schemas.microsoft.com/office/drawing/2014/main" val="1751608001"/>
                    </a:ext>
                  </a:extLst>
                </a:gridCol>
                <a:gridCol w="2850870">
                  <a:extLst>
                    <a:ext uri="{9D8B030D-6E8A-4147-A177-3AD203B41FA5}">
                      <a16:colId xmlns:a16="http://schemas.microsoft.com/office/drawing/2014/main" val="401929430"/>
                    </a:ext>
                  </a:extLst>
                </a:gridCol>
                <a:gridCol w="679781">
                  <a:extLst>
                    <a:ext uri="{9D8B030D-6E8A-4147-A177-3AD203B41FA5}">
                      <a16:colId xmlns:a16="http://schemas.microsoft.com/office/drawing/2014/main" val="430674172"/>
                    </a:ext>
                  </a:extLst>
                </a:gridCol>
                <a:gridCol w="635037">
                  <a:extLst>
                    <a:ext uri="{9D8B030D-6E8A-4147-A177-3AD203B41FA5}">
                      <a16:colId xmlns:a16="http://schemas.microsoft.com/office/drawing/2014/main" val="4026057114"/>
                    </a:ext>
                  </a:extLst>
                </a:gridCol>
                <a:gridCol w="3274253">
                  <a:extLst>
                    <a:ext uri="{9D8B030D-6E8A-4147-A177-3AD203B41FA5}">
                      <a16:colId xmlns:a16="http://schemas.microsoft.com/office/drawing/2014/main" val="3217662333"/>
                    </a:ext>
                  </a:extLst>
                </a:gridCol>
                <a:gridCol w="1089609">
                  <a:extLst>
                    <a:ext uri="{9D8B030D-6E8A-4147-A177-3AD203B41FA5}">
                      <a16:colId xmlns:a16="http://schemas.microsoft.com/office/drawing/2014/main" val="3517698874"/>
                    </a:ext>
                  </a:extLst>
                </a:gridCol>
                <a:gridCol w="1052739">
                  <a:extLst>
                    <a:ext uri="{9D8B030D-6E8A-4147-A177-3AD203B41FA5}">
                      <a16:colId xmlns:a16="http://schemas.microsoft.com/office/drawing/2014/main" val="1199696440"/>
                    </a:ext>
                  </a:extLst>
                </a:gridCol>
              </a:tblGrid>
              <a:tr h="527663"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sz="1100" dirty="0">
                          <a:solidFill>
                            <a:schemeClr val="bg1"/>
                          </a:solidFill>
                          <a:latin typeface="+mj-lt"/>
                          <a:ea typeface="Lato"/>
                          <a:cs typeface="Lato"/>
                        </a:rPr>
                        <a:t>Status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sz="1100" dirty="0">
                          <a:solidFill>
                            <a:schemeClr val="bg1"/>
                          </a:solidFill>
                          <a:latin typeface="+mj-lt"/>
                          <a:ea typeface="Lato"/>
                          <a:cs typeface="Lato"/>
                        </a:rPr>
                        <a:t>Open at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sz="1100" dirty="0">
                          <a:solidFill>
                            <a:schemeClr val="bg1"/>
                          </a:solidFill>
                          <a:latin typeface="+mj-lt"/>
                          <a:ea typeface="Lato"/>
                          <a:cs typeface="Lato"/>
                        </a:rPr>
                        <a:t>Id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sz="1100" dirty="0">
                          <a:solidFill>
                            <a:schemeClr val="bg1"/>
                          </a:solidFill>
                          <a:latin typeface="+mj-lt"/>
                          <a:ea typeface="Lato"/>
                          <a:cs typeface="Lato"/>
                        </a:rPr>
                        <a:t>Description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sz="1100" dirty="0">
                          <a:solidFill>
                            <a:schemeClr val="bg1"/>
                          </a:solidFill>
                          <a:latin typeface="+mj-lt"/>
                          <a:ea typeface="Lato"/>
                          <a:cs typeface="Lato"/>
                        </a:rPr>
                        <a:t>Priority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sz="1100">
                          <a:solidFill>
                            <a:schemeClr val="bg1"/>
                          </a:solidFill>
                          <a:latin typeface="+mj-lt"/>
                          <a:ea typeface="Lato"/>
                          <a:cs typeface="Lato"/>
                        </a:rPr>
                        <a:t>Action Id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sz="1100" dirty="0">
                          <a:solidFill>
                            <a:schemeClr val="bg1"/>
                          </a:solidFill>
                          <a:latin typeface="+mj-lt"/>
                          <a:ea typeface="Lato"/>
                          <a:cs typeface="Lato"/>
                        </a:rPr>
                        <a:t>Action Description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sz="1100" dirty="0">
                          <a:solidFill>
                            <a:schemeClr val="bg1"/>
                          </a:solidFill>
                          <a:latin typeface="+mj-lt"/>
                          <a:ea typeface="Lato"/>
                          <a:cs typeface="Lato"/>
                        </a:rPr>
                        <a:t>Action Responsible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sz="1100" dirty="0">
                          <a:solidFill>
                            <a:schemeClr val="bg1"/>
                          </a:solidFill>
                          <a:latin typeface="+mj-lt"/>
                          <a:ea typeface="Lato"/>
                          <a:cs typeface="Lato"/>
                        </a:rPr>
                        <a:t>Action Status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6493418"/>
                  </a:ext>
                </a:extLst>
              </a:tr>
              <a:tr h="331005"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 fontAlgn="ctr"/>
                      <a:endParaRPr lang="en-DE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917699"/>
                  </a:ext>
                </a:extLst>
              </a:tr>
              <a:tr h="331005"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 fontAlgn="ctr"/>
                      <a:endParaRPr lang="en-DE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endParaRPr lang="en-GB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anchor="b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4414768"/>
                  </a:ext>
                </a:extLst>
              </a:tr>
              <a:tr h="213997"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endParaRPr lang="en-D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 fontAlgn="ctr"/>
                      <a:endParaRPr lang="en-D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endParaRPr lang="en-DE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endParaRPr lang="en-DE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endParaRPr lang="en-GB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endParaRPr lang="en-DE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975530"/>
                  </a:ext>
                </a:extLst>
              </a:tr>
              <a:tr h="213997"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endParaRPr lang="en-D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 fontAlgn="ctr"/>
                      <a:endParaRPr lang="en-D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endParaRPr lang="en-D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endParaRPr lang="en-DE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endParaRPr lang="en-DE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5371041"/>
                  </a:ext>
                </a:extLst>
              </a:tr>
              <a:tr h="213997"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 fontAlgn="ctr"/>
                      <a:endParaRPr lang="en-D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929735"/>
                  </a:ext>
                </a:extLst>
              </a:tr>
              <a:tr h="331005"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 fontAlgn="ctr"/>
                      <a:endParaRPr lang="en-D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985887"/>
                  </a:ext>
                </a:extLst>
              </a:tr>
              <a:tr h="213997"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 fontAlgn="ctr"/>
                      <a:endParaRPr lang="en-D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0697081"/>
                  </a:ext>
                </a:extLst>
              </a:tr>
              <a:tr h="213997"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 fontAlgn="ctr"/>
                      <a:endParaRPr lang="en-D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9221623"/>
                  </a:ext>
                </a:extLst>
              </a:tr>
              <a:tr h="210949"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lvl="0" algn="l">
                        <a:buNone/>
                      </a:pPr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lvl="0" algn="l">
                        <a:buNone/>
                      </a:pPr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lvl="0" algn="l">
                        <a:buNone/>
                      </a:pPr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lvl="0" algn="l">
                        <a:buNone/>
                      </a:pPr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398481"/>
                  </a:ext>
                </a:extLst>
              </a:tr>
              <a:tr h="210949"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37385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lvl="0" algn="l">
                        <a:buNone/>
                      </a:pP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5451603"/>
                  </a:ext>
                </a:extLst>
              </a:tr>
              <a:tr h="210949"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37385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9195619"/>
                  </a:ext>
                </a:extLst>
              </a:tr>
            </a:tbl>
          </a:graphicData>
        </a:graphic>
      </p:graphicFrame>
      <p:sp>
        <p:nvSpPr>
          <p:cNvPr id="9" name="Cím 1">
            <a:extLst>
              <a:ext uri="{FF2B5EF4-FFF2-40B4-BE49-F238E27FC236}">
                <a16:creationId xmlns:a16="http://schemas.microsoft.com/office/drawing/2014/main" id="{6EEC605A-D1FC-9146-B4ED-01F8DBA0E3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268" y="1066013"/>
            <a:ext cx="11341100" cy="590931"/>
          </a:xfrm>
        </p:spPr>
        <p:txBody>
          <a:bodyPr vert="horz"/>
          <a:lstStyle/>
          <a:p>
            <a:r>
              <a:rPr lang="en-US" sz="2800" b="1" dirty="0"/>
              <a:t>Risks – Focus on Open / In Response</a:t>
            </a:r>
            <a:endParaRPr lang="en-US" b="1" dirty="0"/>
          </a:p>
        </p:txBody>
      </p:sp>
      <p:sp>
        <p:nvSpPr>
          <p:cNvPr id="10" name="Tartalom helye 4">
            <a:extLst>
              <a:ext uri="{FF2B5EF4-FFF2-40B4-BE49-F238E27FC236}">
                <a16:creationId xmlns:a16="http://schemas.microsoft.com/office/drawing/2014/main" id="{7060D475-7989-E735-D98D-247553203FF5}"/>
              </a:ext>
            </a:extLst>
          </p:cNvPr>
          <p:cNvSpPr txBox="1">
            <a:spLocks/>
          </p:cNvSpPr>
          <p:nvPr/>
        </p:nvSpPr>
        <p:spPr>
          <a:xfrm>
            <a:off x="407987" y="432176"/>
            <a:ext cx="11341099" cy="391374"/>
          </a:xfrm>
          <a:prstGeom prst="rect">
            <a:avLst/>
          </a:prstGeom>
        </p:spPr>
        <p:txBody>
          <a:bodyPr/>
          <a:lstStyle>
            <a:lvl1pPr marL="0" marR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 kumimoji="0" lang="de-DE" sz="1999" b="0" i="0" u="none" strike="noStrike" kern="120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271327" marR="0" indent="-271327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kumimoji="0" lang="de-DE" sz="1999" b="0" i="0" u="none" strike="noStrike" kern="120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510919" marR="0" indent="-233246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kumimoji="0" lang="de-DE" sz="1799" b="0" i="0" u="none" strike="noStrike" kern="120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745752" marR="0" indent="-231659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kumimoji="0" lang="de-DE" sz="1599" b="0" i="0" u="none" strike="noStrike" kern="120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944091" marR="0" indent="-201512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kumimoji="0" lang="de-DE" sz="1399" b="0" i="0" u="none" strike="noStrike" kern="120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RAID (Risks, Actions, Issues &amp; Decisions) Follow-up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138856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>
          <a:extLst>
            <a:ext uri="{FF2B5EF4-FFF2-40B4-BE49-F238E27FC236}">
              <a16:creationId xmlns:a16="http://schemas.microsoft.com/office/drawing/2014/main" id="{47649073-2818-3B55-36A9-66D2255CA3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0FB15BCD-96BF-644A-5691-34F52DEE00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srgbClr val="2E2E38"/>
                </a:solidFill>
              </a:rPr>
              <a:t>Page </a:t>
            </a:r>
            <a:fld id="{F1BC30E3-FFE5-4B91-AA19-87A149EBB9EE}" type="slidenum">
              <a:rPr lang="en-US">
                <a:solidFill>
                  <a:srgbClr val="2E2E38"/>
                </a:solidFill>
              </a:rPr>
              <a:pPr/>
              <a:t>5</a:t>
            </a:fld>
            <a:endParaRPr lang="en-US" dirty="0">
              <a:solidFill>
                <a:srgbClr val="2E2E38"/>
              </a:solidFill>
            </a:endParaRPr>
          </a:p>
        </p:txBody>
      </p:sp>
      <p:sp>
        <p:nvSpPr>
          <p:cNvPr id="9" name="Cím 1">
            <a:extLst>
              <a:ext uri="{FF2B5EF4-FFF2-40B4-BE49-F238E27FC236}">
                <a16:creationId xmlns:a16="http://schemas.microsoft.com/office/drawing/2014/main" id="{FF7E7DA8-41A1-C696-EB94-F5266C4E31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268" y="1048921"/>
            <a:ext cx="11341100" cy="590931"/>
          </a:xfrm>
        </p:spPr>
        <p:txBody>
          <a:bodyPr vert="horz"/>
          <a:lstStyle/>
          <a:p>
            <a:r>
              <a:rPr lang="en-US" sz="2800" b="1" dirty="0"/>
              <a:t>Issues</a:t>
            </a:r>
            <a:endParaRPr lang="en-US" b="1" dirty="0"/>
          </a:p>
        </p:txBody>
      </p:sp>
      <p:sp>
        <p:nvSpPr>
          <p:cNvPr id="10" name="Tartalom helye 4">
            <a:extLst>
              <a:ext uri="{FF2B5EF4-FFF2-40B4-BE49-F238E27FC236}">
                <a16:creationId xmlns:a16="http://schemas.microsoft.com/office/drawing/2014/main" id="{97BD84AF-0F7E-DABC-A178-6FA3E2700AF6}"/>
              </a:ext>
            </a:extLst>
          </p:cNvPr>
          <p:cNvSpPr txBox="1">
            <a:spLocks/>
          </p:cNvSpPr>
          <p:nvPr/>
        </p:nvSpPr>
        <p:spPr>
          <a:xfrm>
            <a:off x="407987" y="432176"/>
            <a:ext cx="11341099" cy="391374"/>
          </a:xfrm>
          <a:prstGeom prst="rect">
            <a:avLst/>
          </a:prstGeom>
        </p:spPr>
        <p:txBody>
          <a:bodyPr/>
          <a:lstStyle>
            <a:lvl1pPr marL="0" marR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 kumimoji="0" lang="de-DE" sz="1999" b="0" i="0" u="none" strike="noStrike" kern="120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271327" marR="0" indent="-271327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kumimoji="0" lang="de-DE" sz="1999" b="0" i="0" u="none" strike="noStrike" kern="120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510919" marR="0" indent="-233246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kumimoji="0" lang="de-DE" sz="1799" b="0" i="0" u="none" strike="noStrike" kern="120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745752" marR="0" indent="-231659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kumimoji="0" lang="de-DE" sz="1599" b="0" i="0" u="none" strike="noStrike" kern="120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944091" marR="0" indent="-201512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kumimoji="0" lang="de-DE" sz="1399" b="0" i="0" u="none" strike="noStrike" kern="120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RAID (Risks, Actions, Issues &amp; Decisions) Follow-up</a:t>
            </a:r>
            <a:endParaRPr lang="en-US" dirty="0"/>
          </a:p>
          <a:p>
            <a:endParaRPr lang="en-US" dirty="0"/>
          </a:p>
        </p:txBody>
      </p:sp>
      <p:graphicFrame>
        <p:nvGraphicFramePr>
          <p:cNvPr id="5" name="Table 20">
            <a:extLst>
              <a:ext uri="{FF2B5EF4-FFF2-40B4-BE49-F238E27FC236}">
                <a16:creationId xmlns:a16="http://schemas.microsoft.com/office/drawing/2014/main" id="{5943F02D-6AB3-A603-BAD7-F6E77903415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17679474"/>
              </p:ext>
            </p:extLst>
          </p:nvPr>
        </p:nvGraphicFramePr>
        <p:xfrm>
          <a:off x="430187" y="1614689"/>
          <a:ext cx="11347523" cy="4161985"/>
        </p:xfrm>
        <a:graphic>
          <a:graphicData uri="http://schemas.openxmlformats.org/drawingml/2006/table">
            <a:tbl>
              <a:tblPr firstRow="1" bandRow="1"/>
              <a:tblGrid>
                <a:gridCol w="731688">
                  <a:extLst>
                    <a:ext uri="{9D8B030D-6E8A-4147-A177-3AD203B41FA5}">
                      <a16:colId xmlns:a16="http://schemas.microsoft.com/office/drawing/2014/main" val="3244616842"/>
                    </a:ext>
                  </a:extLst>
                </a:gridCol>
                <a:gridCol w="679508">
                  <a:extLst>
                    <a:ext uri="{9D8B030D-6E8A-4147-A177-3AD203B41FA5}">
                      <a16:colId xmlns:a16="http://schemas.microsoft.com/office/drawing/2014/main" val="2386481620"/>
                    </a:ext>
                  </a:extLst>
                </a:gridCol>
                <a:gridCol w="675314">
                  <a:extLst>
                    <a:ext uri="{9D8B030D-6E8A-4147-A177-3AD203B41FA5}">
                      <a16:colId xmlns:a16="http://schemas.microsoft.com/office/drawing/2014/main" val="2503647407"/>
                    </a:ext>
                  </a:extLst>
                </a:gridCol>
                <a:gridCol w="339754">
                  <a:extLst>
                    <a:ext uri="{9D8B030D-6E8A-4147-A177-3AD203B41FA5}">
                      <a16:colId xmlns:a16="http://schemas.microsoft.com/office/drawing/2014/main" val="430674172"/>
                    </a:ext>
                  </a:extLst>
                </a:gridCol>
                <a:gridCol w="1390234">
                  <a:extLst>
                    <a:ext uri="{9D8B030D-6E8A-4147-A177-3AD203B41FA5}">
                      <a16:colId xmlns:a16="http://schemas.microsoft.com/office/drawing/2014/main" val="4026057114"/>
                    </a:ext>
                  </a:extLst>
                </a:gridCol>
                <a:gridCol w="811876">
                  <a:extLst>
                    <a:ext uri="{9D8B030D-6E8A-4147-A177-3AD203B41FA5}">
                      <a16:colId xmlns:a16="http://schemas.microsoft.com/office/drawing/2014/main" val="3217662333"/>
                    </a:ext>
                  </a:extLst>
                </a:gridCol>
                <a:gridCol w="502603">
                  <a:extLst>
                    <a:ext uri="{9D8B030D-6E8A-4147-A177-3AD203B41FA5}">
                      <a16:colId xmlns:a16="http://schemas.microsoft.com/office/drawing/2014/main" val="3517698874"/>
                    </a:ext>
                  </a:extLst>
                </a:gridCol>
                <a:gridCol w="1663975">
                  <a:extLst>
                    <a:ext uri="{9D8B030D-6E8A-4147-A177-3AD203B41FA5}">
                      <a16:colId xmlns:a16="http://schemas.microsoft.com/office/drawing/2014/main" val="1199696440"/>
                    </a:ext>
                  </a:extLst>
                </a:gridCol>
                <a:gridCol w="529747">
                  <a:extLst>
                    <a:ext uri="{9D8B030D-6E8A-4147-A177-3AD203B41FA5}">
                      <a16:colId xmlns:a16="http://schemas.microsoft.com/office/drawing/2014/main" val="2137262870"/>
                    </a:ext>
                  </a:extLst>
                </a:gridCol>
                <a:gridCol w="3305262">
                  <a:extLst>
                    <a:ext uri="{9D8B030D-6E8A-4147-A177-3AD203B41FA5}">
                      <a16:colId xmlns:a16="http://schemas.microsoft.com/office/drawing/2014/main" val="51222143"/>
                    </a:ext>
                  </a:extLst>
                </a:gridCol>
                <a:gridCol w="717562">
                  <a:extLst>
                    <a:ext uri="{9D8B030D-6E8A-4147-A177-3AD203B41FA5}">
                      <a16:colId xmlns:a16="http://schemas.microsoft.com/office/drawing/2014/main" val="3189088595"/>
                    </a:ext>
                  </a:extLst>
                </a:gridCol>
              </a:tblGrid>
              <a:tr h="420341"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3943" rtl="0" eaLnBrk="1" fontAlgn="b" latinLnBrk="0" hangingPunct="1"/>
                      <a:r>
                        <a:rPr lang="en-US" sz="1100" b="1" kern="1200" dirty="0">
                          <a:solidFill>
                            <a:schemeClr val="bg1"/>
                          </a:solidFill>
                          <a:latin typeface="+mj-lt"/>
                          <a:ea typeface="Lato"/>
                          <a:cs typeface="Lato"/>
                        </a:rPr>
                        <a:t>Status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3943" rtl="0" eaLnBrk="1" fontAlgn="b" latinLnBrk="0" hangingPunct="1"/>
                      <a:r>
                        <a:rPr lang="en-US" sz="1100" b="1" kern="1200" dirty="0">
                          <a:solidFill>
                            <a:schemeClr val="bg1"/>
                          </a:solidFill>
                          <a:latin typeface="+mj-lt"/>
                          <a:ea typeface="Lato"/>
                          <a:cs typeface="Lato"/>
                        </a:rPr>
                        <a:t>Opened at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3943" rtl="0" eaLnBrk="1" fontAlgn="b" latinLnBrk="0" hangingPunct="1"/>
                      <a:r>
                        <a:rPr lang="en-US" sz="1100" b="1" kern="1200" dirty="0">
                          <a:solidFill>
                            <a:schemeClr val="bg1"/>
                          </a:solidFill>
                          <a:latin typeface="+mj-lt"/>
                          <a:ea typeface="Lato"/>
                          <a:cs typeface="Lato"/>
                        </a:rPr>
                        <a:t>Closed at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3943" rtl="0" eaLnBrk="1" fontAlgn="b" latinLnBrk="0" hangingPunct="1"/>
                      <a:r>
                        <a:rPr lang="en-US" sz="1100" b="1" kern="1200" dirty="0">
                          <a:solidFill>
                            <a:schemeClr val="bg1"/>
                          </a:solidFill>
                          <a:latin typeface="+mj-lt"/>
                          <a:ea typeface="Lato"/>
                          <a:cs typeface="Lato"/>
                        </a:rPr>
                        <a:t>Id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3943" rtl="0" eaLnBrk="1" fontAlgn="b" latinLnBrk="0" hangingPunct="1"/>
                      <a:r>
                        <a:rPr lang="en-US" sz="1100" b="1" kern="1200" dirty="0">
                          <a:solidFill>
                            <a:schemeClr val="bg1"/>
                          </a:solidFill>
                          <a:latin typeface="+mj-lt"/>
                          <a:ea typeface="Lato"/>
                          <a:cs typeface="Lato"/>
                        </a:rPr>
                        <a:t>Description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3943" rtl="0" eaLnBrk="1" fontAlgn="b" latinLnBrk="0" hangingPunct="1"/>
                      <a:r>
                        <a:rPr lang="en-US" sz="1100" b="1" kern="1200" dirty="0">
                          <a:solidFill>
                            <a:schemeClr val="bg1"/>
                          </a:solidFill>
                          <a:latin typeface="+mj-lt"/>
                          <a:ea typeface="Lato"/>
                          <a:cs typeface="Lato"/>
                        </a:rPr>
                        <a:t>Priority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3943" rtl="0" eaLnBrk="1" fontAlgn="b" latinLnBrk="0" hangingPunct="1"/>
                      <a:r>
                        <a:rPr lang="en-US" sz="1100" b="1" kern="1200" dirty="0">
                          <a:solidFill>
                            <a:schemeClr val="bg1"/>
                          </a:solidFill>
                          <a:latin typeface="+mj-lt"/>
                          <a:ea typeface="Lato"/>
                          <a:cs typeface="Lato"/>
                        </a:rPr>
                        <a:t>Risk Id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3943" rtl="0" eaLnBrk="1" fontAlgn="b" latinLnBrk="0" hangingPunct="1"/>
                      <a:r>
                        <a:rPr lang="en-US" sz="1100" b="1" kern="1200" dirty="0">
                          <a:solidFill>
                            <a:schemeClr val="bg1"/>
                          </a:solidFill>
                          <a:latin typeface="+mj-lt"/>
                          <a:ea typeface="Lato"/>
                          <a:cs typeface="Lato"/>
                        </a:rPr>
                        <a:t>Risk Description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3943" rtl="0" eaLnBrk="1" fontAlgn="b" latinLnBrk="0" hangingPunct="1"/>
                      <a:r>
                        <a:rPr lang="en-US" sz="1100" b="1" kern="1200" dirty="0">
                          <a:solidFill>
                            <a:schemeClr val="bg1"/>
                          </a:solidFill>
                          <a:latin typeface="+mj-lt"/>
                          <a:ea typeface="Lato"/>
                          <a:cs typeface="Lato"/>
                        </a:rPr>
                        <a:t>Action Id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3943" rtl="0" eaLnBrk="1" fontAlgn="b" latinLnBrk="0" hangingPunct="1"/>
                      <a:r>
                        <a:rPr lang="en-US" sz="1100" b="1" kern="1200" dirty="0">
                          <a:solidFill>
                            <a:schemeClr val="bg1"/>
                          </a:solidFill>
                          <a:latin typeface="+mj-lt"/>
                          <a:ea typeface="Lato"/>
                          <a:cs typeface="Lato"/>
                        </a:rPr>
                        <a:t>Action Description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3943" rtl="0" eaLnBrk="1" fontAlgn="b" latinLnBrk="0" hangingPunct="1"/>
                      <a:r>
                        <a:rPr lang="en-US" sz="1100" b="1" kern="1200" dirty="0">
                          <a:solidFill>
                            <a:schemeClr val="bg1"/>
                          </a:solidFill>
                          <a:latin typeface="+mj-lt"/>
                          <a:ea typeface="Lato"/>
                          <a:cs typeface="Lato"/>
                        </a:rPr>
                        <a:t>Action Status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6493418"/>
                  </a:ext>
                </a:extLst>
              </a:tr>
              <a:tr h="627220"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3943" rtl="0" eaLnBrk="1" fontAlgn="ctr" latinLnBrk="0" hangingPunct="1"/>
                      <a:endParaRPr lang="en-US" sz="1100" b="1" kern="1200" dirty="0">
                        <a:solidFill>
                          <a:schemeClr val="bg1"/>
                        </a:solidFill>
                        <a:latin typeface="+mj-lt"/>
                        <a:ea typeface="Lato"/>
                        <a:cs typeface="Lato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3943" rtl="0" eaLnBrk="1" fontAlgn="ctr" latinLnBrk="0" hangingPunct="1"/>
                      <a:endParaRPr lang="en-US" sz="1100" b="1" kern="1200" dirty="0">
                        <a:solidFill>
                          <a:schemeClr val="bg1"/>
                        </a:solidFill>
                        <a:latin typeface="+mj-lt"/>
                        <a:ea typeface="Lato"/>
                        <a:cs typeface="Lato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3943" rtl="0" eaLnBrk="1" fontAlgn="ctr" latinLnBrk="0" hangingPunct="1"/>
                      <a:endParaRPr lang="en-US" sz="1100" b="1" kern="1200" dirty="0">
                        <a:solidFill>
                          <a:schemeClr val="bg1"/>
                        </a:solidFill>
                        <a:latin typeface="+mj-lt"/>
                        <a:ea typeface="Lato"/>
                        <a:cs typeface="Lato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3943" rtl="0" eaLnBrk="1" fontAlgn="ctr" latinLnBrk="0" hangingPunct="1"/>
                      <a:endParaRPr lang="en-US" sz="1100" b="1" kern="1200" dirty="0">
                        <a:solidFill>
                          <a:schemeClr val="bg1"/>
                        </a:solidFill>
                        <a:latin typeface="+mj-lt"/>
                        <a:ea typeface="Lato"/>
                        <a:cs typeface="Lato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3943" rtl="0" eaLnBrk="1" fontAlgn="ctr" latinLnBrk="0" hangingPunct="1"/>
                      <a:endParaRPr lang="en-US" sz="1100" b="1" kern="1200" dirty="0">
                        <a:solidFill>
                          <a:schemeClr val="bg1"/>
                        </a:solidFill>
                        <a:latin typeface="+mj-lt"/>
                        <a:ea typeface="Lato"/>
                        <a:cs typeface="Lato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3943" rtl="0" eaLnBrk="1" fontAlgn="ctr" latinLnBrk="0" hangingPunct="1"/>
                      <a:endParaRPr lang="en-US" sz="1100" b="1" kern="1200" dirty="0">
                        <a:solidFill>
                          <a:schemeClr val="bg1"/>
                        </a:solidFill>
                        <a:latin typeface="+mj-lt"/>
                        <a:ea typeface="Lato"/>
                        <a:cs typeface="Lato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3943" rtl="0" eaLnBrk="1" fontAlgn="ctr" latinLnBrk="0" hangingPunct="1"/>
                      <a:endParaRPr lang="en-US" sz="1100" b="1" kern="1200" dirty="0">
                        <a:solidFill>
                          <a:schemeClr val="bg1"/>
                        </a:solidFill>
                        <a:latin typeface="+mj-lt"/>
                        <a:ea typeface="Lato"/>
                        <a:cs typeface="Lato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3943" rtl="0" eaLnBrk="1" fontAlgn="ctr" latinLnBrk="0" hangingPunct="1"/>
                      <a:endParaRPr lang="en-US" sz="1100" b="1" kern="1200" dirty="0">
                        <a:solidFill>
                          <a:schemeClr val="bg1"/>
                        </a:solidFill>
                        <a:latin typeface="+mj-lt"/>
                        <a:ea typeface="Lato"/>
                        <a:cs typeface="Lato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3943" rtl="0" eaLnBrk="1" fontAlgn="ctr" latinLnBrk="0" hangingPunct="1"/>
                      <a:endParaRPr lang="en-US" sz="1100" b="1" kern="1200" dirty="0">
                        <a:solidFill>
                          <a:schemeClr val="bg1"/>
                        </a:solidFill>
                        <a:latin typeface="+mj-lt"/>
                        <a:ea typeface="Lato"/>
                        <a:cs typeface="Lato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3943" rtl="0" eaLnBrk="1" fontAlgn="ctr" latinLnBrk="0" hangingPunct="1"/>
                      <a:endParaRPr lang="en-US" sz="1100" b="1" kern="1200" dirty="0">
                        <a:solidFill>
                          <a:schemeClr val="bg1"/>
                        </a:solidFill>
                        <a:latin typeface="+mj-lt"/>
                        <a:ea typeface="Lato"/>
                        <a:cs typeface="Lato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3943" rtl="0" eaLnBrk="1" fontAlgn="ctr" latinLnBrk="0" hangingPunct="1"/>
                      <a:endParaRPr lang="en-US" sz="1100" b="1" kern="1200" dirty="0">
                        <a:solidFill>
                          <a:schemeClr val="bg1"/>
                        </a:solidFill>
                        <a:latin typeface="+mj-lt"/>
                        <a:ea typeface="Lato"/>
                        <a:cs typeface="Lato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2455665"/>
                  </a:ext>
                </a:extLst>
              </a:tr>
              <a:tr h="423373"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3943" rtl="0" eaLnBrk="1" fontAlgn="ctr" latinLnBrk="0" hangingPunct="1"/>
                      <a:endParaRPr lang="en-US" sz="1100" b="1" kern="1200" dirty="0">
                        <a:solidFill>
                          <a:schemeClr val="bg1"/>
                        </a:solidFill>
                        <a:latin typeface="+mj-lt"/>
                        <a:ea typeface="Lato"/>
                        <a:cs typeface="Lato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3943" rtl="0" eaLnBrk="1" fontAlgn="ctr" latinLnBrk="0" hangingPunct="1"/>
                      <a:endParaRPr lang="en-US" sz="1100" b="1" kern="1200">
                        <a:solidFill>
                          <a:schemeClr val="bg1"/>
                        </a:solidFill>
                        <a:latin typeface="+mj-lt"/>
                        <a:ea typeface="Lato"/>
                        <a:cs typeface="Lato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394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kern="1200" dirty="0">
                        <a:solidFill>
                          <a:schemeClr val="bg1"/>
                        </a:solidFill>
                        <a:latin typeface="+mj-lt"/>
                        <a:ea typeface="Lato"/>
                        <a:cs typeface="Lato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3943" rtl="0" eaLnBrk="1" fontAlgn="ctr" latinLnBrk="0" hangingPunct="1"/>
                      <a:endParaRPr lang="en-US" sz="1100" b="1" kern="1200" dirty="0">
                        <a:solidFill>
                          <a:schemeClr val="bg1"/>
                        </a:solidFill>
                        <a:latin typeface="+mj-lt"/>
                        <a:ea typeface="Lato"/>
                        <a:cs typeface="Lato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3943" rtl="0" eaLnBrk="1" fontAlgn="ctr" latinLnBrk="0" hangingPunct="1"/>
                      <a:endParaRPr lang="en-US" sz="1100" b="1" kern="1200" dirty="0">
                        <a:solidFill>
                          <a:schemeClr val="bg1"/>
                        </a:solidFill>
                        <a:latin typeface="+mj-lt"/>
                        <a:ea typeface="Lato"/>
                        <a:cs typeface="Lato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3943" rtl="0" eaLnBrk="1" fontAlgn="ctr" latinLnBrk="0" hangingPunct="1"/>
                      <a:endParaRPr lang="en-US" sz="1100" b="1" kern="1200">
                        <a:solidFill>
                          <a:schemeClr val="bg1"/>
                        </a:solidFill>
                        <a:latin typeface="+mj-lt"/>
                        <a:ea typeface="Lato"/>
                        <a:cs typeface="Lato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3943" rtl="0" eaLnBrk="1" fontAlgn="ctr" latinLnBrk="0" hangingPunct="1"/>
                      <a:endParaRPr lang="en-US" sz="1100" b="1" kern="1200">
                        <a:solidFill>
                          <a:schemeClr val="bg1"/>
                        </a:solidFill>
                        <a:latin typeface="+mj-lt"/>
                        <a:ea typeface="Lato"/>
                        <a:cs typeface="Lato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3943" rtl="0" eaLnBrk="1" fontAlgn="ctr" latinLnBrk="0" hangingPunct="1"/>
                      <a:endParaRPr lang="en-US" sz="1100" b="1" kern="1200">
                        <a:solidFill>
                          <a:schemeClr val="bg1"/>
                        </a:solidFill>
                        <a:latin typeface="+mj-lt"/>
                        <a:ea typeface="Lato"/>
                        <a:cs typeface="Lato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3943" rtl="0" eaLnBrk="1" fontAlgn="ctr" latinLnBrk="0" hangingPunct="1"/>
                      <a:endParaRPr lang="en-US" sz="1100" b="1" kern="1200">
                        <a:solidFill>
                          <a:schemeClr val="bg1"/>
                        </a:solidFill>
                        <a:latin typeface="+mj-lt"/>
                        <a:ea typeface="Lato"/>
                        <a:cs typeface="Lato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3943" rtl="0" eaLnBrk="1" fontAlgn="ctr" latinLnBrk="0" hangingPunct="1"/>
                      <a:endParaRPr lang="en-US" sz="1100" b="1" kern="1200" dirty="0">
                        <a:solidFill>
                          <a:schemeClr val="bg1"/>
                        </a:solidFill>
                        <a:latin typeface="+mj-lt"/>
                        <a:ea typeface="Lato"/>
                        <a:cs typeface="Lato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3943" rtl="0" eaLnBrk="1" fontAlgn="ctr" latinLnBrk="0" hangingPunct="1"/>
                      <a:endParaRPr lang="en-US" sz="1100" b="1" kern="1200" dirty="0">
                        <a:solidFill>
                          <a:schemeClr val="bg1"/>
                        </a:solidFill>
                        <a:latin typeface="+mj-lt"/>
                        <a:ea typeface="Lato"/>
                        <a:cs typeface="Lato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0078448"/>
                  </a:ext>
                </a:extLst>
              </a:tr>
              <a:tr h="338979"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3943" rtl="0" eaLnBrk="1" fontAlgn="ctr" latinLnBrk="0" hangingPunct="1"/>
                      <a:endParaRPr lang="en-US" sz="1100" b="1" kern="1200">
                        <a:solidFill>
                          <a:schemeClr val="bg1"/>
                        </a:solidFill>
                        <a:latin typeface="+mj-lt"/>
                        <a:ea typeface="Lato"/>
                        <a:cs typeface="Lato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3943" rtl="0" eaLnBrk="1" fontAlgn="ctr" latinLnBrk="0" hangingPunct="1"/>
                      <a:endParaRPr lang="en-US" sz="1100" b="1" kern="1200" dirty="0">
                        <a:solidFill>
                          <a:schemeClr val="bg1"/>
                        </a:solidFill>
                        <a:latin typeface="+mj-lt"/>
                        <a:ea typeface="Lato"/>
                        <a:cs typeface="Lato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3943" rtl="0" eaLnBrk="1" fontAlgn="ctr" latinLnBrk="0" hangingPunct="1"/>
                      <a:endParaRPr lang="en-US" sz="1100" b="1" kern="1200" dirty="0">
                        <a:solidFill>
                          <a:schemeClr val="bg1"/>
                        </a:solidFill>
                        <a:latin typeface="+mj-lt"/>
                        <a:ea typeface="Lato"/>
                        <a:cs typeface="Lato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3943" rtl="0" eaLnBrk="1" fontAlgn="ctr" latinLnBrk="0" hangingPunct="1"/>
                      <a:endParaRPr lang="en-US" sz="1100" b="1" kern="1200">
                        <a:solidFill>
                          <a:schemeClr val="bg1"/>
                        </a:solidFill>
                        <a:latin typeface="+mj-lt"/>
                        <a:ea typeface="Lato"/>
                        <a:cs typeface="Lato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3943" rtl="0" eaLnBrk="1" fontAlgn="ctr" latinLnBrk="0" hangingPunct="1"/>
                      <a:endParaRPr lang="en-US" sz="1100" b="1" kern="1200" dirty="0">
                        <a:solidFill>
                          <a:schemeClr val="bg1"/>
                        </a:solidFill>
                        <a:latin typeface="+mj-lt"/>
                        <a:ea typeface="Lato"/>
                        <a:cs typeface="Lato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3943" rtl="0" eaLnBrk="1" fontAlgn="ctr" latinLnBrk="0" hangingPunct="1"/>
                      <a:endParaRPr lang="en-US" sz="1100" b="1" kern="1200" dirty="0">
                        <a:solidFill>
                          <a:schemeClr val="bg1"/>
                        </a:solidFill>
                        <a:latin typeface="+mj-lt"/>
                        <a:ea typeface="Lato"/>
                        <a:cs typeface="Lato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3943" rtl="0" eaLnBrk="1" fontAlgn="ctr" latinLnBrk="0" hangingPunct="1"/>
                      <a:endParaRPr lang="en-US" sz="1100" b="1" kern="1200" dirty="0">
                        <a:solidFill>
                          <a:schemeClr val="bg1"/>
                        </a:solidFill>
                        <a:latin typeface="+mj-lt"/>
                        <a:ea typeface="Lato"/>
                        <a:cs typeface="Lato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3943" rtl="0" eaLnBrk="1" fontAlgn="ctr" latinLnBrk="0" hangingPunct="1"/>
                      <a:endParaRPr lang="en-US" sz="1100" b="1" kern="1200">
                        <a:solidFill>
                          <a:schemeClr val="bg1"/>
                        </a:solidFill>
                        <a:latin typeface="+mj-lt"/>
                        <a:ea typeface="Lato"/>
                        <a:cs typeface="Lato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3943" rtl="0" eaLnBrk="1" fontAlgn="ctr" latinLnBrk="0" hangingPunct="1"/>
                      <a:endParaRPr lang="en-US" sz="1100" b="1" kern="1200">
                        <a:solidFill>
                          <a:schemeClr val="bg1"/>
                        </a:solidFill>
                        <a:latin typeface="+mj-lt"/>
                        <a:ea typeface="Lato"/>
                        <a:cs typeface="Lato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3943" rtl="0" eaLnBrk="1" fontAlgn="ctr" latinLnBrk="0" hangingPunct="1"/>
                      <a:endParaRPr lang="en-US" sz="1100" b="1" kern="1200" dirty="0">
                        <a:solidFill>
                          <a:schemeClr val="bg1"/>
                        </a:solidFill>
                        <a:latin typeface="+mj-lt"/>
                        <a:ea typeface="Lato"/>
                        <a:cs typeface="Lato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3943" rtl="0" eaLnBrk="1" fontAlgn="ctr" latinLnBrk="0" hangingPunct="1"/>
                      <a:endParaRPr lang="en-US" sz="1100" b="1" kern="1200" dirty="0">
                        <a:solidFill>
                          <a:schemeClr val="bg1"/>
                        </a:solidFill>
                        <a:latin typeface="+mj-lt"/>
                        <a:ea typeface="Lato"/>
                        <a:cs typeface="Lato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7319117"/>
                  </a:ext>
                </a:extLst>
              </a:tr>
              <a:tr h="784024"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3943" rtl="0" eaLnBrk="1" fontAlgn="ctr" latinLnBrk="0" hangingPunct="1"/>
                      <a:endParaRPr lang="en-US" sz="1100" b="1" kern="1200">
                        <a:solidFill>
                          <a:schemeClr val="bg1"/>
                        </a:solidFill>
                        <a:latin typeface="+mj-lt"/>
                        <a:ea typeface="Lato"/>
                        <a:cs typeface="Lato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3943" rtl="0" eaLnBrk="1" fontAlgn="ctr" latinLnBrk="0" hangingPunct="1"/>
                      <a:endParaRPr lang="en-US" sz="1100" b="1" kern="1200" dirty="0">
                        <a:solidFill>
                          <a:schemeClr val="bg1"/>
                        </a:solidFill>
                        <a:latin typeface="+mj-lt"/>
                        <a:ea typeface="Lato"/>
                        <a:cs typeface="Lato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3943" rtl="0" eaLnBrk="1" fontAlgn="ctr" latinLnBrk="0" hangingPunct="1"/>
                      <a:endParaRPr lang="en-US" sz="1100" b="1" kern="1200" dirty="0">
                        <a:solidFill>
                          <a:schemeClr val="bg1"/>
                        </a:solidFill>
                        <a:latin typeface="+mj-lt"/>
                        <a:ea typeface="Lato"/>
                        <a:cs typeface="Lato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3943" rtl="0" eaLnBrk="1" fontAlgn="ctr" latinLnBrk="0" hangingPunct="1"/>
                      <a:endParaRPr lang="en-US" sz="1100" b="1" kern="1200" dirty="0">
                        <a:solidFill>
                          <a:schemeClr val="bg1"/>
                        </a:solidFill>
                        <a:latin typeface="+mj-lt"/>
                        <a:ea typeface="Lato"/>
                        <a:cs typeface="Lato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3943" rtl="0" eaLnBrk="1" fontAlgn="ctr" latinLnBrk="0" hangingPunct="1"/>
                      <a:endParaRPr lang="en-US" sz="1100" b="1" kern="1200" dirty="0">
                        <a:solidFill>
                          <a:schemeClr val="bg1"/>
                        </a:solidFill>
                        <a:latin typeface="+mj-lt"/>
                        <a:ea typeface="Lato"/>
                        <a:cs typeface="Lato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3943" rtl="0" eaLnBrk="1" fontAlgn="ctr" latinLnBrk="0" hangingPunct="1"/>
                      <a:endParaRPr lang="en-US" sz="1100" b="1" kern="1200" dirty="0">
                        <a:solidFill>
                          <a:schemeClr val="bg1"/>
                        </a:solidFill>
                        <a:latin typeface="+mj-lt"/>
                        <a:ea typeface="Lato"/>
                        <a:cs typeface="Lato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3943" rtl="0" eaLnBrk="1" fontAlgn="ctr" latinLnBrk="0" hangingPunct="1"/>
                      <a:endParaRPr lang="en-US" sz="1100" b="1" kern="1200">
                        <a:solidFill>
                          <a:schemeClr val="bg1"/>
                        </a:solidFill>
                        <a:latin typeface="+mj-lt"/>
                        <a:ea typeface="Lato"/>
                        <a:cs typeface="Lato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3943" rtl="0" eaLnBrk="1" fontAlgn="ctr" latinLnBrk="0" hangingPunct="1"/>
                      <a:endParaRPr lang="en-US" sz="1100" b="1" kern="1200" dirty="0">
                        <a:solidFill>
                          <a:schemeClr val="bg1"/>
                        </a:solidFill>
                        <a:latin typeface="+mj-lt"/>
                        <a:ea typeface="Lato"/>
                        <a:cs typeface="Lato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3943" rtl="0" eaLnBrk="1" fontAlgn="ctr" latinLnBrk="0" hangingPunct="1"/>
                      <a:endParaRPr lang="en-US" sz="1100" b="1" kern="1200" dirty="0">
                        <a:solidFill>
                          <a:schemeClr val="bg1"/>
                        </a:solidFill>
                        <a:latin typeface="+mj-lt"/>
                        <a:ea typeface="Lato"/>
                        <a:cs typeface="Lato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3943" rtl="0" eaLnBrk="1" fontAlgn="ctr" latinLnBrk="0" hangingPunct="1"/>
                      <a:endParaRPr lang="en-US" sz="1100" b="1" kern="1200" dirty="0">
                        <a:solidFill>
                          <a:schemeClr val="bg1"/>
                        </a:solidFill>
                        <a:latin typeface="+mj-lt"/>
                        <a:ea typeface="Lato"/>
                        <a:cs typeface="Lato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3943" rtl="0" eaLnBrk="1" fontAlgn="ctr" latinLnBrk="0" hangingPunct="1"/>
                      <a:endParaRPr lang="en-US" sz="1100" b="1" kern="1200" dirty="0">
                        <a:solidFill>
                          <a:schemeClr val="bg1"/>
                        </a:solidFill>
                        <a:latin typeface="+mj-lt"/>
                        <a:ea typeface="Lato"/>
                        <a:cs typeface="Lato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357745"/>
                  </a:ext>
                </a:extLst>
              </a:tr>
              <a:tr h="784024"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3943" rtl="0" eaLnBrk="1" fontAlgn="ctr" latinLnBrk="0" hangingPunct="1"/>
                      <a:endParaRPr lang="en-US" sz="1100" b="1" kern="1200">
                        <a:solidFill>
                          <a:schemeClr val="bg1"/>
                        </a:solidFill>
                        <a:latin typeface="+mj-lt"/>
                        <a:ea typeface="Lato"/>
                        <a:cs typeface="Lato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3943" rtl="0" eaLnBrk="1" fontAlgn="ctr" latinLnBrk="0" hangingPunct="1"/>
                      <a:endParaRPr lang="en-US" sz="1100" b="1" kern="1200">
                        <a:solidFill>
                          <a:schemeClr val="bg1"/>
                        </a:solidFill>
                        <a:latin typeface="+mj-lt"/>
                        <a:ea typeface="Lato"/>
                        <a:cs typeface="Lato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3943" rtl="0" eaLnBrk="1" fontAlgn="ctr" latinLnBrk="0" hangingPunct="1"/>
                      <a:endParaRPr lang="en-US" sz="1100" b="1" kern="1200">
                        <a:solidFill>
                          <a:schemeClr val="bg1"/>
                        </a:solidFill>
                        <a:latin typeface="+mj-lt"/>
                        <a:ea typeface="Lato"/>
                        <a:cs typeface="Lato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3943" rtl="0" eaLnBrk="1" fontAlgn="ctr" latinLnBrk="0" hangingPunct="1"/>
                      <a:endParaRPr lang="en-US" sz="1100" b="1" kern="1200">
                        <a:solidFill>
                          <a:schemeClr val="bg1"/>
                        </a:solidFill>
                        <a:latin typeface="+mj-lt"/>
                        <a:ea typeface="Lato"/>
                        <a:cs typeface="Lato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3943" rtl="0" eaLnBrk="1" fontAlgn="ctr" latinLnBrk="0" hangingPunct="1"/>
                      <a:endParaRPr lang="en-US" sz="1100" b="1" kern="1200" dirty="0">
                        <a:solidFill>
                          <a:schemeClr val="bg1"/>
                        </a:solidFill>
                        <a:latin typeface="+mj-lt"/>
                        <a:ea typeface="Lato"/>
                        <a:cs typeface="Lato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3943" rtl="0" eaLnBrk="1" fontAlgn="ctr" latinLnBrk="0" hangingPunct="1"/>
                      <a:endParaRPr lang="en-US" sz="1100" b="1" kern="1200" dirty="0">
                        <a:solidFill>
                          <a:schemeClr val="bg1"/>
                        </a:solidFill>
                        <a:latin typeface="+mj-lt"/>
                        <a:ea typeface="Lato"/>
                        <a:cs typeface="Lato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3943" rtl="0" eaLnBrk="1" fontAlgn="ctr" latinLnBrk="0" hangingPunct="1"/>
                      <a:endParaRPr lang="en-US" sz="1100" b="1" kern="1200" dirty="0">
                        <a:solidFill>
                          <a:schemeClr val="bg1"/>
                        </a:solidFill>
                        <a:latin typeface="+mj-lt"/>
                        <a:ea typeface="Lato"/>
                        <a:cs typeface="Lato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3943" rtl="0" eaLnBrk="1" fontAlgn="ctr" latinLnBrk="0" hangingPunct="1"/>
                      <a:endParaRPr lang="en-US" sz="1100" b="1" kern="1200" dirty="0">
                        <a:solidFill>
                          <a:schemeClr val="bg1"/>
                        </a:solidFill>
                        <a:latin typeface="+mj-lt"/>
                        <a:ea typeface="Lato"/>
                        <a:cs typeface="Lato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3943" rtl="0" eaLnBrk="1" fontAlgn="ctr" latinLnBrk="0" hangingPunct="1"/>
                      <a:endParaRPr lang="en-US" sz="1100" b="1" kern="1200" dirty="0">
                        <a:solidFill>
                          <a:schemeClr val="bg1"/>
                        </a:solidFill>
                        <a:latin typeface="+mj-lt"/>
                        <a:ea typeface="Lato"/>
                        <a:cs typeface="Lato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3943" rtl="0" eaLnBrk="1" fontAlgn="ctr" latinLnBrk="0" hangingPunct="1"/>
                      <a:endParaRPr lang="en-US" sz="1100" b="1" kern="1200" dirty="0">
                        <a:solidFill>
                          <a:schemeClr val="bg1"/>
                        </a:solidFill>
                        <a:latin typeface="+mj-lt"/>
                        <a:ea typeface="Lato"/>
                        <a:cs typeface="Lato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3943" rtl="0" eaLnBrk="1" fontAlgn="ctr" latinLnBrk="0" hangingPunct="1"/>
                      <a:endParaRPr lang="en-US" sz="1100" b="1" kern="1200" dirty="0">
                        <a:solidFill>
                          <a:schemeClr val="bg1"/>
                        </a:solidFill>
                        <a:latin typeface="+mj-lt"/>
                        <a:ea typeface="Lato"/>
                        <a:cs typeface="Lato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2402667"/>
                  </a:ext>
                </a:extLst>
              </a:tr>
              <a:tr h="784024"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3943" rtl="0" eaLnBrk="1" fontAlgn="ctr" latinLnBrk="0" hangingPunct="1"/>
                      <a:endParaRPr lang="en-US" sz="1100" b="1" kern="1200">
                        <a:solidFill>
                          <a:schemeClr val="bg1"/>
                        </a:solidFill>
                        <a:latin typeface="+mj-lt"/>
                        <a:ea typeface="Lato"/>
                        <a:cs typeface="Lato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3943" rtl="0" eaLnBrk="1" fontAlgn="ctr" latinLnBrk="0" hangingPunct="1"/>
                      <a:endParaRPr lang="en-US" sz="1100" b="1" kern="1200">
                        <a:solidFill>
                          <a:schemeClr val="bg1"/>
                        </a:solidFill>
                        <a:latin typeface="+mj-lt"/>
                        <a:ea typeface="Lato"/>
                        <a:cs typeface="Lato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3943" rtl="0" eaLnBrk="1" fontAlgn="ctr" latinLnBrk="0" hangingPunct="1"/>
                      <a:endParaRPr lang="en-US" sz="1100" b="1" kern="1200">
                        <a:solidFill>
                          <a:schemeClr val="bg1"/>
                        </a:solidFill>
                        <a:latin typeface="+mj-lt"/>
                        <a:ea typeface="Lato"/>
                        <a:cs typeface="Lato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3943" rtl="0" eaLnBrk="1" fontAlgn="ctr" latinLnBrk="0" hangingPunct="1"/>
                      <a:endParaRPr lang="en-US" sz="1100" b="1" kern="1200" dirty="0">
                        <a:solidFill>
                          <a:schemeClr val="bg1"/>
                        </a:solidFill>
                        <a:latin typeface="+mj-lt"/>
                        <a:ea typeface="Lato"/>
                        <a:cs typeface="Lato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3943" rtl="0" eaLnBrk="1" fontAlgn="ctr" latinLnBrk="0" hangingPunct="1"/>
                      <a:endParaRPr lang="en-US" sz="1100" b="1" kern="1200">
                        <a:solidFill>
                          <a:schemeClr val="bg1"/>
                        </a:solidFill>
                        <a:latin typeface="+mj-lt"/>
                        <a:ea typeface="Lato"/>
                        <a:cs typeface="Lato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3943" rtl="0" eaLnBrk="1" fontAlgn="ctr" latinLnBrk="0" hangingPunct="1"/>
                      <a:endParaRPr lang="en-US" sz="1100" b="1" kern="1200">
                        <a:solidFill>
                          <a:schemeClr val="bg1"/>
                        </a:solidFill>
                        <a:latin typeface="+mj-lt"/>
                        <a:ea typeface="Lato"/>
                        <a:cs typeface="Lato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3943" rtl="0" eaLnBrk="1" fontAlgn="ctr" latinLnBrk="0" hangingPunct="1"/>
                      <a:endParaRPr lang="en-US" sz="1100" b="1" kern="1200">
                        <a:solidFill>
                          <a:schemeClr val="bg1"/>
                        </a:solidFill>
                        <a:latin typeface="+mj-lt"/>
                        <a:ea typeface="Lato"/>
                        <a:cs typeface="Lato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3943" rtl="0" eaLnBrk="1" fontAlgn="ctr" latinLnBrk="0" hangingPunct="1"/>
                      <a:endParaRPr lang="en-US" sz="1100" b="1" kern="1200" dirty="0">
                        <a:solidFill>
                          <a:schemeClr val="bg1"/>
                        </a:solidFill>
                        <a:latin typeface="+mj-lt"/>
                        <a:ea typeface="Lato"/>
                        <a:cs typeface="Lato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3943" rtl="0" eaLnBrk="1" fontAlgn="ctr" latinLnBrk="0" hangingPunct="1"/>
                      <a:endParaRPr lang="en-US" sz="1100" b="1" kern="1200" dirty="0">
                        <a:solidFill>
                          <a:schemeClr val="bg1"/>
                        </a:solidFill>
                        <a:latin typeface="+mj-lt"/>
                        <a:ea typeface="Lato"/>
                        <a:cs typeface="Lato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3943" rtl="0" eaLnBrk="1" fontAlgn="ctr" latinLnBrk="0" hangingPunct="1"/>
                      <a:endParaRPr lang="en-US" sz="1100" b="1" kern="1200" dirty="0">
                        <a:solidFill>
                          <a:schemeClr val="bg1"/>
                        </a:solidFill>
                        <a:latin typeface="+mj-lt"/>
                        <a:ea typeface="Lato"/>
                        <a:cs typeface="Lato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3943" rtl="0" eaLnBrk="1" fontAlgn="ctr" latinLnBrk="0" hangingPunct="1"/>
                      <a:endParaRPr lang="en-US" sz="1100" b="1" kern="1200" dirty="0">
                        <a:solidFill>
                          <a:schemeClr val="bg1"/>
                        </a:solidFill>
                        <a:latin typeface="+mj-lt"/>
                        <a:ea typeface="Lato"/>
                        <a:cs typeface="Lato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522929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0728266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>
          <a:extLst>
            <a:ext uri="{FF2B5EF4-FFF2-40B4-BE49-F238E27FC236}">
              <a16:creationId xmlns:a16="http://schemas.microsoft.com/office/drawing/2014/main" id="{94682251-10DE-B7A4-4F36-F9E3E3B338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E01A745-5AF8-7F10-470E-D155EA4DC2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srgbClr val="2E2E38"/>
                </a:solidFill>
              </a:rPr>
              <a:t>Page </a:t>
            </a:r>
            <a:fld id="{F1BC30E3-FFE5-4B91-AA19-87A149EBB9EE}" type="slidenum">
              <a:rPr lang="en-US">
                <a:solidFill>
                  <a:srgbClr val="2E2E38"/>
                </a:solidFill>
              </a:rPr>
              <a:pPr/>
              <a:t>6</a:t>
            </a:fld>
            <a:endParaRPr lang="en-US" dirty="0">
              <a:solidFill>
                <a:srgbClr val="2E2E38"/>
              </a:solidFill>
            </a:endParaRPr>
          </a:p>
        </p:txBody>
      </p:sp>
      <p:sp>
        <p:nvSpPr>
          <p:cNvPr id="9" name="Cím 1">
            <a:extLst>
              <a:ext uri="{FF2B5EF4-FFF2-40B4-BE49-F238E27FC236}">
                <a16:creationId xmlns:a16="http://schemas.microsoft.com/office/drawing/2014/main" id="{ED865AEF-DE69-C279-F824-27944B0687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268" y="1048921"/>
            <a:ext cx="11341100" cy="590931"/>
          </a:xfrm>
        </p:spPr>
        <p:txBody>
          <a:bodyPr vert="horz"/>
          <a:lstStyle/>
          <a:p>
            <a:r>
              <a:rPr lang="en-US" sz="2800" b="1" dirty="0"/>
              <a:t>Decisions</a:t>
            </a:r>
            <a:endParaRPr lang="en-US" b="1" dirty="0"/>
          </a:p>
        </p:txBody>
      </p:sp>
      <p:sp>
        <p:nvSpPr>
          <p:cNvPr id="10" name="Tartalom helye 4">
            <a:extLst>
              <a:ext uri="{FF2B5EF4-FFF2-40B4-BE49-F238E27FC236}">
                <a16:creationId xmlns:a16="http://schemas.microsoft.com/office/drawing/2014/main" id="{4BD15FF7-CE88-649F-2705-B4BEDB2DFA63}"/>
              </a:ext>
            </a:extLst>
          </p:cNvPr>
          <p:cNvSpPr txBox="1">
            <a:spLocks/>
          </p:cNvSpPr>
          <p:nvPr/>
        </p:nvSpPr>
        <p:spPr>
          <a:xfrm>
            <a:off x="407987" y="432176"/>
            <a:ext cx="11341099" cy="391374"/>
          </a:xfrm>
          <a:prstGeom prst="rect">
            <a:avLst/>
          </a:prstGeom>
        </p:spPr>
        <p:txBody>
          <a:bodyPr/>
          <a:lstStyle>
            <a:lvl1pPr marL="0" marR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 kumimoji="0" lang="de-DE" sz="1999" b="0" i="0" u="none" strike="noStrike" kern="120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271327" marR="0" indent="-271327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kumimoji="0" lang="de-DE" sz="1999" b="0" i="0" u="none" strike="noStrike" kern="120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510919" marR="0" indent="-233246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kumimoji="0" lang="de-DE" sz="1799" b="0" i="0" u="none" strike="noStrike" kern="120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745752" marR="0" indent="-231659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kumimoji="0" lang="de-DE" sz="1599" b="0" i="0" u="none" strike="noStrike" kern="120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944091" marR="0" indent="-201512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kumimoji="0" lang="de-DE" sz="1399" b="0" i="0" u="none" strike="noStrike" kern="120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RAID (Risks, Actions, Issues &amp; Decisions) Follow-up</a:t>
            </a:r>
            <a:endParaRPr lang="en-US" dirty="0"/>
          </a:p>
          <a:p>
            <a:endParaRPr lang="en-US" dirty="0"/>
          </a:p>
        </p:txBody>
      </p:sp>
      <p:graphicFrame>
        <p:nvGraphicFramePr>
          <p:cNvPr id="2" name="Table 6">
            <a:extLst>
              <a:ext uri="{FF2B5EF4-FFF2-40B4-BE49-F238E27FC236}">
                <a16:creationId xmlns:a16="http://schemas.microsoft.com/office/drawing/2014/main" id="{B6E9848C-5854-F827-E886-9090A432C46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95538138"/>
              </p:ext>
            </p:extLst>
          </p:nvPr>
        </p:nvGraphicFramePr>
        <p:xfrm>
          <a:off x="429766" y="1618491"/>
          <a:ext cx="11319322" cy="2786366"/>
        </p:xfrm>
        <a:graphic>
          <a:graphicData uri="http://schemas.openxmlformats.org/drawingml/2006/table">
            <a:tbl>
              <a:tblPr firstRow="1" bandRow="1"/>
              <a:tblGrid>
                <a:gridCol w="512141">
                  <a:extLst>
                    <a:ext uri="{9D8B030D-6E8A-4147-A177-3AD203B41FA5}">
                      <a16:colId xmlns:a16="http://schemas.microsoft.com/office/drawing/2014/main" val="807255311"/>
                    </a:ext>
                  </a:extLst>
                </a:gridCol>
                <a:gridCol w="2490613">
                  <a:extLst>
                    <a:ext uri="{9D8B030D-6E8A-4147-A177-3AD203B41FA5}">
                      <a16:colId xmlns:a16="http://schemas.microsoft.com/office/drawing/2014/main" val="163418338"/>
                    </a:ext>
                  </a:extLst>
                </a:gridCol>
                <a:gridCol w="2537457">
                  <a:extLst>
                    <a:ext uri="{9D8B030D-6E8A-4147-A177-3AD203B41FA5}">
                      <a16:colId xmlns:a16="http://schemas.microsoft.com/office/drawing/2014/main" val="3392869195"/>
                    </a:ext>
                  </a:extLst>
                </a:gridCol>
                <a:gridCol w="1552692">
                  <a:extLst>
                    <a:ext uri="{9D8B030D-6E8A-4147-A177-3AD203B41FA5}">
                      <a16:colId xmlns:a16="http://schemas.microsoft.com/office/drawing/2014/main" val="3247310338"/>
                    </a:ext>
                  </a:extLst>
                </a:gridCol>
                <a:gridCol w="645459">
                  <a:extLst>
                    <a:ext uri="{9D8B030D-6E8A-4147-A177-3AD203B41FA5}">
                      <a16:colId xmlns:a16="http://schemas.microsoft.com/office/drawing/2014/main" val="2961316966"/>
                    </a:ext>
                  </a:extLst>
                </a:gridCol>
                <a:gridCol w="668511">
                  <a:extLst>
                    <a:ext uri="{9D8B030D-6E8A-4147-A177-3AD203B41FA5}">
                      <a16:colId xmlns:a16="http://schemas.microsoft.com/office/drawing/2014/main" val="2238210792"/>
                    </a:ext>
                  </a:extLst>
                </a:gridCol>
                <a:gridCol w="2912449">
                  <a:extLst>
                    <a:ext uri="{9D8B030D-6E8A-4147-A177-3AD203B41FA5}">
                      <a16:colId xmlns:a16="http://schemas.microsoft.com/office/drawing/2014/main" val="3112965645"/>
                    </a:ext>
                  </a:extLst>
                </a:gridCol>
              </a:tblGrid>
              <a:tr h="345620"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rtl="0"/>
                      <a:r>
                        <a:rPr lang="en-GB" sz="900" dirty="0">
                          <a:solidFill>
                            <a:schemeClr val="bg1"/>
                          </a:solidFill>
                          <a:latin typeface="+mj-lt"/>
                          <a:ea typeface="Lato"/>
                          <a:cs typeface="Lato"/>
                        </a:rPr>
                        <a:t>Id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rtl="0"/>
                      <a:r>
                        <a:rPr lang="en-GB" sz="900" dirty="0">
                          <a:solidFill>
                            <a:schemeClr val="bg1"/>
                          </a:solidFill>
                          <a:latin typeface="+mj-lt"/>
                          <a:ea typeface="Lato"/>
                          <a:cs typeface="Lato"/>
                        </a:rPr>
                        <a:t>Decision Detail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rtl="0"/>
                      <a:r>
                        <a:rPr lang="en-GB" sz="900" dirty="0">
                          <a:solidFill>
                            <a:schemeClr val="bg1"/>
                          </a:solidFill>
                          <a:latin typeface="+mj-lt"/>
                          <a:ea typeface="Lato"/>
                          <a:cs typeface="Lato"/>
                        </a:rPr>
                        <a:t>Decision Impact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rtl="0"/>
                      <a:r>
                        <a:rPr lang="en-GB" sz="900" dirty="0">
                          <a:solidFill>
                            <a:schemeClr val="bg1"/>
                          </a:solidFill>
                          <a:latin typeface="+mj-lt"/>
                          <a:ea typeface="Lato"/>
                          <a:cs typeface="Lato"/>
                        </a:rPr>
                        <a:t>Decision Date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rtl="0"/>
                      <a:r>
                        <a:rPr lang="en-GB" sz="900" dirty="0">
                          <a:solidFill>
                            <a:schemeClr val="bg1"/>
                          </a:solidFill>
                          <a:latin typeface="+mj-lt"/>
                          <a:ea typeface="Lato"/>
                          <a:cs typeface="Lato"/>
                        </a:rPr>
                        <a:t>Proposed by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rtl="0"/>
                      <a:r>
                        <a:rPr lang="en-GB" sz="900" dirty="0">
                          <a:solidFill>
                            <a:schemeClr val="bg1"/>
                          </a:solidFill>
                          <a:latin typeface="+mj-lt"/>
                          <a:ea typeface="Lato"/>
                          <a:cs typeface="Lato"/>
                        </a:rPr>
                        <a:t>Approved by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rtl="0"/>
                      <a:r>
                        <a:rPr lang="en-GB" sz="900" dirty="0">
                          <a:solidFill>
                            <a:schemeClr val="bg1"/>
                          </a:solidFill>
                          <a:latin typeface="+mj-lt"/>
                          <a:ea typeface="Lato"/>
                          <a:cs typeface="Lato"/>
                        </a:rPr>
                        <a:t>Alternatives Considered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7506681"/>
                  </a:ext>
                </a:extLst>
              </a:tr>
              <a:tr h="818070"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base"/>
                      <a:r>
                        <a:rPr lang="en-US" sz="800" kern="1200" dirty="0">
                          <a:solidFill>
                            <a:schemeClr val="bg1"/>
                          </a:solidFill>
                          <a:latin typeface="+mj-lt"/>
                          <a:ea typeface="Lato"/>
                          <a:cs typeface="Lato"/>
                        </a:rPr>
                        <a:t>D001​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rtl="0" fontAlgn="base"/>
                      <a:endParaRPr lang="en-US" sz="800" kern="1200" dirty="0">
                        <a:solidFill>
                          <a:schemeClr val="bg1"/>
                        </a:solidFill>
                        <a:latin typeface="+mj-lt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rtl="0" fontAlgn="base"/>
                      <a:endParaRPr lang="en-US" sz="800" kern="1200" dirty="0">
                        <a:solidFill>
                          <a:schemeClr val="bg1"/>
                        </a:solidFill>
                        <a:latin typeface="+mj-lt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rtl="0" fontAlgn="base"/>
                      <a:endParaRPr lang="en-US" sz="800" kern="1200" dirty="0">
                        <a:solidFill>
                          <a:schemeClr val="bg1"/>
                        </a:solidFill>
                        <a:latin typeface="+mj-lt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rtl="0" fontAlgn="base"/>
                      <a:endParaRPr lang="en-US" sz="800" kern="1200">
                        <a:solidFill>
                          <a:schemeClr val="bg1"/>
                        </a:solidFill>
                        <a:latin typeface="+mj-lt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rtl="0" fontAlgn="base"/>
                      <a:endParaRPr lang="en-US" sz="800" kern="1200">
                        <a:solidFill>
                          <a:schemeClr val="bg1"/>
                        </a:solidFill>
                        <a:latin typeface="+mj-lt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rtl="0" fontAlgn="base"/>
                      <a:endParaRPr lang="en-US" sz="800" kern="1200" dirty="0">
                        <a:solidFill>
                          <a:schemeClr val="bg1"/>
                        </a:solidFill>
                        <a:latin typeface="+mj-lt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2592930"/>
                  </a:ext>
                </a:extLst>
              </a:tr>
              <a:tr h="392865"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base"/>
                      <a:r>
                        <a:rPr lang="en-US" sz="800" kern="1200" dirty="0">
                          <a:solidFill>
                            <a:schemeClr val="bg1"/>
                          </a:solidFill>
                          <a:latin typeface="+mj-lt"/>
                          <a:ea typeface="Lato"/>
                          <a:cs typeface="Lato"/>
                        </a:rPr>
                        <a:t>D002​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rtl="0" fontAlgn="base"/>
                      <a:endParaRPr lang="en-US" sz="800" kern="1200" dirty="0">
                        <a:solidFill>
                          <a:schemeClr val="bg1"/>
                        </a:solidFill>
                        <a:latin typeface="+mj-lt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rtl="0" fontAlgn="base"/>
                      <a:endParaRPr lang="en-US" sz="800" kern="1200" dirty="0">
                        <a:solidFill>
                          <a:schemeClr val="bg1"/>
                        </a:solidFill>
                        <a:latin typeface="+mj-lt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rtl="0" fontAlgn="base"/>
                      <a:endParaRPr lang="en-US" sz="800" kern="1200" dirty="0">
                        <a:solidFill>
                          <a:schemeClr val="bg1"/>
                        </a:solidFill>
                        <a:latin typeface="+mj-lt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rtl="0" fontAlgn="base"/>
                      <a:endParaRPr lang="en-US" sz="800" kern="1200">
                        <a:solidFill>
                          <a:schemeClr val="bg1"/>
                        </a:solidFill>
                        <a:latin typeface="+mj-lt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rtl="0" fontAlgn="base"/>
                      <a:endParaRPr lang="en-US" sz="800" kern="1200">
                        <a:solidFill>
                          <a:schemeClr val="bg1"/>
                        </a:solidFill>
                        <a:latin typeface="+mj-lt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rtl="0" fontAlgn="base"/>
                      <a:endParaRPr lang="en-US" sz="800" kern="1200" dirty="0">
                        <a:solidFill>
                          <a:schemeClr val="bg1"/>
                        </a:solidFill>
                        <a:latin typeface="+mj-lt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3096845"/>
                  </a:ext>
                </a:extLst>
              </a:tr>
              <a:tr h="475228"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base"/>
                      <a:r>
                        <a:rPr lang="en-US" sz="800" kern="1200" dirty="0">
                          <a:solidFill>
                            <a:schemeClr val="bg1"/>
                          </a:solidFill>
                          <a:latin typeface="+mj-lt"/>
                          <a:ea typeface="Lato"/>
                          <a:cs typeface="Lato"/>
                        </a:rPr>
                        <a:t>D003​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rtl="0" fontAlgn="base"/>
                      <a:endParaRPr lang="en-US" sz="800" kern="1200">
                        <a:solidFill>
                          <a:schemeClr val="bg1"/>
                        </a:solidFill>
                        <a:latin typeface="+mj-lt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rtl="0" fontAlgn="base"/>
                      <a:endParaRPr lang="en-US" sz="800" kern="1200" dirty="0">
                        <a:solidFill>
                          <a:schemeClr val="bg1"/>
                        </a:solidFill>
                        <a:latin typeface="+mj-lt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rtl="0" fontAlgn="base"/>
                      <a:endParaRPr lang="en-US" sz="800" kern="1200" dirty="0">
                        <a:solidFill>
                          <a:schemeClr val="bg1"/>
                        </a:solidFill>
                        <a:latin typeface="+mj-lt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rtl="0" fontAlgn="base"/>
                      <a:endParaRPr lang="en-US" sz="800" kern="1200" dirty="0">
                        <a:solidFill>
                          <a:schemeClr val="bg1"/>
                        </a:solidFill>
                        <a:latin typeface="+mj-lt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rtl="0" fontAlgn="base"/>
                      <a:endParaRPr lang="en-US" sz="800" kern="1200" dirty="0">
                        <a:solidFill>
                          <a:schemeClr val="bg1"/>
                        </a:solidFill>
                        <a:latin typeface="+mj-lt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rtl="0" fontAlgn="base"/>
                      <a:endParaRPr lang="en-US" sz="800" kern="1200" dirty="0">
                        <a:solidFill>
                          <a:schemeClr val="bg1"/>
                        </a:solidFill>
                        <a:latin typeface="+mj-lt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2547024"/>
                  </a:ext>
                </a:extLst>
              </a:tr>
              <a:tr h="734443"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base"/>
                      <a:r>
                        <a:rPr lang="en-US" sz="800" kern="1200" dirty="0">
                          <a:solidFill>
                            <a:schemeClr val="bg1"/>
                          </a:solidFill>
                          <a:latin typeface="+mj-lt"/>
                          <a:ea typeface="Lato"/>
                          <a:cs typeface="Lato"/>
                        </a:rPr>
                        <a:t>D004​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rtl="0" fontAlgn="base"/>
                      <a:endParaRPr lang="en-US" sz="800" kern="1200" dirty="0">
                        <a:solidFill>
                          <a:schemeClr val="bg1"/>
                        </a:solidFill>
                        <a:latin typeface="+mj-lt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rtl="0" fontAlgn="base"/>
                      <a:endParaRPr lang="en-US" sz="800" kern="1200" dirty="0">
                        <a:solidFill>
                          <a:schemeClr val="bg1"/>
                        </a:solidFill>
                        <a:latin typeface="+mj-lt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rtl="0" fontAlgn="base"/>
                      <a:endParaRPr lang="en-US" sz="800" kern="1200" dirty="0">
                        <a:solidFill>
                          <a:schemeClr val="bg1"/>
                        </a:solidFill>
                        <a:latin typeface="+mj-lt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rtl="0" fontAlgn="base"/>
                      <a:endParaRPr lang="en-US" sz="800" kern="1200" dirty="0">
                        <a:solidFill>
                          <a:schemeClr val="bg1"/>
                        </a:solidFill>
                        <a:latin typeface="+mj-lt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rtl="0" fontAlgn="base"/>
                      <a:endParaRPr lang="en-US" sz="800" kern="1200" dirty="0">
                        <a:solidFill>
                          <a:schemeClr val="bg1"/>
                        </a:solidFill>
                        <a:latin typeface="+mj-lt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rtl="0" fontAlgn="base"/>
                      <a:endParaRPr lang="en-US" sz="800" kern="1200" dirty="0">
                        <a:solidFill>
                          <a:schemeClr val="bg1"/>
                        </a:solidFill>
                        <a:latin typeface="+mj-lt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285438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2265322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>
          <a:extLst>
            <a:ext uri="{FF2B5EF4-FFF2-40B4-BE49-F238E27FC236}">
              <a16:creationId xmlns:a16="http://schemas.microsoft.com/office/drawing/2014/main" id="{6EA455FF-8060-C704-6C28-BE882A9150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F76B35E-F78F-08DD-4BDA-EC13CCD49C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srgbClr val="2E2E38"/>
                </a:solidFill>
              </a:rPr>
              <a:t>Page </a:t>
            </a:r>
            <a:fld id="{F1BC30E3-FFE5-4B91-AA19-87A149EBB9EE}" type="slidenum">
              <a:rPr lang="en-US">
                <a:solidFill>
                  <a:srgbClr val="2E2E38"/>
                </a:solidFill>
              </a:rPr>
              <a:pPr/>
              <a:t>7</a:t>
            </a:fld>
            <a:endParaRPr lang="en-US" dirty="0">
              <a:solidFill>
                <a:srgbClr val="2E2E38"/>
              </a:solidFill>
            </a:endParaRPr>
          </a:p>
        </p:txBody>
      </p:sp>
      <p:sp>
        <p:nvSpPr>
          <p:cNvPr id="10" name="Tartalom helye 4">
            <a:extLst>
              <a:ext uri="{FF2B5EF4-FFF2-40B4-BE49-F238E27FC236}">
                <a16:creationId xmlns:a16="http://schemas.microsoft.com/office/drawing/2014/main" id="{1EBFF190-85BE-6A05-802D-AF2A90F7ABAD}"/>
              </a:ext>
            </a:extLst>
          </p:cNvPr>
          <p:cNvSpPr txBox="1">
            <a:spLocks/>
          </p:cNvSpPr>
          <p:nvPr/>
        </p:nvSpPr>
        <p:spPr>
          <a:xfrm>
            <a:off x="407987" y="389446"/>
            <a:ext cx="11341099" cy="391374"/>
          </a:xfrm>
          <a:prstGeom prst="rect">
            <a:avLst/>
          </a:prstGeom>
        </p:spPr>
        <p:txBody>
          <a:bodyPr/>
          <a:lstStyle>
            <a:lvl1pPr marL="0" marR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 kumimoji="0" lang="de-DE" sz="1999" b="0" i="0" u="none" strike="noStrike" kern="120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271327" marR="0" indent="-271327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kumimoji="0" lang="de-DE" sz="1999" b="0" i="0" u="none" strike="noStrike" kern="120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510919" marR="0" indent="-233246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kumimoji="0" lang="de-DE" sz="1799" b="0" i="0" u="none" strike="noStrike" kern="120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745752" marR="0" indent="-231659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kumimoji="0" lang="de-DE" sz="1599" b="0" i="0" u="none" strike="noStrike" kern="120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944091" marR="0" indent="-201512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kumimoji="0" lang="de-DE" sz="1399" b="0" i="0" u="none" strike="noStrike" kern="120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b="1" dirty="0"/>
              <a:t>Agenda</a:t>
            </a:r>
            <a:endParaRPr lang="en-US" b="1" dirty="0"/>
          </a:p>
          <a:p>
            <a:endParaRPr lang="en-US" dirty="0"/>
          </a:p>
        </p:txBody>
      </p:sp>
      <p:sp>
        <p:nvSpPr>
          <p:cNvPr id="8" name="Lekerekített téglalap 11">
            <a:extLst>
              <a:ext uri="{FF2B5EF4-FFF2-40B4-BE49-F238E27FC236}">
                <a16:creationId xmlns:a16="http://schemas.microsoft.com/office/drawing/2014/main" id="{86EE6FEE-C28B-A818-C48C-57ECE3788E04}"/>
              </a:ext>
            </a:extLst>
          </p:cNvPr>
          <p:cNvSpPr/>
          <p:nvPr/>
        </p:nvSpPr>
        <p:spPr>
          <a:xfrm>
            <a:off x="407988" y="1274164"/>
            <a:ext cx="9862683" cy="417080"/>
          </a:xfrm>
          <a:prstGeom prst="roundRect">
            <a:avLst>
              <a:gd name="adj" fmla="val 11614"/>
            </a:avLst>
          </a:prstGeom>
          <a:solidFill>
            <a:schemeClr val="tx1">
              <a:lumMod val="95000"/>
            </a:schemeClr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solidFill>
                  <a:schemeClr val="bg1"/>
                </a:solidFill>
              </a:rPr>
              <a:t>RAID (Risks, Actions, Issues &amp; Decisions) Follow-up</a:t>
            </a:r>
          </a:p>
        </p:txBody>
      </p:sp>
      <p:sp>
        <p:nvSpPr>
          <p:cNvPr id="12" name="Lekerekített téglalap 10">
            <a:extLst>
              <a:ext uri="{FF2B5EF4-FFF2-40B4-BE49-F238E27FC236}">
                <a16:creationId xmlns:a16="http://schemas.microsoft.com/office/drawing/2014/main" id="{179C3978-233A-ABCE-00BC-BBEAC91526E3}"/>
              </a:ext>
            </a:extLst>
          </p:cNvPr>
          <p:cNvSpPr/>
          <p:nvPr/>
        </p:nvSpPr>
        <p:spPr>
          <a:xfrm>
            <a:off x="407986" y="1810583"/>
            <a:ext cx="9862683" cy="417080"/>
          </a:xfrm>
          <a:prstGeom prst="roundRect">
            <a:avLst>
              <a:gd name="adj" fmla="val 8975"/>
            </a:avLst>
          </a:prstGeom>
          <a:solidFill>
            <a:schemeClr val="tx2"/>
          </a:solidFill>
          <a:ln w="12700" cap="flat" cmpd="sng" algn="ctr">
            <a:solidFill>
              <a:schemeClr val="tx2"/>
            </a:solidFill>
            <a:prstDash val="solid"/>
            <a:miter lim="800000"/>
          </a:ln>
          <a:effectLst>
            <a:outerShdw blurRad="762000" dist="76200" dir="5400000" sx="95049" sy="95049" algn="t" rotWithShape="0">
              <a:srgbClr val="030436">
                <a:alpha val="20000"/>
              </a:srgbClr>
            </a:outerShdw>
          </a:effectLst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30436"/>
                </a:solidFill>
                <a:effectLst/>
                <a:uLnTx/>
                <a:uFillTx/>
                <a:ea typeface="+mn-ea"/>
                <a:cs typeface="+mn-cs"/>
              </a:rPr>
              <a:t>Project Status &amp; Timeline Review</a:t>
            </a:r>
          </a:p>
        </p:txBody>
      </p:sp>
      <p:sp>
        <p:nvSpPr>
          <p:cNvPr id="13" name="Lekerekített téglalap 16">
            <a:extLst>
              <a:ext uri="{FF2B5EF4-FFF2-40B4-BE49-F238E27FC236}">
                <a16:creationId xmlns:a16="http://schemas.microsoft.com/office/drawing/2014/main" id="{DDD30F9D-CAA8-EDDC-7EE7-3F7D9AE07764}"/>
              </a:ext>
            </a:extLst>
          </p:cNvPr>
          <p:cNvSpPr/>
          <p:nvPr/>
        </p:nvSpPr>
        <p:spPr>
          <a:xfrm>
            <a:off x="407986" y="2352039"/>
            <a:ext cx="9862683" cy="417080"/>
          </a:xfrm>
          <a:prstGeom prst="roundRect">
            <a:avLst>
              <a:gd name="adj" fmla="val 8975"/>
            </a:avLst>
          </a:prstGeom>
          <a:solidFill>
            <a:schemeClr val="tx1">
              <a:lumMod val="95000"/>
            </a:schemeClr>
          </a:solidFill>
          <a:ln w="12700" cap="flat" cmpd="sng" algn="ctr">
            <a:solidFill>
              <a:schemeClr val="tx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Highlight Topics</a:t>
            </a:r>
          </a:p>
        </p:txBody>
      </p:sp>
    </p:spTree>
    <p:extLst>
      <p:ext uri="{BB962C8B-B14F-4D97-AF65-F5344CB8AC3E}">
        <p14:creationId xmlns:p14="http://schemas.microsoft.com/office/powerpoint/2010/main" val="87461556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>
          <a:extLst>
            <a:ext uri="{FF2B5EF4-FFF2-40B4-BE49-F238E27FC236}">
              <a16:creationId xmlns:a16="http://schemas.microsoft.com/office/drawing/2014/main" id="{8E68851E-9A79-D4C7-F92E-6D91391CE6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8B85E1B-4A51-211D-5170-E4B75A467D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srgbClr val="2E2E38"/>
                </a:solidFill>
              </a:rPr>
              <a:t>Page </a:t>
            </a:r>
            <a:fld id="{F1BC30E3-FFE5-4B91-AA19-87A149EBB9EE}" type="slidenum">
              <a:rPr lang="en-US">
                <a:solidFill>
                  <a:srgbClr val="2E2E38"/>
                </a:solidFill>
              </a:rPr>
              <a:pPr/>
              <a:t>8</a:t>
            </a:fld>
            <a:endParaRPr lang="en-US" dirty="0">
              <a:solidFill>
                <a:srgbClr val="2E2E38"/>
              </a:solidFill>
            </a:endParaRPr>
          </a:p>
        </p:txBody>
      </p:sp>
      <p:sp>
        <p:nvSpPr>
          <p:cNvPr id="12" name="Content Placeholder 28">
            <a:extLst>
              <a:ext uri="{FF2B5EF4-FFF2-40B4-BE49-F238E27FC236}">
                <a16:creationId xmlns:a16="http://schemas.microsoft.com/office/drawing/2014/main" id="{592950EC-D441-0E8F-1D36-4057C4D4C692}"/>
              </a:ext>
            </a:extLst>
          </p:cNvPr>
          <p:cNvSpPr txBox="1">
            <a:spLocks/>
          </p:cNvSpPr>
          <p:nvPr/>
        </p:nvSpPr>
        <p:spPr>
          <a:xfrm>
            <a:off x="407987" y="432176"/>
            <a:ext cx="11341099" cy="391374"/>
          </a:xfrm>
          <a:prstGeom prst="rect">
            <a:avLst/>
          </a:prstGeom>
        </p:spPr>
        <p:txBody>
          <a:bodyPr/>
          <a:lstStyle>
            <a:lvl1pPr marL="0" marR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 kumimoji="0" lang="de-DE" sz="1999" b="0" i="0" u="none" strike="noStrike" kern="120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271327" marR="0" indent="-271327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kumimoji="0" lang="de-DE" sz="1999" b="0" i="0" u="none" strike="noStrike" kern="120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510919" marR="0" indent="-233246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kumimoji="0" lang="de-DE" sz="1799" b="0" i="0" u="none" strike="noStrike" kern="120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745752" marR="0" indent="-231659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kumimoji="0" lang="de-DE" sz="1599" b="0" i="0" u="none" strike="noStrike" kern="120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944091" marR="0" indent="-201512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kumimoji="0" lang="de-DE" sz="1399" b="0" i="0" u="none" strike="noStrike" kern="120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Projects Status &amp; Timeline Review</a:t>
            </a:r>
          </a:p>
        </p:txBody>
      </p:sp>
      <p:sp>
        <p:nvSpPr>
          <p:cNvPr id="14" name="Title 5">
            <a:extLst>
              <a:ext uri="{FF2B5EF4-FFF2-40B4-BE49-F238E27FC236}">
                <a16:creationId xmlns:a16="http://schemas.microsoft.com/office/drawing/2014/main" id="{20500AEE-8845-71C3-5605-794FFBF2D591}"/>
              </a:ext>
            </a:extLst>
          </p:cNvPr>
          <p:cNvSpPr txBox="1">
            <a:spLocks/>
          </p:cNvSpPr>
          <p:nvPr/>
        </p:nvSpPr>
        <p:spPr>
          <a:xfrm>
            <a:off x="689999" y="895755"/>
            <a:ext cx="3253048" cy="347757"/>
          </a:xfrm>
          <a:prstGeom prst="rect">
            <a:avLst/>
          </a:prstGeom>
        </p:spPr>
        <p:txBody>
          <a:bodyPr vert="horz" lIns="0" tIns="45720" rIns="91440" bIns="4572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1" kern="1200">
                <a:solidFill>
                  <a:schemeClr val="tx2"/>
                </a:solidFill>
                <a:latin typeface="Open Sauce One" pitchFamily="2" charset="0"/>
                <a:ea typeface="+mj-ea"/>
                <a:cs typeface="+mj-cs"/>
              </a:defRPr>
            </a:lvl1pPr>
          </a:lstStyle>
          <a:p>
            <a:r>
              <a:rPr lang="en-GB" sz="2800" dirty="0">
                <a:solidFill>
                  <a:schemeClr val="bg2"/>
                </a:solidFill>
                <a:latin typeface="+mn-lt"/>
              </a:rPr>
              <a:t>Weekly Report –</a:t>
            </a:r>
            <a:r>
              <a:rPr lang="en-GB" dirty="0">
                <a:solidFill>
                  <a:schemeClr val="bg2"/>
                </a:solidFill>
                <a:latin typeface="+mn-lt"/>
              </a:rPr>
              <a:t> </a:t>
            </a:r>
          </a:p>
        </p:txBody>
      </p:sp>
      <p:sp>
        <p:nvSpPr>
          <p:cNvPr id="16" name="Lekerekített téglalap 8">
            <a:extLst>
              <a:ext uri="{FF2B5EF4-FFF2-40B4-BE49-F238E27FC236}">
                <a16:creationId xmlns:a16="http://schemas.microsoft.com/office/drawing/2014/main" id="{FA4D14DA-F32D-6C27-29B5-ECC215E94691}"/>
              </a:ext>
            </a:extLst>
          </p:cNvPr>
          <p:cNvSpPr>
            <a:spLocks/>
          </p:cNvSpPr>
          <p:nvPr/>
        </p:nvSpPr>
        <p:spPr>
          <a:xfrm>
            <a:off x="561411" y="1935538"/>
            <a:ext cx="5489728" cy="4263927"/>
          </a:xfrm>
          <a:prstGeom prst="roundRect">
            <a:avLst>
              <a:gd name="adj" fmla="val 7297"/>
            </a:avLst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>
            <a:outerShdw blurRad="762000" dist="76200" dir="5400000" sx="95049" sy="95049" algn="t" rotWithShape="0">
              <a:srgbClr val="030436">
                <a:alpha val="20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-</a:t>
            </a:r>
          </a:p>
        </p:txBody>
      </p:sp>
      <p:pic>
        <p:nvPicPr>
          <p:cNvPr id="17" name="Ábra 36">
            <a:extLst>
              <a:ext uri="{FF2B5EF4-FFF2-40B4-BE49-F238E27FC236}">
                <a16:creationId xmlns:a16="http://schemas.microsoft.com/office/drawing/2014/main" id="{3AB1A816-2AA5-C4ED-14A9-A4FC60A4F07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266592" y="1677800"/>
            <a:ext cx="601329" cy="601329"/>
          </a:xfrm>
          <a:prstGeom prst="rect">
            <a:avLst/>
          </a:prstGeom>
        </p:spPr>
      </p:pic>
      <p:sp>
        <p:nvSpPr>
          <p:cNvPr id="18" name="Rechteck 191">
            <a:extLst>
              <a:ext uri="{FF2B5EF4-FFF2-40B4-BE49-F238E27FC236}">
                <a16:creationId xmlns:a16="http://schemas.microsoft.com/office/drawing/2014/main" id="{5F8033EC-0523-6C8F-7652-E1A9273628CB}"/>
              </a:ext>
            </a:extLst>
          </p:cNvPr>
          <p:cNvSpPr/>
          <p:nvPr/>
        </p:nvSpPr>
        <p:spPr>
          <a:xfrm>
            <a:off x="798941" y="2052984"/>
            <a:ext cx="2116744" cy="369332"/>
          </a:xfrm>
          <a:prstGeom prst="rect">
            <a:avLst/>
          </a:prstGeom>
          <a:effectLst/>
        </p:spPr>
        <p:txBody>
          <a:bodyPr vert="horz" wrap="square" lIns="91440" tIns="45720" rIns="91440" bIns="45720" rtlCol="0" anchor="ctr">
            <a:spAutoFit/>
          </a:bodyPr>
          <a:lstStyle/>
          <a:p>
            <a:pPr>
              <a:buClr>
                <a:srgbClr val="FE702E"/>
              </a:buClr>
              <a:defRPr/>
            </a:pPr>
            <a:r>
              <a:rPr lang="de-DE" b="1" spc="100" dirty="0">
                <a:solidFill>
                  <a:schemeClr val="bg2"/>
                </a:solidFill>
                <a:latin typeface="+mj-lt"/>
              </a:rPr>
              <a:t>Achievements</a:t>
            </a:r>
            <a:r>
              <a:rPr lang="de-DE" b="1" spc="100" dirty="0">
                <a:solidFill>
                  <a:srgbClr val="0038D5"/>
                </a:solidFill>
                <a:latin typeface="Open Sauce One" pitchFamily="2" charset="0"/>
              </a:rPr>
              <a:t> </a:t>
            </a:r>
          </a:p>
        </p:txBody>
      </p:sp>
      <p:sp>
        <p:nvSpPr>
          <p:cNvPr id="20" name="Lekerekített téglalap 10">
            <a:extLst>
              <a:ext uri="{FF2B5EF4-FFF2-40B4-BE49-F238E27FC236}">
                <a16:creationId xmlns:a16="http://schemas.microsoft.com/office/drawing/2014/main" id="{1547B8CD-B920-1F5E-0FD5-EC270E5E8B77}"/>
              </a:ext>
            </a:extLst>
          </p:cNvPr>
          <p:cNvSpPr>
            <a:spLocks/>
          </p:cNvSpPr>
          <p:nvPr/>
        </p:nvSpPr>
        <p:spPr>
          <a:xfrm>
            <a:off x="6238334" y="1935537"/>
            <a:ext cx="5486400" cy="4263928"/>
          </a:xfrm>
          <a:prstGeom prst="roundRect">
            <a:avLst>
              <a:gd name="adj" fmla="val 7297"/>
            </a:avLst>
          </a:prstGeom>
          <a:solidFill>
            <a:srgbClr val="F3F3F3"/>
          </a:solidFill>
          <a:ln w="12700" cap="flat" cmpd="sng" algn="ctr">
            <a:noFill/>
            <a:prstDash val="solid"/>
            <a:miter lim="800000"/>
          </a:ln>
          <a:effectLst>
            <a:outerShdw blurRad="762000" dist="76200" dir="5400000" sx="95049" sy="95049" algn="t" rotWithShape="0">
              <a:srgbClr val="030436">
                <a:alpha val="20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1" name="Rechteck 191">
            <a:extLst>
              <a:ext uri="{FF2B5EF4-FFF2-40B4-BE49-F238E27FC236}">
                <a16:creationId xmlns:a16="http://schemas.microsoft.com/office/drawing/2014/main" id="{AF035C39-7558-3A42-4091-1AECB4F14B53}"/>
              </a:ext>
            </a:extLst>
          </p:cNvPr>
          <p:cNvSpPr/>
          <p:nvPr/>
        </p:nvSpPr>
        <p:spPr>
          <a:xfrm>
            <a:off x="6670275" y="2052984"/>
            <a:ext cx="4415028" cy="369332"/>
          </a:xfrm>
          <a:prstGeom prst="rect">
            <a:avLst/>
          </a:prstGeom>
          <a:effectLst/>
        </p:spPr>
        <p:txBody>
          <a:bodyPr vert="horz" wrap="square" lIns="91440" tIns="45720" rIns="91440" bIns="45720" rtlCol="0" anchor="ctr">
            <a:spAutoFit/>
          </a:bodyPr>
          <a:lstStyle/>
          <a:p>
            <a:pPr>
              <a:buClr>
                <a:srgbClr val="FE702E"/>
              </a:buClr>
              <a:defRPr/>
            </a:pPr>
            <a:r>
              <a:rPr lang="de-DE" b="1" spc="100" dirty="0">
                <a:solidFill>
                  <a:schemeClr val="bg2"/>
                </a:solidFill>
                <a:latin typeface="+mj-lt"/>
              </a:rPr>
              <a:t>Next </a:t>
            </a:r>
            <a:r>
              <a:rPr lang="de-DE" b="1" spc="100" dirty="0" err="1">
                <a:solidFill>
                  <a:schemeClr val="bg2"/>
                </a:solidFill>
                <a:latin typeface="+mj-lt"/>
              </a:rPr>
              <a:t>Steps</a:t>
            </a:r>
            <a:endParaRPr lang="de-DE" b="1" spc="100" dirty="0">
              <a:solidFill>
                <a:schemeClr val="bg2"/>
              </a:solidFill>
              <a:latin typeface="+mj-lt"/>
            </a:endParaRPr>
          </a:p>
        </p:txBody>
      </p:sp>
      <p:pic>
        <p:nvPicPr>
          <p:cNvPr id="22" name="Ábra 72">
            <a:extLst>
              <a:ext uri="{FF2B5EF4-FFF2-40B4-BE49-F238E27FC236}">
                <a16:creationId xmlns:a16="http://schemas.microsoft.com/office/drawing/2014/main" id="{58548166-248D-C314-050F-0E7B379C5D4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15808" y="1677800"/>
            <a:ext cx="571500" cy="571500"/>
          </a:xfrm>
          <a:prstGeom prst="rect">
            <a:avLst/>
          </a:prstGeom>
        </p:spPr>
      </p:pic>
      <p:sp>
        <p:nvSpPr>
          <p:cNvPr id="2" name="CWPlaceHolderNextSteps">
            <a:extLst>
              <a:ext uri="{FF2B5EF4-FFF2-40B4-BE49-F238E27FC236}">
                <a16:creationId xmlns:a16="http://schemas.microsoft.com/office/drawing/2014/main" id="{4B494634-DD5F-D799-CB86-11A7FCAE8B56}"/>
              </a:ext>
            </a:extLst>
          </p:cNvPr>
          <p:cNvSpPr txBox="1">
            <a:spLocks/>
          </p:cNvSpPr>
          <p:nvPr/>
        </p:nvSpPr>
        <p:spPr>
          <a:xfrm>
            <a:off x="3278565" y="963062"/>
            <a:ext cx="3253048" cy="523220"/>
          </a:xfrm>
          <a:prstGeom prst="rect">
            <a:avLst/>
          </a:prstGeom>
        </p:spPr>
        <p:txBody>
          <a:bodyPr vert="horz" wrap="square" lIns="0" tIns="45720" rIns="91440" bIns="4572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1" kern="1200">
                <a:solidFill>
                  <a:schemeClr val="tx2"/>
                </a:solidFill>
                <a:latin typeface="Open Sauce One" pitchFamily="2" charset="0"/>
                <a:ea typeface="+mj-ea"/>
                <a:cs typeface="+mj-cs"/>
              </a:defRPr>
            </a:lvl1pPr>
          </a:lstStyle>
          <a:p>
            <a:r>
              <a:rPr lang="en-GB" sz="2800" dirty="0">
                <a:solidFill>
                  <a:schemeClr val="bg2"/>
                </a:solidFill>
                <a:latin typeface="+mn-lt"/>
              </a:rPr>
              <a:t>#</a:t>
            </a:r>
            <a:r>
              <a:rPr lang="en-GB" sz="2800" dirty="0" err="1">
                <a:solidFill>
                  <a:schemeClr val="bg2"/>
                </a:solidFill>
                <a:latin typeface="+mn-lt"/>
              </a:rPr>
              <a:t>CWPlaceHolder</a:t>
            </a:r>
            <a:endParaRPr lang="en-GB" dirty="0">
              <a:solidFill>
                <a:schemeClr val="bg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5874450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999B28-68CF-1A83-8649-E14894B50A2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AA3A4B2-4666-CB26-890C-7B01FCAEBC92}"/>
              </a:ext>
            </a:extLst>
          </p:cNvPr>
          <p:cNvSpPr/>
          <p:nvPr/>
        </p:nvSpPr>
        <p:spPr>
          <a:xfrm>
            <a:off x="8194766" y="0"/>
            <a:ext cx="3997234" cy="6858000"/>
          </a:xfrm>
          <a:prstGeom prst="rect">
            <a:avLst/>
          </a:prstGeom>
          <a:solidFill>
            <a:schemeClr val="tx1">
              <a:lumMod val="95000"/>
            </a:schemeClr>
          </a:solidFill>
          <a:ln w="12700" cap="sq" cmpd="sng" algn="ctr">
            <a:noFill/>
            <a:prstDash val="solid"/>
            <a:miter lim="800000"/>
            <a:tailEnd type="none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</a:endParaRPr>
          </a:p>
        </p:txBody>
      </p:sp>
      <p:pic>
        <p:nvPicPr>
          <p:cNvPr id="8" name="Kép 7">
            <a:extLst>
              <a:ext uri="{FF2B5EF4-FFF2-40B4-BE49-F238E27FC236}">
                <a16:creationId xmlns:a16="http://schemas.microsoft.com/office/drawing/2014/main" id="{D27E25DC-D20F-7473-5BCE-6F31B1715313}"/>
              </a:ext>
            </a:extLst>
          </p:cNvPr>
          <p:cNvPicPr>
            <a:picLocks noChangeAspect="1"/>
          </p:cNvPicPr>
          <p:nvPr/>
        </p:nvPicPr>
        <p:blipFill>
          <a:blip r:embed="rId17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1274" y="700278"/>
            <a:ext cx="5959642" cy="5959642"/>
          </a:xfrm>
          <a:prstGeom prst="rect">
            <a:avLst/>
          </a:prstGeom>
        </p:spPr>
      </p:pic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8678A4DA-96A3-972A-D975-24292E111E6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338847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4" imgW="7772400" imgH="10058400" progId="TCLayout.ActiveDocument.1">
                  <p:embed/>
                </p:oleObj>
              </mc:Choice>
              <mc:Fallback>
                <p:oleObj name="think-cell Slide" r:id="rId174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678A4DA-96A3-972A-D975-24292E111E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778330DC-F3FC-5B85-08F8-EC6A7401C1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en-US" dirty="0"/>
          </a:p>
          <a:p>
            <a:r>
              <a:rPr lang="en-US" dirty="0"/>
              <a:t>Page 9</a:t>
            </a:r>
          </a:p>
          <a:p>
            <a:endParaRPr lang="en-US" dirty="0"/>
          </a:p>
        </p:txBody>
      </p:sp>
      <p:pic>
        <p:nvPicPr>
          <p:cNvPr id="7" name="Picture 6" descr="A yellow and black logo&#10;&#10;AI-generated content may be incorrect.">
            <a:extLst>
              <a:ext uri="{FF2B5EF4-FFF2-40B4-BE49-F238E27FC236}">
                <a16:creationId xmlns:a16="http://schemas.microsoft.com/office/drawing/2014/main" id="{3E628212-BAB1-E28D-98E8-8C870E1699C6}"/>
              </a:ext>
            </a:extLst>
          </p:cNvPr>
          <p:cNvPicPr>
            <a:picLocks noChangeAspect="1"/>
          </p:cNvPicPr>
          <p:nvPr/>
        </p:nvPicPr>
        <p:blipFill>
          <a:blip r:embed="rId176"/>
          <a:stretch>
            <a:fillRect/>
          </a:stretch>
        </p:blipFill>
        <p:spPr>
          <a:xfrm>
            <a:off x="11294303" y="6329027"/>
            <a:ext cx="314937" cy="322217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BDE85F49-ACAC-FCCA-228B-CE6A2861A505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617538" y="1631950"/>
            <a:ext cx="11104563" cy="4637088"/>
          </a:xfrm>
          <a:prstGeom prst="rect">
            <a:avLst/>
          </a:prstGeom>
          <a:solidFill>
            <a:schemeClr val="tx1"/>
          </a:solidFill>
          <a:ln w="12700" cap="sq" cmpd="sng" algn="ctr">
            <a:noFill/>
            <a:prstDash val="solid"/>
            <a:miter lim="800000"/>
            <a:tailEnd type="none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C7D43091-DD37-2C12-FD80-F8F9139D6CC6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3230563" y="1111250"/>
            <a:ext cx="1328738" cy="260350"/>
          </a:xfrm>
          <a:prstGeom prst="rect">
            <a:avLst/>
          </a:prstGeom>
          <a:solidFill>
            <a:srgbClr val="C4C4CD"/>
          </a:solidFill>
          <a:ln w="9525" cmpd="sng" algn="ctr">
            <a:solidFill>
              <a:srgbClr val="747480"/>
            </a:solidFill>
          </a:ln>
          <a:effectLst/>
        </p:spPr>
        <p:txBody>
          <a:bodyPr vert="horz" wrap="none" lIns="0" tIns="23813" rIns="0" bIns="23813" rtlCol="0" anchor="ctr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noProof="0" dirty="0">
                <a:effectLst/>
                <a:latin typeface="+mn-lt"/>
              </a:rPr>
              <a:t>March</a:t>
            </a:r>
            <a:endParaRPr lang="en-US" sz="1400" noProof="0" dirty="0">
              <a:latin typeface="+mn-lt"/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5FDA8CB-1C69-D23D-171D-EFE348B5E730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4559300" y="1111250"/>
            <a:ext cx="1287463" cy="260350"/>
          </a:xfrm>
          <a:prstGeom prst="rect">
            <a:avLst/>
          </a:prstGeom>
          <a:solidFill>
            <a:srgbClr val="C4C4CD"/>
          </a:solidFill>
          <a:ln w="9525" cmpd="sng" algn="ctr">
            <a:solidFill>
              <a:srgbClr val="747480"/>
            </a:solidFill>
          </a:ln>
          <a:effectLst/>
        </p:spPr>
        <p:txBody>
          <a:bodyPr vert="horz" wrap="none" lIns="0" tIns="23813" rIns="0" bIns="23813" rtlCol="0" anchor="ctr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noProof="0" dirty="0">
                <a:effectLst/>
                <a:latin typeface="+mn-lt"/>
              </a:rPr>
              <a:t>April</a:t>
            </a:r>
            <a:endParaRPr lang="en-US" sz="1400" noProof="0" dirty="0">
              <a:latin typeface="+mn-lt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422C324-1221-CEE8-1122-6364F804AE12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5846763" y="1111250"/>
            <a:ext cx="1328738" cy="260350"/>
          </a:xfrm>
          <a:prstGeom prst="rect">
            <a:avLst/>
          </a:prstGeom>
          <a:solidFill>
            <a:srgbClr val="C4C4CD"/>
          </a:solidFill>
          <a:ln w="9525" cmpd="sng" algn="ctr">
            <a:solidFill>
              <a:srgbClr val="747480"/>
            </a:solidFill>
          </a:ln>
          <a:effectLst/>
        </p:spPr>
        <p:txBody>
          <a:bodyPr vert="horz" wrap="none" lIns="0" tIns="23813" rIns="0" bIns="23813" rtlCol="0" anchor="ctr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noProof="0" dirty="0">
                <a:effectLst/>
                <a:latin typeface="+mn-lt"/>
              </a:rPr>
              <a:t>May</a:t>
            </a:r>
            <a:endParaRPr lang="en-US" sz="1400" noProof="0" dirty="0">
              <a:latin typeface="+mn-lt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8D084E9-D6D0-44AB-7BC9-270C30428E8D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7175500" y="1111250"/>
            <a:ext cx="1287463" cy="260350"/>
          </a:xfrm>
          <a:prstGeom prst="rect">
            <a:avLst/>
          </a:prstGeom>
          <a:solidFill>
            <a:srgbClr val="C4C4CD"/>
          </a:solidFill>
          <a:ln w="9525" cmpd="sng" algn="ctr">
            <a:solidFill>
              <a:srgbClr val="747480"/>
            </a:solidFill>
          </a:ln>
          <a:effectLst/>
        </p:spPr>
        <p:txBody>
          <a:bodyPr vert="horz" wrap="none" lIns="0" tIns="23813" rIns="0" bIns="23813" rtlCol="0" anchor="ctr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noProof="0" dirty="0">
                <a:effectLst/>
                <a:latin typeface="+mn-lt"/>
              </a:rPr>
              <a:t>June</a:t>
            </a:r>
            <a:endParaRPr lang="en-US" sz="1400" noProof="0" dirty="0">
              <a:latin typeface="+mn-lt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6C01AAEC-F81A-8688-9996-2B201A8DBC6D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8462963" y="1111250"/>
            <a:ext cx="257175" cy="260350"/>
          </a:xfrm>
          <a:prstGeom prst="rect">
            <a:avLst/>
          </a:prstGeom>
          <a:solidFill>
            <a:srgbClr val="C4C4CD"/>
          </a:solidFill>
          <a:ln w="9525" cmpd="sng" algn="ctr">
            <a:solidFill>
              <a:srgbClr val="747480"/>
            </a:solidFill>
          </a:ln>
          <a:effectLst/>
        </p:spPr>
        <p:txBody>
          <a:bodyPr vert="horz" wrap="none" lIns="0" tIns="23813" rIns="0" bIns="23813" rtlCol="0" anchor="ctr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B855551-8483-453F-A35F-63913ACA0BD9}" type="datetime'''''''''''''''J''''''''''''''''''''''''''u''''''''''''l'">
              <a:rPr lang="en-US" altLang="en-US" sz="1400" smtClean="0">
                <a:effectLst/>
                <a:latin typeface="+mn-lt"/>
              </a:rPr>
              <a:pPr/>
              <a:t>Jul</a:t>
            </a:fld>
            <a:endParaRPr lang="en-US" sz="1400" noProof="0" dirty="0">
              <a:latin typeface="+mn-lt"/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5F62D03D-1839-D8AA-B125-9FA2ADF4A14D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3230563" y="1371600"/>
            <a:ext cx="85725" cy="260350"/>
          </a:xfrm>
          <a:prstGeom prst="rect">
            <a:avLst/>
          </a:prstGeom>
          <a:solidFill>
            <a:srgbClr val="C4C4CD"/>
          </a:solidFill>
          <a:ln w="9525" cmpd="sng" algn="ctr">
            <a:solidFill>
              <a:srgbClr val="747480"/>
            </a:solidFill>
          </a:ln>
          <a:effectLst/>
        </p:spPr>
        <p:txBody>
          <a:bodyPr vert="horz" wrap="none" lIns="0" tIns="23813" rIns="0" bIns="23813" rtlCol="0" anchor="ctr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en-US" sz="1400" noProof="0" dirty="0">
              <a:latin typeface="+mn-lt"/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3A69D66-7975-5EC8-37B6-50B8F08498E2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3316288" y="1371600"/>
            <a:ext cx="300038" cy="260350"/>
          </a:xfrm>
          <a:prstGeom prst="rect">
            <a:avLst/>
          </a:prstGeom>
          <a:solidFill>
            <a:srgbClr val="C4C4CD"/>
          </a:solidFill>
          <a:ln w="9525" cmpd="sng" algn="ctr">
            <a:solidFill>
              <a:srgbClr val="747480"/>
            </a:solidFill>
          </a:ln>
          <a:effectLst/>
        </p:spPr>
        <p:txBody>
          <a:bodyPr vert="horz" wrap="none" lIns="0" tIns="23813" rIns="0" bIns="23813" rtlCol="0" anchor="ctr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564AB1B-8029-4486-85E2-C4DC5D0120C5}" type="datetime'''''1''''''0'''''''''''''''''''''''''">
              <a:rPr lang="en-GB" altLang="en-US" sz="1400" smtClean="0">
                <a:effectLst/>
                <a:latin typeface="+mn-lt"/>
              </a:rPr>
              <a:pPr/>
              <a:t>10</a:t>
            </a:fld>
            <a:endParaRPr lang="en-US" sz="1400" noProof="0" dirty="0">
              <a:latin typeface="+mn-lt"/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7E029B6A-5203-62D3-A74A-2369A7FAB645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616325" y="1371600"/>
            <a:ext cx="300038" cy="260350"/>
          </a:xfrm>
          <a:prstGeom prst="rect">
            <a:avLst/>
          </a:prstGeom>
          <a:solidFill>
            <a:srgbClr val="C4C4CD"/>
          </a:solidFill>
          <a:ln w="9525" cmpd="sng" algn="ctr">
            <a:solidFill>
              <a:srgbClr val="747480"/>
            </a:solidFill>
          </a:ln>
          <a:effectLst/>
        </p:spPr>
        <p:txBody>
          <a:bodyPr vert="horz" wrap="none" lIns="0" tIns="23813" rIns="0" bIns="23813" rtlCol="0" anchor="ctr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8B3FA59-899C-45CA-AA03-A6C1DA3215F9}" type="datetime'''''''''''''''1''''''''''''''''''''''1'''''''''''''''''''">
              <a:rPr lang="en-GB" altLang="en-US" sz="1400" smtClean="0">
                <a:effectLst/>
                <a:latin typeface="+mn-lt"/>
              </a:rPr>
              <a:pPr/>
              <a:t>11</a:t>
            </a:fld>
            <a:endParaRPr lang="en-US" sz="1400" noProof="0" dirty="0">
              <a:latin typeface="+mn-lt"/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88524C45-CCC3-3F58-4D8B-801A22DC7707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3916363" y="1371600"/>
            <a:ext cx="300038" cy="260350"/>
          </a:xfrm>
          <a:prstGeom prst="rect">
            <a:avLst/>
          </a:prstGeom>
          <a:solidFill>
            <a:srgbClr val="C4C4CD"/>
          </a:solidFill>
          <a:ln w="9525" cmpd="sng" algn="ctr">
            <a:solidFill>
              <a:srgbClr val="747480"/>
            </a:solidFill>
          </a:ln>
          <a:effectLst/>
        </p:spPr>
        <p:txBody>
          <a:bodyPr vert="horz" wrap="none" lIns="0" tIns="23813" rIns="0" bIns="23813" rtlCol="0" anchor="ctr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52A0413-7A68-4A33-BC48-AA03E6DA60DA}" type="datetime'''''''''''''''1''''''''''''''2'''''">
              <a:rPr lang="en-GB" altLang="en-US" sz="1400" smtClean="0">
                <a:effectLst/>
                <a:latin typeface="+mn-lt"/>
              </a:rPr>
              <a:pPr/>
              <a:t>12</a:t>
            </a:fld>
            <a:endParaRPr lang="en-US" sz="1400" noProof="0" dirty="0">
              <a:latin typeface="+mn-lt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4805351C-FF16-4C10-88EB-142870F74E79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216400" y="1371600"/>
            <a:ext cx="300038" cy="260350"/>
          </a:xfrm>
          <a:prstGeom prst="rect">
            <a:avLst/>
          </a:prstGeom>
          <a:solidFill>
            <a:srgbClr val="C4C4CD"/>
          </a:solidFill>
          <a:ln w="9525" cmpd="sng" algn="ctr">
            <a:solidFill>
              <a:srgbClr val="747480"/>
            </a:solidFill>
          </a:ln>
          <a:effectLst/>
        </p:spPr>
        <p:txBody>
          <a:bodyPr vert="horz" wrap="none" lIns="0" tIns="23813" rIns="0" bIns="23813" rtlCol="0" anchor="ctr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5AB8F2A-A670-4D23-BB09-C6769282B639}" type="datetime'1''3'''''''''''''">
              <a:rPr lang="en-GB" altLang="en-US" sz="1400" smtClean="0">
                <a:effectLst/>
                <a:latin typeface="+mn-lt"/>
              </a:rPr>
              <a:pPr/>
              <a:t>13</a:t>
            </a:fld>
            <a:endParaRPr lang="en-US" sz="1400" noProof="0" dirty="0">
              <a:latin typeface="+mn-lt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CC8FC03D-74BB-3CAC-F475-693D17CFA80C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4516438" y="1371600"/>
            <a:ext cx="301625" cy="260350"/>
          </a:xfrm>
          <a:prstGeom prst="rect">
            <a:avLst/>
          </a:prstGeom>
          <a:solidFill>
            <a:srgbClr val="C4C4CD"/>
          </a:solidFill>
          <a:ln w="9525" cmpd="sng" algn="ctr">
            <a:solidFill>
              <a:srgbClr val="747480"/>
            </a:solidFill>
          </a:ln>
          <a:effectLst/>
        </p:spPr>
        <p:txBody>
          <a:bodyPr vert="horz" wrap="none" lIns="0" tIns="23813" rIns="0" bIns="23813" rtlCol="0" anchor="ctr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8EF54BE-1B4A-4B58-91F9-4A1BDF70EA8B}" type="datetime'''''''''''''''''''''1''''''''4'''''">
              <a:rPr lang="en-GB" altLang="en-US" sz="1400" smtClean="0">
                <a:effectLst/>
                <a:latin typeface="+mn-lt"/>
              </a:rPr>
              <a:pPr/>
              <a:t>14</a:t>
            </a:fld>
            <a:endParaRPr lang="en-US" sz="1400" noProof="0" dirty="0">
              <a:latin typeface="+mn-lt"/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405AA7D1-5208-34C7-D3CB-A04B5ADD635A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4818063" y="1371600"/>
            <a:ext cx="300038" cy="260350"/>
          </a:xfrm>
          <a:prstGeom prst="rect">
            <a:avLst/>
          </a:prstGeom>
          <a:solidFill>
            <a:srgbClr val="C4C4CD"/>
          </a:solidFill>
          <a:ln w="9525" cmpd="sng" algn="ctr">
            <a:solidFill>
              <a:srgbClr val="747480"/>
            </a:solidFill>
          </a:ln>
          <a:effectLst/>
        </p:spPr>
        <p:txBody>
          <a:bodyPr vert="horz" wrap="none" lIns="0" tIns="23813" rIns="0" bIns="23813" rtlCol="0" anchor="ctr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5B9174A-A88E-4365-B801-BD1D5A8F5FB0}" type="datetime'''''''1''''5'''''''">
              <a:rPr lang="en-GB" altLang="en-US" sz="1400" smtClean="0">
                <a:effectLst/>
                <a:latin typeface="+mn-lt"/>
              </a:rPr>
              <a:pPr/>
              <a:t>15</a:t>
            </a:fld>
            <a:endParaRPr lang="en-US" sz="1400" noProof="0" dirty="0">
              <a:latin typeface="+mn-lt"/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68E8F908-F9CA-81C7-652C-3E276891BC07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5118100" y="1371600"/>
            <a:ext cx="300038" cy="260350"/>
          </a:xfrm>
          <a:prstGeom prst="rect">
            <a:avLst/>
          </a:prstGeom>
          <a:solidFill>
            <a:srgbClr val="C4C4CD"/>
          </a:solidFill>
          <a:ln w="9525" cmpd="sng" algn="ctr">
            <a:solidFill>
              <a:srgbClr val="747480"/>
            </a:solidFill>
          </a:ln>
          <a:effectLst/>
        </p:spPr>
        <p:txBody>
          <a:bodyPr vert="horz" wrap="none" lIns="0" tIns="23813" rIns="0" bIns="23813" rtlCol="0" anchor="ctr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D6DBBA8-255F-4184-9D3C-6AA5EF9E66F4}" type="datetime'''''''''''1''''''''''''''''''6'''''''''''''''''''''''''''''''">
              <a:rPr lang="en-GB" altLang="en-US" sz="1400" smtClean="0">
                <a:effectLst/>
                <a:latin typeface="+mn-lt"/>
              </a:rPr>
              <a:pPr/>
              <a:t>16</a:t>
            </a:fld>
            <a:endParaRPr lang="en-US" sz="1400" noProof="0" dirty="0">
              <a:latin typeface="+mn-lt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D6F64D84-4F7D-C0F3-2623-94C55B9A03CB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5418138" y="1371600"/>
            <a:ext cx="300038" cy="260350"/>
          </a:xfrm>
          <a:prstGeom prst="rect">
            <a:avLst/>
          </a:prstGeom>
          <a:solidFill>
            <a:srgbClr val="C4C4CD"/>
          </a:solidFill>
          <a:ln w="9525" cmpd="sng" algn="ctr">
            <a:solidFill>
              <a:srgbClr val="747480"/>
            </a:solidFill>
          </a:ln>
          <a:effectLst/>
        </p:spPr>
        <p:txBody>
          <a:bodyPr vert="horz" wrap="none" lIns="0" tIns="23813" rIns="0" bIns="23813" rtlCol="0" anchor="ctr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74B0D84-FF26-46F7-9033-65891D69A471}" type="datetime'''''1''''''''''''''''''''''''''''''''''''''7'''''''''''">
              <a:rPr lang="en-GB" altLang="en-US" sz="1400" smtClean="0">
                <a:effectLst/>
                <a:latin typeface="+mn-lt"/>
              </a:rPr>
              <a:pPr/>
              <a:t>17</a:t>
            </a:fld>
            <a:endParaRPr lang="en-US" sz="1400" noProof="0" dirty="0">
              <a:latin typeface="+mn-lt"/>
            </a:endParaRP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1084066F-E43F-B083-A172-410AB69CFA3E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5718175" y="1371600"/>
            <a:ext cx="300038" cy="260350"/>
          </a:xfrm>
          <a:prstGeom prst="rect">
            <a:avLst/>
          </a:prstGeom>
          <a:solidFill>
            <a:srgbClr val="C4C4CD"/>
          </a:solidFill>
          <a:ln w="9525" cmpd="sng" algn="ctr">
            <a:solidFill>
              <a:srgbClr val="747480"/>
            </a:solidFill>
          </a:ln>
          <a:effectLst/>
        </p:spPr>
        <p:txBody>
          <a:bodyPr vert="horz" wrap="none" lIns="0" tIns="23813" rIns="0" bIns="23813" rtlCol="0" anchor="ctr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14811D4-9BDB-4042-B92E-3FF1A814BFAD}" type="datetime'''''''''''''''''''''1''''''''''''''''''''''''8'''''">
              <a:rPr lang="en-GB" altLang="en-US" sz="1400" smtClean="0">
                <a:effectLst/>
                <a:latin typeface="+mn-lt"/>
              </a:rPr>
              <a:pPr/>
              <a:t>18</a:t>
            </a:fld>
            <a:endParaRPr lang="en-US" sz="1400" noProof="0" dirty="0">
              <a:latin typeface="+mn-lt"/>
            </a:endParaRP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9197AAC6-E4C3-AB96-FF12-8A3910353BBF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6018213" y="1371600"/>
            <a:ext cx="300038" cy="260350"/>
          </a:xfrm>
          <a:prstGeom prst="rect">
            <a:avLst/>
          </a:prstGeom>
          <a:solidFill>
            <a:srgbClr val="C4C4CD"/>
          </a:solidFill>
          <a:ln w="9525" cmpd="sng" algn="ctr">
            <a:solidFill>
              <a:srgbClr val="747480"/>
            </a:solidFill>
          </a:ln>
          <a:effectLst/>
        </p:spPr>
        <p:txBody>
          <a:bodyPr vert="horz" wrap="none" lIns="0" tIns="23813" rIns="0" bIns="23813" rtlCol="0" anchor="ctr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FC8D05C-98E7-479A-8E69-825DB0AEE85D}" type="datetime'''''''''''''''''''1''''9'''''''''''''''">
              <a:rPr lang="en-GB" altLang="en-US" sz="1400" smtClean="0">
                <a:effectLst/>
                <a:latin typeface="+mn-lt"/>
              </a:rPr>
              <a:pPr/>
              <a:t>19</a:t>
            </a:fld>
            <a:endParaRPr lang="en-US" sz="1400" noProof="0" dirty="0">
              <a:latin typeface="+mn-lt"/>
            </a:endParaRP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F97FBC05-B667-4B30-B2D9-1D2950442C85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6318250" y="1371600"/>
            <a:ext cx="300038" cy="260350"/>
          </a:xfrm>
          <a:prstGeom prst="rect">
            <a:avLst/>
          </a:prstGeom>
          <a:solidFill>
            <a:srgbClr val="C4C4CD"/>
          </a:solidFill>
          <a:ln w="9525" cmpd="sng" algn="ctr">
            <a:solidFill>
              <a:srgbClr val="747480"/>
            </a:solidFill>
          </a:ln>
          <a:effectLst/>
        </p:spPr>
        <p:txBody>
          <a:bodyPr vert="horz" wrap="none" lIns="0" tIns="23813" rIns="0" bIns="23813" rtlCol="0" anchor="ctr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A062D66-07A4-4687-BCF2-D04DE58D7E6B}" type="datetime'''''''''''''''''''''''''''''''''''''''''''20'''">
              <a:rPr lang="en-GB" altLang="en-US" sz="1400" smtClean="0">
                <a:effectLst/>
                <a:latin typeface="+mn-lt"/>
              </a:rPr>
              <a:pPr/>
              <a:t>20</a:t>
            </a:fld>
            <a:endParaRPr lang="en-US" sz="1400" noProof="0" dirty="0">
              <a:latin typeface="+mn-lt"/>
            </a:endParaRP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DDD22A2E-F139-E941-498D-5CB34A47CDF9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6618288" y="1371600"/>
            <a:ext cx="300038" cy="260350"/>
          </a:xfrm>
          <a:prstGeom prst="rect">
            <a:avLst/>
          </a:prstGeom>
          <a:solidFill>
            <a:srgbClr val="C4C4CD"/>
          </a:solidFill>
          <a:ln w="9525" cmpd="sng" algn="ctr">
            <a:solidFill>
              <a:srgbClr val="747480"/>
            </a:solidFill>
          </a:ln>
          <a:effectLst/>
        </p:spPr>
        <p:txBody>
          <a:bodyPr vert="horz" wrap="none" lIns="0" tIns="23813" rIns="0" bIns="23813" rtlCol="0" anchor="ctr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24D50F6-0B9B-4D2E-8897-76F9000A1C11}" type="datetime'''''''''''''2''''''''''''''''''1'''''''''''''''''''''''''''''">
              <a:rPr lang="en-GB" altLang="en-US" sz="1400" smtClean="0">
                <a:effectLst/>
                <a:latin typeface="+mn-lt"/>
              </a:rPr>
              <a:pPr/>
              <a:t>21</a:t>
            </a:fld>
            <a:endParaRPr lang="en-US" sz="1400" noProof="0" dirty="0">
              <a:latin typeface="+mn-lt"/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EDB7F9EC-5342-1164-59AC-34ADDA2021EB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6918325" y="1371600"/>
            <a:ext cx="300038" cy="260350"/>
          </a:xfrm>
          <a:prstGeom prst="rect">
            <a:avLst/>
          </a:prstGeom>
          <a:solidFill>
            <a:srgbClr val="C4C4CD"/>
          </a:solidFill>
          <a:ln w="9525" cmpd="sng" algn="ctr">
            <a:solidFill>
              <a:srgbClr val="747480"/>
            </a:solidFill>
          </a:ln>
          <a:effectLst/>
        </p:spPr>
        <p:txBody>
          <a:bodyPr vert="horz" wrap="none" lIns="0" tIns="23813" rIns="0" bIns="23813" rtlCol="0" anchor="ctr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55F6F27-5FF2-4BF0-B111-1CB7A6E76F22}" type="datetime'''''2''''2'''''''''''''''''''''''''''''''''''''''''''''''">
              <a:rPr lang="en-GB" altLang="en-US" sz="1400" smtClean="0">
                <a:effectLst/>
                <a:latin typeface="+mn-lt"/>
              </a:rPr>
              <a:pPr/>
              <a:t>22</a:t>
            </a:fld>
            <a:endParaRPr lang="en-US" sz="1400" noProof="0" dirty="0">
              <a:latin typeface="+mn-lt"/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B197CE0B-3B8C-23E7-A8F5-D4A7D87CC2B5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7218363" y="1371600"/>
            <a:ext cx="301625" cy="260350"/>
          </a:xfrm>
          <a:prstGeom prst="rect">
            <a:avLst/>
          </a:prstGeom>
          <a:solidFill>
            <a:srgbClr val="C4C4CD"/>
          </a:solidFill>
          <a:ln w="9525" cmpd="sng" algn="ctr">
            <a:solidFill>
              <a:srgbClr val="747480"/>
            </a:solidFill>
          </a:ln>
          <a:effectLst/>
        </p:spPr>
        <p:txBody>
          <a:bodyPr vert="horz" wrap="none" lIns="0" tIns="23813" rIns="0" bIns="23813" rtlCol="0" anchor="ctr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2A3BFF8-4A11-446F-8658-9195D14648D2}" type="datetime'''''''''''''''''''''''''''''''''''23'''''''''''''''''''''''">
              <a:rPr lang="en-GB" altLang="en-US" sz="1400" smtClean="0">
                <a:effectLst/>
                <a:latin typeface="+mn-lt"/>
              </a:rPr>
              <a:pPr/>
              <a:t>23</a:t>
            </a:fld>
            <a:endParaRPr lang="en-US" sz="1400" noProof="0" dirty="0">
              <a:latin typeface="+mn-lt"/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3B0D6651-0EC4-D6D6-CAA1-CFB8306D59DA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7519988" y="1371600"/>
            <a:ext cx="300038" cy="260350"/>
          </a:xfrm>
          <a:prstGeom prst="rect">
            <a:avLst/>
          </a:prstGeom>
          <a:solidFill>
            <a:srgbClr val="C4C4CD"/>
          </a:solidFill>
          <a:ln w="9525" cmpd="sng" algn="ctr">
            <a:solidFill>
              <a:srgbClr val="747480"/>
            </a:solidFill>
          </a:ln>
          <a:effectLst/>
        </p:spPr>
        <p:txBody>
          <a:bodyPr vert="horz" wrap="none" lIns="0" tIns="23813" rIns="0" bIns="23813" rtlCol="0" anchor="ctr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95E527D-F4D2-482A-9B7C-1975EA8D23A5}" type="datetime'2''''''''''''''''''''4'''''''''''''''''''''''''''''">
              <a:rPr lang="en-GB" altLang="en-US" sz="1400" smtClean="0">
                <a:effectLst/>
                <a:latin typeface="+mn-lt"/>
              </a:rPr>
              <a:pPr/>
              <a:t>24</a:t>
            </a:fld>
            <a:endParaRPr lang="en-US" sz="1400" noProof="0" dirty="0">
              <a:latin typeface="+mn-lt"/>
            </a:endParaRP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499FA122-0151-0505-D0BE-0365D74D584B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7820025" y="1371600"/>
            <a:ext cx="300038" cy="260350"/>
          </a:xfrm>
          <a:prstGeom prst="rect">
            <a:avLst/>
          </a:prstGeom>
          <a:solidFill>
            <a:srgbClr val="C4C4CD"/>
          </a:solidFill>
          <a:ln w="9525" cmpd="sng" algn="ctr">
            <a:solidFill>
              <a:srgbClr val="747480"/>
            </a:solidFill>
          </a:ln>
          <a:effectLst/>
        </p:spPr>
        <p:txBody>
          <a:bodyPr vert="horz" wrap="none" lIns="0" tIns="23813" rIns="0" bIns="23813" rtlCol="0" anchor="ctr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CBEECBA-CDD8-4FD8-8563-20E56E91E64B}" type="datetime'''''''''''''''''''''''''''''''''2''''''''''''''''''''5'''''''">
              <a:rPr lang="en-GB" altLang="en-US" sz="1400" smtClean="0">
                <a:effectLst/>
                <a:latin typeface="+mn-lt"/>
              </a:rPr>
              <a:pPr/>
              <a:t>25</a:t>
            </a:fld>
            <a:endParaRPr lang="en-US" sz="1400" noProof="0" dirty="0">
              <a:latin typeface="+mn-lt"/>
            </a:endParaRP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DC85F8B7-B246-561F-E706-0EFE9739248F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8120063" y="1371600"/>
            <a:ext cx="300038" cy="260350"/>
          </a:xfrm>
          <a:prstGeom prst="rect">
            <a:avLst/>
          </a:prstGeom>
          <a:solidFill>
            <a:srgbClr val="C4C4CD"/>
          </a:solidFill>
          <a:ln w="9525" cmpd="sng" algn="ctr">
            <a:solidFill>
              <a:srgbClr val="747480"/>
            </a:solidFill>
          </a:ln>
          <a:effectLst/>
        </p:spPr>
        <p:txBody>
          <a:bodyPr vert="horz" wrap="none" lIns="0" tIns="23813" rIns="0" bIns="23813" rtlCol="0" anchor="ctr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FCB3BAD-BE65-4A9B-B2F3-A2FBBA29B996}" type="datetime'''''''''2''''''''''''''''''6'''''''''''''''''''''''''''''''''">
              <a:rPr lang="en-GB" altLang="en-US" sz="1400" smtClean="0">
                <a:effectLst/>
                <a:latin typeface="+mn-lt"/>
              </a:rPr>
              <a:pPr/>
              <a:t>26</a:t>
            </a:fld>
            <a:endParaRPr lang="en-US" sz="1400" noProof="0" dirty="0">
              <a:latin typeface="+mn-lt"/>
            </a:endParaRP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EF2CDFDC-9F11-4171-1EC6-AD358C370F99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8420100" y="1371600"/>
            <a:ext cx="300038" cy="260350"/>
          </a:xfrm>
          <a:prstGeom prst="rect">
            <a:avLst/>
          </a:prstGeom>
          <a:solidFill>
            <a:srgbClr val="C4C4CD"/>
          </a:solidFill>
          <a:ln w="9525" cmpd="sng" algn="ctr">
            <a:solidFill>
              <a:srgbClr val="747480"/>
            </a:solidFill>
          </a:ln>
          <a:effectLst/>
        </p:spPr>
        <p:txBody>
          <a:bodyPr vert="horz" wrap="none" lIns="0" tIns="23813" rIns="0" bIns="23813" rtlCol="0" anchor="ctr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421B8BC-15B9-4270-A490-440D1CA9CBAF}" type="datetime'''''''''''2''''''''''''''''''''''7'''''''''''''''''''''''">
              <a:rPr lang="en-GB" altLang="en-US" sz="1400" smtClean="0">
                <a:effectLst/>
                <a:latin typeface="+mn-lt"/>
              </a:rPr>
              <a:pPr/>
              <a:t>27</a:t>
            </a:fld>
            <a:endParaRPr lang="en-US" sz="1400" noProof="0" dirty="0">
              <a:latin typeface="+mn-lt"/>
            </a:endParaRP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A2E02243-190A-7742-CE47-D2F5336CD73A}"/>
              </a:ext>
            </a:extLst>
          </p:cNvPr>
          <p:cNvCxnSpPr/>
          <p:nvPr>
            <p:custDataLst>
              <p:tags r:id="rId27"/>
            </p:custDataLst>
          </p:nvPr>
        </p:nvCxnSpPr>
        <p:spPr bwMode="gray">
          <a:xfrm>
            <a:off x="4559300" y="1631950"/>
            <a:ext cx="0" cy="4637088"/>
          </a:xfrm>
          <a:prstGeom prst="line">
            <a:avLst/>
          </a:prstGeom>
          <a:ln w="6350" cap="flat" cmpd="sng" algn="ctr">
            <a:solidFill>
              <a:srgbClr val="7474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216FB9CE-BB0A-6971-6616-8BAA71C702A9}"/>
              </a:ext>
            </a:extLst>
          </p:cNvPr>
          <p:cNvCxnSpPr/>
          <p:nvPr>
            <p:custDataLst>
              <p:tags r:id="rId28"/>
            </p:custDataLst>
          </p:nvPr>
        </p:nvCxnSpPr>
        <p:spPr bwMode="gray">
          <a:xfrm>
            <a:off x="11722100" y="1631950"/>
            <a:ext cx="0" cy="4637088"/>
          </a:xfrm>
          <a:prstGeom prst="line">
            <a:avLst/>
          </a:prstGeom>
          <a:ln w="9525" cap="flat" cmpd="sng" algn="ctr">
            <a:solidFill>
              <a:srgbClr val="7474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9440C823-A86C-FC7C-61DF-2CFBED71E033}"/>
              </a:ext>
            </a:extLst>
          </p:cNvPr>
          <p:cNvCxnSpPr/>
          <p:nvPr>
            <p:custDataLst>
              <p:tags r:id="rId29"/>
            </p:custDataLst>
          </p:nvPr>
        </p:nvCxnSpPr>
        <p:spPr bwMode="gray">
          <a:xfrm>
            <a:off x="617538" y="1631950"/>
            <a:ext cx="0" cy="4637088"/>
          </a:xfrm>
          <a:prstGeom prst="line">
            <a:avLst/>
          </a:prstGeom>
          <a:ln w="9525" cap="flat" cmpd="sng" algn="ctr">
            <a:solidFill>
              <a:srgbClr val="7474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40823C1C-4B76-8855-24CE-D5FF05C9B0FB}"/>
              </a:ext>
            </a:extLst>
          </p:cNvPr>
          <p:cNvCxnSpPr/>
          <p:nvPr>
            <p:custDataLst>
              <p:tags r:id="rId30"/>
            </p:custDataLst>
          </p:nvPr>
        </p:nvCxnSpPr>
        <p:spPr bwMode="gray">
          <a:xfrm>
            <a:off x="8720138" y="1631950"/>
            <a:ext cx="0" cy="4637088"/>
          </a:xfrm>
          <a:prstGeom prst="line">
            <a:avLst/>
          </a:prstGeom>
          <a:ln w="9525" cap="flat" cmpd="sng" algn="ctr">
            <a:solidFill>
              <a:srgbClr val="7474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2DF4A410-5199-33AC-5617-860130FD98E0}"/>
              </a:ext>
            </a:extLst>
          </p:cNvPr>
          <p:cNvCxnSpPr/>
          <p:nvPr>
            <p:custDataLst>
              <p:tags r:id="rId31"/>
            </p:custDataLst>
          </p:nvPr>
        </p:nvCxnSpPr>
        <p:spPr bwMode="gray">
          <a:xfrm>
            <a:off x="3230563" y="1631950"/>
            <a:ext cx="0" cy="4637088"/>
          </a:xfrm>
          <a:prstGeom prst="line">
            <a:avLst/>
          </a:prstGeom>
          <a:ln w="9525" cap="flat" cmpd="sng" algn="ctr">
            <a:solidFill>
              <a:srgbClr val="7474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F7627D8D-28AB-B4B0-2A31-77A7BCE20F95}"/>
              </a:ext>
            </a:extLst>
          </p:cNvPr>
          <p:cNvCxnSpPr/>
          <p:nvPr>
            <p:custDataLst>
              <p:tags r:id="rId32"/>
            </p:custDataLst>
          </p:nvPr>
        </p:nvCxnSpPr>
        <p:spPr bwMode="gray">
          <a:xfrm>
            <a:off x="7175500" y="1631950"/>
            <a:ext cx="0" cy="4637088"/>
          </a:xfrm>
          <a:prstGeom prst="line">
            <a:avLst/>
          </a:prstGeom>
          <a:ln w="6350" cap="flat" cmpd="sng" algn="ctr">
            <a:solidFill>
              <a:srgbClr val="7474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4BCDBECB-2E1C-EC67-DAB5-933E5C24F138}"/>
              </a:ext>
            </a:extLst>
          </p:cNvPr>
          <p:cNvCxnSpPr/>
          <p:nvPr>
            <p:custDataLst>
              <p:tags r:id="rId33"/>
            </p:custDataLst>
          </p:nvPr>
        </p:nvCxnSpPr>
        <p:spPr bwMode="gray">
          <a:xfrm>
            <a:off x="8462963" y="1631950"/>
            <a:ext cx="0" cy="4637088"/>
          </a:xfrm>
          <a:prstGeom prst="line">
            <a:avLst/>
          </a:prstGeom>
          <a:ln w="6350" cap="flat" cmpd="sng" algn="ctr">
            <a:solidFill>
              <a:srgbClr val="7474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2915A38D-B0C9-EF8F-1E85-8B5C393DC23A}"/>
              </a:ext>
            </a:extLst>
          </p:cNvPr>
          <p:cNvCxnSpPr/>
          <p:nvPr>
            <p:custDataLst>
              <p:tags r:id="rId34"/>
            </p:custDataLst>
          </p:nvPr>
        </p:nvCxnSpPr>
        <p:spPr bwMode="gray">
          <a:xfrm>
            <a:off x="5846763" y="1631950"/>
            <a:ext cx="0" cy="4637088"/>
          </a:xfrm>
          <a:prstGeom prst="line">
            <a:avLst/>
          </a:prstGeom>
          <a:ln w="6350" cap="flat" cmpd="sng" algn="ctr">
            <a:solidFill>
              <a:srgbClr val="7474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E950E73B-8051-7D98-3A57-D27D8E7D877F}"/>
              </a:ext>
            </a:extLst>
          </p:cNvPr>
          <p:cNvCxnSpPr/>
          <p:nvPr>
            <p:custDataLst>
              <p:tags r:id="rId35"/>
            </p:custDataLst>
          </p:nvPr>
        </p:nvCxnSpPr>
        <p:spPr bwMode="gray">
          <a:xfrm>
            <a:off x="6618288" y="1631950"/>
            <a:ext cx="0" cy="4637088"/>
          </a:xfrm>
          <a:prstGeom prst="line">
            <a:avLst/>
          </a:prstGeom>
          <a:ln w="6350" cap="flat" cmpd="sng" algn="ctr">
            <a:solidFill>
              <a:srgbClr val="7474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2F7B8AE9-FD20-622D-343C-A65B6579C390}"/>
              </a:ext>
            </a:extLst>
          </p:cNvPr>
          <p:cNvCxnSpPr/>
          <p:nvPr>
            <p:custDataLst>
              <p:tags r:id="rId36"/>
            </p:custDataLst>
          </p:nvPr>
        </p:nvCxnSpPr>
        <p:spPr bwMode="gray">
          <a:xfrm>
            <a:off x="6318250" y="1631950"/>
            <a:ext cx="0" cy="4637088"/>
          </a:xfrm>
          <a:prstGeom prst="line">
            <a:avLst/>
          </a:prstGeom>
          <a:ln w="6350" cap="flat" cmpd="sng" algn="ctr">
            <a:solidFill>
              <a:srgbClr val="7474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D0916CFF-2CBC-2C53-103E-81683DB30F5D}"/>
              </a:ext>
            </a:extLst>
          </p:cNvPr>
          <p:cNvCxnSpPr/>
          <p:nvPr>
            <p:custDataLst>
              <p:tags r:id="rId37"/>
            </p:custDataLst>
          </p:nvPr>
        </p:nvCxnSpPr>
        <p:spPr bwMode="gray">
          <a:xfrm>
            <a:off x="6018213" y="1631950"/>
            <a:ext cx="0" cy="4637088"/>
          </a:xfrm>
          <a:prstGeom prst="line">
            <a:avLst/>
          </a:prstGeom>
          <a:ln w="6350" cap="flat" cmpd="sng" algn="ctr">
            <a:solidFill>
              <a:srgbClr val="7474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641A5BB7-BE6E-D715-867D-CDA87C851EF4}"/>
              </a:ext>
            </a:extLst>
          </p:cNvPr>
          <p:cNvCxnSpPr/>
          <p:nvPr>
            <p:custDataLst>
              <p:tags r:id="rId38"/>
            </p:custDataLst>
          </p:nvPr>
        </p:nvCxnSpPr>
        <p:spPr bwMode="gray">
          <a:xfrm>
            <a:off x="5418138" y="1631950"/>
            <a:ext cx="0" cy="4637088"/>
          </a:xfrm>
          <a:prstGeom prst="line">
            <a:avLst/>
          </a:prstGeom>
          <a:ln w="6350" cap="flat" cmpd="sng" algn="ctr">
            <a:solidFill>
              <a:srgbClr val="7474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592207EF-046F-2C8C-FB46-B8971005497E}"/>
              </a:ext>
            </a:extLst>
          </p:cNvPr>
          <p:cNvCxnSpPr/>
          <p:nvPr>
            <p:custDataLst>
              <p:tags r:id="rId39"/>
            </p:custDataLst>
          </p:nvPr>
        </p:nvCxnSpPr>
        <p:spPr bwMode="gray">
          <a:xfrm>
            <a:off x="5118100" y="1631950"/>
            <a:ext cx="0" cy="4637088"/>
          </a:xfrm>
          <a:prstGeom prst="line">
            <a:avLst/>
          </a:prstGeom>
          <a:ln w="6350" cap="flat" cmpd="sng" algn="ctr">
            <a:solidFill>
              <a:srgbClr val="7474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87A7F373-DC1E-A18E-C2B5-8CDBBE368DA3}"/>
              </a:ext>
            </a:extLst>
          </p:cNvPr>
          <p:cNvCxnSpPr/>
          <p:nvPr>
            <p:custDataLst>
              <p:tags r:id="rId40"/>
            </p:custDataLst>
          </p:nvPr>
        </p:nvCxnSpPr>
        <p:spPr bwMode="gray">
          <a:xfrm>
            <a:off x="4216400" y="1631950"/>
            <a:ext cx="0" cy="4637088"/>
          </a:xfrm>
          <a:prstGeom prst="line">
            <a:avLst/>
          </a:prstGeom>
          <a:ln w="6350" cap="flat" cmpd="sng" algn="ctr">
            <a:solidFill>
              <a:srgbClr val="7474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DC1F0783-A7FB-1791-5C94-212ADF8442C6}"/>
              </a:ext>
            </a:extLst>
          </p:cNvPr>
          <p:cNvCxnSpPr/>
          <p:nvPr>
            <p:custDataLst>
              <p:tags r:id="rId41"/>
            </p:custDataLst>
          </p:nvPr>
        </p:nvCxnSpPr>
        <p:spPr bwMode="gray">
          <a:xfrm>
            <a:off x="3916363" y="1631950"/>
            <a:ext cx="0" cy="4637088"/>
          </a:xfrm>
          <a:prstGeom prst="line">
            <a:avLst/>
          </a:prstGeom>
          <a:ln w="6350" cap="flat" cmpd="sng" algn="ctr">
            <a:solidFill>
              <a:srgbClr val="7474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58F47F40-6E7B-58E9-EC3C-F9E341D5E24D}"/>
              </a:ext>
            </a:extLst>
          </p:cNvPr>
          <p:cNvCxnSpPr/>
          <p:nvPr>
            <p:custDataLst>
              <p:tags r:id="rId42"/>
            </p:custDataLst>
          </p:nvPr>
        </p:nvCxnSpPr>
        <p:spPr bwMode="gray">
          <a:xfrm>
            <a:off x="5718175" y="1631950"/>
            <a:ext cx="0" cy="4637088"/>
          </a:xfrm>
          <a:prstGeom prst="line">
            <a:avLst/>
          </a:prstGeom>
          <a:ln w="6350" cap="flat" cmpd="sng" algn="ctr">
            <a:solidFill>
              <a:srgbClr val="7474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E6F0DB4A-19BA-2B72-4282-5B3D9CB42D86}"/>
              </a:ext>
            </a:extLst>
          </p:cNvPr>
          <p:cNvCxnSpPr/>
          <p:nvPr>
            <p:custDataLst>
              <p:tags r:id="rId43"/>
            </p:custDataLst>
          </p:nvPr>
        </p:nvCxnSpPr>
        <p:spPr bwMode="gray">
          <a:xfrm>
            <a:off x="6918325" y="1631950"/>
            <a:ext cx="0" cy="4637088"/>
          </a:xfrm>
          <a:prstGeom prst="line">
            <a:avLst/>
          </a:prstGeom>
          <a:ln w="6350" cap="flat" cmpd="sng" algn="ctr">
            <a:solidFill>
              <a:srgbClr val="7474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9A4FA8FA-47C3-C159-8B59-FC6DDB297C15}"/>
              </a:ext>
            </a:extLst>
          </p:cNvPr>
          <p:cNvCxnSpPr/>
          <p:nvPr>
            <p:custDataLst>
              <p:tags r:id="rId44"/>
            </p:custDataLst>
          </p:nvPr>
        </p:nvCxnSpPr>
        <p:spPr bwMode="gray">
          <a:xfrm>
            <a:off x="3616325" y="1631950"/>
            <a:ext cx="0" cy="4637088"/>
          </a:xfrm>
          <a:prstGeom prst="line">
            <a:avLst/>
          </a:prstGeom>
          <a:ln w="6350" cap="flat" cmpd="sng" algn="ctr">
            <a:solidFill>
              <a:srgbClr val="7474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29BB5C78-6C86-4453-C9A0-8138D5BCBA95}"/>
              </a:ext>
            </a:extLst>
          </p:cNvPr>
          <p:cNvCxnSpPr/>
          <p:nvPr>
            <p:custDataLst>
              <p:tags r:id="rId45"/>
            </p:custDataLst>
          </p:nvPr>
        </p:nvCxnSpPr>
        <p:spPr bwMode="gray">
          <a:xfrm>
            <a:off x="3316288" y="1631950"/>
            <a:ext cx="0" cy="4637088"/>
          </a:xfrm>
          <a:prstGeom prst="line">
            <a:avLst/>
          </a:prstGeom>
          <a:ln w="6350" cap="flat" cmpd="sng" algn="ctr">
            <a:solidFill>
              <a:srgbClr val="7474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889E165B-C5F8-1FCE-1841-343694AB3FF1}"/>
              </a:ext>
            </a:extLst>
          </p:cNvPr>
          <p:cNvCxnSpPr/>
          <p:nvPr>
            <p:custDataLst>
              <p:tags r:id="rId46"/>
            </p:custDataLst>
          </p:nvPr>
        </p:nvCxnSpPr>
        <p:spPr bwMode="gray">
          <a:xfrm>
            <a:off x="4516438" y="1631950"/>
            <a:ext cx="0" cy="4637088"/>
          </a:xfrm>
          <a:prstGeom prst="line">
            <a:avLst/>
          </a:prstGeom>
          <a:ln w="6350" cap="flat" cmpd="sng" algn="ctr">
            <a:solidFill>
              <a:srgbClr val="7474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102D2B8D-EE67-218E-97A2-433CD561E8E4}"/>
              </a:ext>
            </a:extLst>
          </p:cNvPr>
          <p:cNvCxnSpPr/>
          <p:nvPr>
            <p:custDataLst>
              <p:tags r:id="rId47"/>
            </p:custDataLst>
          </p:nvPr>
        </p:nvCxnSpPr>
        <p:spPr bwMode="gray">
          <a:xfrm>
            <a:off x="4818063" y="1631950"/>
            <a:ext cx="0" cy="4637088"/>
          </a:xfrm>
          <a:prstGeom prst="line">
            <a:avLst/>
          </a:prstGeom>
          <a:ln w="6350" cap="flat" cmpd="sng" algn="ctr">
            <a:solidFill>
              <a:srgbClr val="7474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009BB38B-F238-5AE6-B214-D45BD647FD52}"/>
              </a:ext>
            </a:extLst>
          </p:cNvPr>
          <p:cNvCxnSpPr/>
          <p:nvPr>
            <p:custDataLst>
              <p:tags r:id="rId48"/>
            </p:custDataLst>
          </p:nvPr>
        </p:nvCxnSpPr>
        <p:spPr bwMode="gray">
          <a:xfrm>
            <a:off x="8420100" y="1631950"/>
            <a:ext cx="0" cy="4637088"/>
          </a:xfrm>
          <a:prstGeom prst="line">
            <a:avLst/>
          </a:prstGeom>
          <a:ln w="6350" cap="flat" cmpd="sng" algn="ctr">
            <a:solidFill>
              <a:srgbClr val="7474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88050274-C88E-DF84-3EDB-40A958C234F8}"/>
              </a:ext>
            </a:extLst>
          </p:cNvPr>
          <p:cNvCxnSpPr/>
          <p:nvPr>
            <p:custDataLst>
              <p:tags r:id="rId49"/>
            </p:custDataLst>
          </p:nvPr>
        </p:nvCxnSpPr>
        <p:spPr bwMode="gray">
          <a:xfrm>
            <a:off x="8120063" y="1631950"/>
            <a:ext cx="0" cy="4637088"/>
          </a:xfrm>
          <a:prstGeom prst="line">
            <a:avLst/>
          </a:prstGeom>
          <a:ln w="6350" cap="flat" cmpd="sng" algn="ctr">
            <a:solidFill>
              <a:srgbClr val="7474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4CD6123F-D2A6-204A-3B3B-319861E08307}"/>
              </a:ext>
            </a:extLst>
          </p:cNvPr>
          <p:cNvCxnSpPr/>
          <p:nvPr>
            <p:custDataLst>
              <p:tags r:id="rId50"/>
            </p:custDataLst>
          </p:nvPr>
        </p:nvCxnSpPr>
        <p:spPr bwMode="gray">
          <a:xfrm>
            <a:off x="7820025" y="1631950"/>
            <a:ext cx="0" cy="4637088"/>
          </a:xfrm>
          <a:prstGeom prst="line">
            <a:avLst/>
          </a:prstGeom>
          <a:ln w="6350" cap="flat" cmpd="sng" algn="ctr">
            <a:solidFill>
              <a:srgbClr val="7474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5F92228B-618D-24D6-790E-7F62E41D695A}"/>
              </a:ext>
            </a:extLst>
          </p:cNvPr>
          <p:cNvCxnSpPr/>
          <p:nvPr>
            <p:custDataLst>
              <p:tags r:id="rId51"/>
            </p:custDataLst>
          </p:nvPr>
        </p:nvCxnSpPr>
        <p:spPr bwMode="gray">
          <a:xfrm>
            <a:off x="7519988" y="1631950"/>
            <a:ext cx="0" cy="4637088"/>
          </a:xfrm>
          <a:prstGeom prst="line">
            <a:avLst/>
          </a:prstGeom>
          <a:ln w="6350" cap="flat" cmpd="sng" algn="ctr">
            <a:solidFill>
              <a:srgbClr val="7474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422E0714-BCCC-F173-482F-721AF1885568}"/>
              </a:ext>
            </a:extLst>
          </p:cNvPr>
          <p:cNvCxnSpPr/>
          <p:nvPr>
            <p:custDataLst>
              <p:tags r:id="rId52"/>
            </p:custDataLst>
          </p:nvPr>
        </p:nvCxnSpPr>
        <p:spPr bwMode="gray">
          <a:xfrm>
            <a:off x="7218363" y="1631950"/>
            <a:ext cx="0" cy="4637088"/>
          </a:xfrm>
          <a:prstGeom prst="line">
            <a:avLst/>
          </a:prstGeom>
          <a:ln w="6350" cap="flat" cmpd="sng" algn="ctr">
            <a:solidFill>
              <a:srgbClr val="747480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D417DB6F-BA1F-8D6F-4D18-32344354E865}"/>
              </a:ext>
            </a:extLst>
          </p:cNvPr>
          <p:cNvCxnSpPr/>
          <p:nvPr>
            <p:custDataLst>
              <p:tags r:id="rId53"/>
            </p:custDataLst>
          </p:nvPr>
        </p:nvCxnSpPr>
        <p:spPr bwMode="gray">
          <a:xfrm>
            <a:off x="617538" y="2193925"/>
            <a:ext cx="11104563" cy="0"/>
          </a:xfrm>
          <a:prstGeom prst="line">
            <a:avLst/>
          </a:prstGeom>
          <a:ln w="19050" cap="flat" cmpd="sng" algn="ctr">
            <a:solidFill>
              <a:srgbClr val="7474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C2C1A40D-21C7-6D7E-9D9C-A5DED909248C}"/>
              </a:ext>
            </a:extLst>
          </p:cNvPr>
          <p:cNvCxnSpPr/>
          <p:nvPr>
            <p:custDataLst>
              <p:tags r:id="rId54"/>
            </p:custDataLst>
          </p:nvPr>
        </p:nvCxnSpPr>
        <p:spPr bwMode="gray">
          <a:xfrm>
            <a:off x="617538" y="3359150"/>
            <a:ext cx="11104563" cy="0"/>
          </a:xfrm>
          <a:prstGeom prst="line">
            <a:avLst/>
          </a:prstGeom>
          <a:ln w="19050" cap="flat" cmpd="sng" algn="ctr">
            <a:solidFill>
              <a:srgbClr val="7474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F1838EC9-57D9-6C53-F74E-EEE328236E74}"/>
              </a:ext>
            </a:extLst>
          </p:cNvPr>
          <p:cNvCxnSpPr/>
          <p:nvPr>
            <p:custDataLst>
              <p:tags r:id="rId55"/>
            </p:custDataLst>
          </p:nvPr>
        </p:nvCxnSpPr>
        <p:spPr bwMode="gray">
          <a:xfrm>
            <a:off x="617538" y="5505450"/>
            <a:ext cx="11104563" cy="0"/>
          </a:xfrm>
          <a:prstGeom prst="line">
            <a:avLst/>
          </a:prstGeom>
          <a:ln w="19050" cap="flat" cmpd="sng" algn="ctr">
            <a:solidFill>
              <a:srgbClr val="7474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2889EAA2-4204-C865-74B2-0F0099661EB1}"/>
              </a:ext>
            </a:extLst>
          </p:cNvPr>
          <p:cNvCxnSpPr/>
          <p:nvPr>
            <p:custDataLst>
              <p:tags r:id="rId56"/>
            </p:custDataLst>
          </p:nvPr>
        </p:nvCxnSpPr>
        <p:spPr bwMode="gray">
          <a:xfrm>
            <a:off x="617538" y="4999038"/>
            <a:ext cx="11104563" cy="0"/>
          </a:xfrm>
          <a:prstGeom prst="line">
            <a:avLst/>
          </a:prstGeom>
          <a:ln w="19050" cap="flat" cmpd="sng" algn="ctr">
            <a:solidFill>
              <a:srgbClr val="7474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D750B2A2-0828-9F63-C105-9299BA7C4B2A}"/>
              </a:ext>
            </a:extLst>
          </p:cNvPr>
          <p:cNvCxnSpPr/>
          <p:nvPr>
            <p:custDataLst>
              <p:tags r:id="rId57"/>
            </p:custDataLst>
          </p:nvPr>
        </p:nvCxnSpPr>
        <p:spPr bwMode="gray">
          <a:xfrm>
            <a:off x="617538" y="4797425"/>
            <a:ext cx="11104563" cy="0"/>
          </a:xfrm>
          <a:prstGeom prst="line">
            <a:avLst/>
          </a:prstGeom>
          <a:ln w="19050" cap="flat" cmpd="sng" algn="ctr">
            <a:solidFill>
              <a:srgbClr val="7474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7B0D6516-B759-A217-AC38-6107B0CD9607}"/>
              </a:ext>
            </a:extLst>
          </p:cNvPr>
          <p:cNvCxnSpPr/>
          <p:nvPr>
            <p:custDataLst>
              <p:tags r:id="rId58"/>
            </p:custDataLst>
          </p:nvPr>
        </p:nvCxnSpPr>
        <p:spPr bwMode="gray">
          <a:xfrm>
            <a:off x="617538" y="6072188"/>
            <a:ext cx="11104563" cy="0"/>
          </a:xfrm>
          <a:prstGeom prst="line">
            <a:avLst/>
          </a:prstGeom>
          <a:ln w="19050" cap="flat" cmpd="sng" algn="ctr">
            <a:solidFill>
              <a:srgbClr val="7474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0EBC8B1A-EDFE-DA44-6B88-45B23B3D7B09}"/>
              </a:ext>
            </a:extLst>
          </p:cNvPr>
          <p:cNvCxnSpPr/>
          <p:nvPr>
            <p:custDataLst>
              <p:tags r:id="rId59"/>
            </p:custDataLst>
          </p:nvPr>
        </p:nvCxnSpPr>
        <p:spPr bwMode="gray">
          <a:xfrm>
            <a:off x="617538" y="2700338"/>
            <a:ext cx="11104563" cy="0"/>
          </a:xfrm>
          <a:prstGeom prst="line">
            <a:avLst/>
          </a:prstGeom>
          <a:ln w="19050" cap="flat" cmpd="sng" algn="ctr">
            <a:solidFill>
              <a:srgbClr val="7474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9E98E73E-1CBB-A5B5-BCA4-5C28339A0A05}"/>
              </a:ext>
            </a:extLst>
          </p:cNvPr>
          <p:cNvCxnSpPr/>
          <p:nvPr>
            <p:custDataLst>
              <p:tags r:id="rId60"/>
            </p:custDataLst>
          </p:nvPr>
        </p:nvCxnSpPr>
        <p:spPr bwMode="gray">
          <a:xfrm>
            <a:off x="617538" y="4291013"/>
            <a:ext cx="11104563" cy="0"/>
          </a:xfrm>
          <a:prstGeom prst="line">
            <a:avLst/>
          </a:prstGeom>
          <a:ln w="19050" cap="flat" cmpd="sng" algn="ctr">
            <a:solidFill>
              <a:srgbClr val="7474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2DAFF81F-A52C-BD80-93EB-7A32C324E441}"/>
              </a:ext>
            </a:extLst>
          </p:cNvPr>
          <p:cNvCxnSpPr/>
          <p:nvPr>
            <p:custDataLst>
              <p:tags r:id="rId61"/>
            </p:custDataLst>
          </p:nvPr>
        </p:nvCxnSpPr>
        <p:spPr bwMode="gray">
          <a:xfrm>
            <a:off x="617538" y="6269038"/>
            <a:ext cx="11104563" cy="0"/>
          </a:xfrm>
          <a:prstGeom prst="line">
            <a:avLst/>
          </a:prstGeom>
          <a:ln w="9525" cap="flat" cmpd="sng" algn="ctr">
            <a:solidFill>
              <a:srgbClr val="7474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340DE67B-887C-EF07-5BAF-036E4D6FC2B2}"/>
              </a:ext>
            </a:extLst>
          </p:cNvPr>
          <p:cNvCxnSpPr/>
          <p:nvPr>
            <p:custDataLst>
              <p:tags r:id="rId62"/>
            </p:custDataLst>
          </p:nvPr>
        </p:nvCxnSpPr>
        <p:spPr bwMode="gray">
          <a:xfrm>
            <a:off x="617538" y="1631950"/>
            <a:ext cx="11104563" cy="0"/>
          </a:xfrm>
          <a:prstGeom prst="line">
            <a:avLst/>
          </a:prstGeom>
          <a:ln w="9525" cap="flat" cmpd="sng" algn="ctr">
            <a:solidFill>
              <a:srgbClr val="7474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9" name="Arrow: Right 68">
            <a:extLst>
              <a:ext uri="{FF2B5EF4-FFF2-40B4-BE49-F238E27FC236}">
                <a16:creationId xmlns:a16="http://schemas.microsoft.com/office/drawing/2014/main" id="{8852FACA-9CA4-CC97-E253-54EA64A6D29C}"/>
              </a:ext>
            </a:extLst>
          </p:cNvPr>
          <p:cNvSpPr/>
          <p:nvPr>
            <p:custDataLst>
              <p:tags r:id="rId63"/>
            </p:custDataLst>
          </p:nvPr>
        </p:nvSpPr>
        <p:spPr bwMode="auto">
          <a:xfrm>
            <a:off x="3316288" y="1641475"/>
            <a:ext cx="5513388" cy="158750"/>
          </a:xfrm>
          <a:prstGeom prst="rightArrow">
            <a:avLst>
              <a:gd name="adj1" fmla="val 50000"/>
              <a:gd name="adj2" fmla="val 40660"/>
            </a:avLst>
          </a:prstGeom>
          <a:solidFill>
            <a:schemeClr val="bg2"/>
          </a:solidFill>
          <a:ln w="9525" cap="sq" cmpd="sng" algn="ctr">
            <a:solidFill>
              <a:schemeClr val="tx2"/>
            </a:solidFill>
            <a:prstDash val="dash"/>
            <a:miter lim="800000"/>
            <a:tailEnd type="none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7BFCFB41-7FE9-A406-C390-7BA6C6AB6ABB}"/>
              </a:ext>
            </a:extLst>
          </p:cNvPr>
          <p:cNvSpPr/>
          <p:nvPr>
            <p:custDataLst>
              <p:tags r:id="rId64"/>
            </p:custDataLst>
          </p:nvPr>
        </p:nvSpPr>
        <p:spPr bwMode="auto">
          <a:xfrm>
            <a:off x="8120063" y="5924550"/>
            <a:ext cx="300038" cy="79375"/>
          </a:xfrm>
          <a:prstGeom prst="rect">
            <a:avLst/>
          </a:prstGeom>
          <a:solidFill>
            <a:schemeClr val="bg2"/>
          </a:solidFill>
          <a:ln w="9525" cap="sq" cmpd="sng" algn="ctr">
            <a:solidFill>
              <a:schemeClr val="tx2"/>
            </a:solidFill>
            <a:prstDash val="dash"/>
            <a:miter lim="800000"/>
            <a:tailEnd type="none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D0EF3F93-211C-4C5C-0D5D-97BDB32C4844}"/>
              </a:ext>
            </a:extLst>
          </p:cNvPr>
          <p:cNvSpPr/>
          <p:nvPr>
            <p:custDataLst>
              <p:tags r:id="rId65"/>
            </p:custDataLst>
          </p:nvPr>
        </p:nvSpPr>
        <p:spPr bwMode="auto">
          <a:xfrm>
            <a:off x="6918325" y="5924550"/>
            <a:ext cx="300038" cy="79375"/>
          </a:xfrm>
          <a:prstGeom prst="rect">
            <a:avLst/>
          </a:prstGeom>
          <a:solidFill>
            <a:schemeClr val="bg2"/>
          </a:solidFill>
          <a:ln w="9525" cap="sq" cmpd="sng" algn="ctr">
            <a:solidFill>
              <a:schemeClr val="tx2"/>
            </a:solidFill>
            <a:prstDash val="dash"/>
            <a:miter lim="800000"/>
            <a:tailEnd type="none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EE187859-B59D-7735-34C1-1A93EB5E3819}"/>
              </a:ext>
            </a:extLst>
          </p:cNvPr>
          <p:cNvSpPr/>
          <p:nvPr>
            <p:custDataLst>
              <p:tags r:id="rId66"/>
            </p:custDataLst>
          </p:nvPr>
        </p:nvSpPr>
        <p:spPr bwMode="auto">
          <a:xfrm>
            <a:off x="6318250" y="5053013"/>
            <a:ext cx="1201738" cy="79375"/>
          </a:xfrm>
          <a:prstGeom prst="rect">
            <a:avLst/>
          </a:prstGeom>
          <a:solidFill>
            <a:schemeClr val="bg2"/>
          </a:solidFill>
          <a:ln w="9525" cap="sq" cmpd="sng" algn="ctr">
            <a:solidFill>
              <a:schemeClr val="tx2"/>
            </a:solidFill>
            <a:prstDash val="dash"/>
            <a:miter lim="800000"/>
            <a:tailEnd type="none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3528C63-CC32-AAD5-E0F8-64C73F591D01}"/>
              </a:ext>
            </a:extLst>
          </p:cNvPr>
          <p:cNvSpPr/>
          <p:nvPr>
            <p:custDataLst>
              <p:tags r:id="rId67"/>
            </p:custDataLst>
          </p:nvPr>
        </p:nvSpPr>
        <p:spPr bwMode="auto">
          <a:xfrm>
            <a:off x="5718175" y="4667250"/>
            <a:ext cx="900113" cy="79375"/>
          </a:xfrm>
          <a:prstGeom prst="rect">
            <a:avLst/>
          </a:prstGeom>
          <a:solidFill>
            <a:schemeClr val="bg2"/>
          </a:solidFill>
          <a:ln w="9525" cap="sq" cmpd="sng" algn="ctr">
            <a:solidFill>
              <a:schemeClr val="tx2"/>
            </a:solidFill>
            <a:prstDash val="dash"/>
            <a:miter lim="800000"/>
            <a:tailEnd type="none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CDE44AF8-8236-9992-26E6-ABC41B86B1D7}"/>
              </a:ext>
            </a:extLst>
          </p:cNvPr>
          <p:cNvSpPr/>
          <p:nvPr>
            <p:custDataLst>
              <p:tags r:id="rId68"/>
            </p:custDataLst>
          </p:nvPr>
        </p:nvSpPr>
        <p:spPr bwMode="auto">
          <a:xfrm>
            <a:off x="3316288" y="5559425"/>
            <a:ext cx="5403850" cy="79375"/>
          </a:xfrm>
          <a:prstGeom prst="rect">
            <a:avLst/>
          </a:prstGeom>
          <a:solidFill>
            <a:schemeClr val="tx2"/>
          </a:solidFill>
          <a:ln w="9525" cap="sq" cmpd="sng" algn="ctr">
            <a:solidFill>
              <a:schemeClr val="bg1"/>
            </a:solidFill>
            <a:prstDash val="dash"/>
            <a:miter lim="800000"/>
            <a:tailEnd type="none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9054E045-830C-FA07-096D-20D10A4B2CA9}"/>
              </a:ext>
            </a:extLst>
          </p:cNvPr>
          <p:cNvSpPr/>
          <p:nvPr>
            <p:custDataLst>
              <p:tags r:id="rId69"/>
            </p:custDataLst>
          </p:nvPr>
        </p:nvSpPr>
        <p:spPr bwMode="auto">
          <a:xfrm>
            <a:off x="3616325" y="1863725"/>
            <a:ext cx="900113" cy="79375"/>
          </a:xfrm>
          <a:prstGeom prst="rect">
            <a:avLst/>
          </a:prstGeom>
          <a:solidFill>
            <a:schemeClr val="bg2"/>
          </a:solidFill>
          <a:ln w="9525" cap="sq" cmpd="sng" algn="ctr">
            <a:solidFill>
              <a:schemeClr val="tx2"/>
            </a:solidFill>
            <a:prstDash val="dash"/>
            <a:miter lim="800000"/>
            <a:tailEnd type="none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9820C69F-DB28-1968-D27E-D938DF9547D2}"/>
              </a:ext>
            </a:extLst>
          </p:cNvPr>
          <p:cNvSpPr/>
          <p:nvPr>
            <p:custDataLst>
              <p:tags r:id="rId70"/>
            </p:custDataLst>
          </p:nvPr>
        </p:nvSpPr>
        <p:spPr bwMode="auto">
          <a:xfrm>
            <a:off x="4216400" y="2430463"/>
            <a:ext cx="601663" cy="79375"/>
          </a:xfrm>
          <a:prstGeom prst="rect">
            <a:avLst/>
          </a:prstGeom>
          <a:solidFill>
            <a:schemeClr val="bg2"/>
          </a:solidFill>
          <a:ln w="9525" cap="sq" cmpd="sng" algn="ctr">
            <a:solidFill>
              <a:schemeClr val="tx2"/>
            </a:solidFill>
            <a:prstDash val="dash"/>
            <a:miter lim="800000"/>
            <a:tailEnd type="none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442401CE-3D48-D126-6177-32F0733C8719}"/>
              </a:ext>
            </a:extLst>
          </p:cNvPr>
          <p:cNvSpPr/>
          <p:nvPr>
            <p:custDataLst>
              <p:tags r:id="rId71"/>
            </p:custDataLst>
          </p:nvPr>
        </p:nvSpPr>
        <p:spPr bwMode="auto">
          <a:xfrm>
            <a:off x="6618288" y="5375275"/>
            <a:ext cx="901700" cy="79375"/>
          </a:xfrm>
          <a:prstGeom prst="rect">
            <a:avLst/>
          </a:prstGeom>
          <a:solidFill>
            <a:schemeClr val="tx2"/>
          </a:solidFill>
          <a:ln w="9525" cap="sq" cmpd="sng" algn="ctr">
            <a:solidFill>
              <a:schemeClr val="bg1"/>
            </a:solidFill>
            <a:prstDash val="dash"/>
            <a:miter lim="800000"/>
            <a:tailEnd type="none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FD9D4F69-0311-88F3-ED7E-8339E80D3C26}"/>
              </a:ext>
            </a:extLst>
          </p:cNvPr>
          <p:cNvSpPr/>
          <p:nvPr>
            <p:custDataLst>
              <p:tags r:id="rId72"/>
            </p:custDataLst>
          </p:nvPr>
        </p:nvSpPr>
        <p:spPr bwMode="auto">
          <a:xfrm>
            <a:off x="5718175" y="4514850"/>
            <a:ext cx="600075" cy="79375"/>
          </a:xfrm>
          <a:prstGeom prst="rect">
            <a:avLst/>
          </a:prstGeom>
          <a:solidFill>
            <a:schemeClr val="accent3"/>
          </a:solidFill>
          <a:ln w="9525" cap="sq" cmpd="sng" algn="ctr">
            <a:solidFill>
              <a:schemeClr val="bg1"/>
            </a:solidFill>
            <a:prstDash val="dash"/>
            <a:miter lim="800000"/>
            <a:tailEnd type="none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621E22A0-EFC3-AC5A-864A-FDB5C2A30103}"/>
              </a:ext>
            </a:extLst>
          </p:cNvPr>
          <p:cNvSpPr/>
          <p:nvPr>
            <p:custDataLst>
              <p:tags r:id="rId73"/>
            </p:custDataLst>
          </p:nvPr>
        </p:nvSpPr>
        <p:spPr bwMode="auto">
          <a:xfrm>
            <a:off x="4216400" y="2046288"/>
            <a:ext cx="300038" cy="79375"/>
          </a:xfrm>
          <a:prstGeom prst="rect">
            <a:avLst/>
          </a:prstGeom>
          <a:solidFill>
            <a:schemeClr val="tx2"/>
          </a:solidFill>
          <a:ln w="9525" cap="sq" cmpd="sng" algn="ctr">
            <a:solidFill>
              <a:schemeClr val="bg1"/>
            </a:solidFill>
            <a:prstDash val="dash"/>
            <a:miter lim="800000"/>
            <a:tailEnd type="none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C9347DD8-0348-AF8E-AB49-75345182B80A}"/>
              </a:ext>
            </a:extLst>
          </p:cNvPr>
          <p:cNvSpPr/>
          <p:nvPr>
            <p:custDataLst>
              <p:tags r:id="rId74"/>
            </p:custDataLst>
          </p:nvPr>
        </p:nvSpPr>
        <p:spPr bwMode="auto">
          <a:xfrm>
            <a:off x="6318250" y="5222875"/>
            <a:ext cx="600075" cy="79375"/>
          </a:xfrm>
          <a:prstGeom prst="rect">
            <a:avLst/>
          </a:prstGeom>
          <a:solidFill>
            <a:schemeClr val="tx2"/>
          </a:solidFill>
          <a:ln w="9525" cap="sq" cmpd="sng" algn="ctr">
            <a:solidFill>
              <a:schemeClr val="bg1"/>
            </a:solidFill>
            <a:prstDash val="dash"/>
            <a:miter lim="800000"/>
            <a:tailEnd type="none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83704E95-054A-CD91-A606-5792BD7FB9D4}"/>
              </a:ext>
            </a:extLst>
          </p:cNvPr>
          <p:cNvSpPr/>
          <p:nvPr>
            <p:custDataLst>
              <p:tags r:id="rId75"/>
            </p:custDataLst>
          </p:nvPr>
        </p:nvSpPr>
        <p:spPr bwMode="auto">
          <a:xfrm>
            <a:off x="4216400" y="2754313"/>
            <a:ext cx="1801813" cy="79375"/>
          </a:xfrm>
          <a:prstGeom prst="rect">
            <a:avLst/>
          </a:prstGeom>
          <a:solidFill>
            <a:schemeClr val="bg2"/>
          </a:solidFill>
          <a:ln w="9525" cap="sq" cmpd="sng" algn="ctr">
            <a:solidFill>
              <a:schemeClr val="tx2"/>
            </a:solidFill>
            <a:prstDash val="dash"/>
            <a:miter lim="800000"/>
            <a:tailEnd type="none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2CADBD3E-5CE0-5BDB-3220-5B1B3BF6EE6C}"/>
              </a:ext>
            </a:extLst>
          </p:cNvPr>
          <p:cNvSpPr/>
          <p:nvPr>
            <p:custDataLst>
              <p:tags r:id="rId76"/>
            </p:custDataLst>
          </p:nvPr>
        </p:nvSpPr>
        <p:spPr bwMode="auto">
          <a:xfrm>
            <a:off x="3616325" y="4851400"/>
            <a:ext cx="600075" cy="79375"/>
          </a:xfrm>
          <a:prstGeom prst="rect">
            <a:avLst/>
          </a:prstGeom>
          <a:solidFill>
            <a:schemeClr val="accent3"/>
          </a:solidFill>
          <a:ln w="9525" cap="sq" cmpd="sng" algn="ctr">
            <a:solidFill>
              <a:schemeClr val="bg1"/>
            </a:solidFill>
            <a:prstDash val="dash"/>
            <a:miter lim="800000"/>
            <a:tailEnd type="none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DAFF4043-8633-1F9E-4677-1ED58EE3884F}"/>
              </a:ext>
            </a:extLst>
          </p:cNvPr>
          <p:cNvSpPr/>
          <p:nvPr>
            <p:custDataLst>
              <p:tags r:id="rId77"/>
            </p:custDataLst>
          </p:nvPr>
        </p:nvSpPr>
        <p:spPr bwMode="auto">
          <a:xfrm>
            <a:off x="3916363" y="2247900"/>
            <a:ext cx="300038" cy="79375"/>
          </a:xfrm>
          <a:prstGeom prst="rect">
            <a:avLst/>
          </a:prstGeom>
          <a:solidFill>
            <a:schemeClr val="accent3"/>
          </a:solidFill>
          <a:ln w="9525" cap="sq" cmpd="sng" algn="ctr">
            <a:solidFill>
              <a:schemeClr val="bg1"/>
            </a:solidFill>
            <a:prstDash val="dash"/>
            <a:miter lim="800000"/>
            <a:tailEnd type="none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8C337379-B993-1238-B6BF-CBB928E2EED4}"/>
              </a:ext>
            </a:extLst>
          </p:cNvPr>
          <p:cNvSpPr/>
          <p:nvPr>
            <p:custDataLst>
              <p:tags r:id="rId78"/>
            </p:custDataLst>
          </p:nvPr>
        </p:nvSpPr>
        <p:spPr bwMode="auto">
          <a:xfrm>
            <a:off x="5418138" y="4143375"/>
            <a:ext cx="1200150" cy="79375"/>
          </a:xfrm>
          <a:prstGeom prst="rect">
            <a:avLst/>
          </a:prstGeom>
          <a:solidFill>
            <a:schemeClr val="accent3"/>
          </a:solidFill>
          <a:ln w="9525" cap="sq" cmpd="sng" algn="ctr">
            <a:solidFill>
              <a:schemeClr val="bg1"/>
            </a:solidFill>
            <a:prstDash val="dash"/>
            <a:miter lim="800000"/>
            <a:tailEnd type="none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</a:endParaRP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D0708E23-DF5E-742E-C7DA-1900FB8712D1}"/>
              </a:ext>
            </a:extLst>
          </p:cNvPr>
          <p:cNvSpPr/>
          <p:nvPr>
            <p:custDataLst>
              <p:tags r:id="rId79"/>
            </p:custDataLst>
          </p:nvPr>
        </p:nvSpPr>
        <p:spPr bwMode="auto">
          <a:xfrm>
            <a:off x="7519988" y="5741988"/>
            <a:ext cx="1200150" cy="79375"/>
          </a:xfrm>
          <a:prstGeom prst="rect">
            <a:avLst/>
          </a:prstGeom>
          <a:solidFill>
            <a:schemeClr val="bg2"/>
          </a:solidFill>
          <a:ln w="9525" cap="sq" cmpd="sng" algn="ctr">
            <a:solidFill>
              <a:schemeClr val="tx2"/>
            </a:solidFill>
            <a:prstDash val="dash"/>
            <a:miter lim="800000"/>
            <a:tailEnd type="none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5B08D158-BFEF-FF21-23D1-F7426FDD545E}"/>
              </a:ext>
            </a:extLst>
          </p:cNvPr>
          <p:cNvSpPr/>
          <p:nvPr>
            <p:custDataLst>
              <p:tags r:id="rId80"/>
            </p:custDataLst>
          </p:nvPr>
        </p:nvSpPr>
        <p:spPr bwMode="auto">
          <a:xfrm>
            <a:off x="5718175" y="5924550"/>
            <a:ext cx="257175" cy="79375"/>
          </a:xfrm>
          <a:prstGeom prst="rect">
            <a:avLst/>
          </a:prstGeom>
          <a:solidFill>
            <a:schemeClr val="bg2"/>
          </a:solidFill>
          <a:ln w="9525" cap="sq" cmpd="sng" algn="ctr">
            <a:solidFill>
              <a:schemeClr val="tx2"/>
            </a:solidFill>
            <a:prstDash val="dash"/>
            <a:miter lim="800000"/>
            <a:tailEnd type="none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D3B808CC-6349-F741-69B1-A0FE244B2EBE}"/>
              </a:ext>
            </a:extLst>
          </p:cNvPr>
          <p:cNvSpPr/>
          <p:nvPr>
            <p:custDataLst>
              <p:tags r:id="rId81"/>
            </p:custDataLst>
          </p:nvPr>
        </p:nvSpPr>
        <p:spPr bwMode="auto">
          <a:xfrm>
            <a:off x="5418138" y="3960813"/>
            <a:ext cx="900113" cy="79375"/>
          </a:xfrm>
          <a:prstGeom prst="rect">
            <a:avLst/>
          </a:prstGeom>
          <a:solidFill>
            <a:schemeClr val="accent3"/>
          </a:solidFill>
          <a:ln w="9525" cap="sq" cmpd="sng" algn="ctr">
            <a:solidFill>
              <a:schemeClr val="bg1"/>
            </a:solidFill>
            <a:prstDash val="dash"/>
            <a:miter lim="800000"/>
            <a:tailEnd type="none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</a:endParaRP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3A6F870F-F79D-AE99-5507-7F557238A1F6}"/>
              </a:ext>
            </a:extLst>
          </p:cNvPr>
          <p:cNvSpPr/>
          <p:nvPr>
            <p:custDataLst>
              <p:tags r:id="rId82"/>
            </p:custDataLst>
          </p:nvPr>
        </p:nvSpPr>
        <p:spPr bwMode="auto">
          <a:xfrm>
            <a:off x="5418138" y="3778250"/>
            <a:ext cx="300038" cy="79375"/>
          </a:xfrm>
          <a:prstGeom prst="rect">
            <a:avLst/>
          </a:prstGeom>
          <a:solidFill>
            <a:schemeClr val="tx2"/>
          </a:solidFill>
          <a:ln w="9525" cap="sq" cmpd="sng" algn="ctr">
            <a:solidFill>
              <a:schemeClr val="bg1"/>
            </a:solidFill>
            <a:prstDash val="dash"/>
            <a:miter lim="800000"/>
            <a:tailEnd type="none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D7BA7F7A-5EAD-1842-D8CD-CCCD15784F7D}"/>
              </a:ext>
            </a:extLst>
          </p:cNvPr>
          <p:cNvSpPr/>
          <p:nvPr>
            <p:custDataLst>
              <p:tags r:id="rId83"/>
            </p:custDataLst>
          </p:nvPr>
        </p:nvSpPr>
        <p:spPr bwMode="auto">
          <a:xfrm>
            <a:off x="4818063" y="6126163"/>
            <a:ext cx="600075" cy="79375"/>
          </a:xfrm>
          <a:prstGeom prst="rect">
            <a:avLst/>
          </a:prstGeom>
          <a:solidFill>
            <a:schemeClr val="bg2"/>
          </a:solidFill>
          <a:ln w="9525" cap="sq" cmpd="sng" algn="ctr">
            <a:solidFill>
              <a:schemeClr val="tx2"/>
            </a:solidFill>
            <a:prstDash val="dash"/>
            <a:miter lim="800000"/>
            <a:tailEnd type="none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5F7B10DE-934B-FC02-6DA9-9E106331FC4C}"/>
              </a:ext>
            </a:extLst>
          </p:cNvPr>
          <p:cNvSpPr/>
          <p:nvPr>
            <p:custDataLst>
              <p:tags r:id="rId84"/>
            </p:custDataLst>
          </p:nvPr>
        </p:nvSpPr>
        <p:spPr bwMode="auto">
          <a:xfrm>
            <a:off x="5118100" y="3595688"/>
            <a:ext cx="900113" cy="79375"/>
          </a:xfrm>
          <a:prstGeom prst="rect">
            <a:avLst/>
          </a:prstGeom>
          <a:solidFill>
            <a:schemeClr val="tx2"/>
          </a:solidFill>
          <a:ln w="9525" cap="sq" cmpd="sng" algn="ctr">
            <a:solidFill>
              <a:schemeClr val="bg1"/>
            </a:solidFill>
            <a:prstDash val="dash"/>
            <a:miter lim="800000"/>
            <a:tailEnd type="none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F82FE756-9CA4-D1B4-224A-BE5CDF5C3925}"/>
              </a:ext>
            </a:extLst>
          </p:cNvPr>
          <p:cNvSpPr/>
          <p:nvPr>
            <p:custDataLst>
              <p:tags r:id="rId85"/>
            </p:custDataLst>
          </p:nvPr>
        </p:nvSpPr>
        <p:spPr bwMode="auto">
          <a:xfrm>
            <a:off x="5718175" y="4344988"/>
            <a:ext cx="900113" cy="79375"/>
          </a:xfrm>
          <a:prstGeom prst="rect">
            <a:avLst/>
          </a:prstGeom>
          <a:solidFill>
            <a:schemeClr val="bg2"/>
          </a:solidFill>
          <a:ln w="9525" cap="sq" cmpd="sng" algn="ctr">
            <a:solidFill>
              <a:schemeClr val="tx2"/>
            </a:solidFill>
            <a:prstDash val="dash"/>
            <a:miter lim="800000"/>
            <a:tailEnd type="none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66C65DB5-A099-C0D8-DDB5-A425808C6404}"/>
              </a:ext>
            </a:extLst>
          </p:cNvPr>
          <p:cNvSpPr/>
          <p:nvPr>
            <p:custDataLst>
              <p:tags r:id="rId86"/>
            </p:custDataLst>
          </p:nvPr>
        </p:nvSpPr>
        <p:spPr bwMode="auto">
          <a:xfrm>
            <a:off x="4516438" y="3413125"/>
            <a:ext cx="1201738" cy="79375"/>
          </a:xfrm>
          <a:prstGeom prst="rect">
            <a:avLst/>
          </a:prstGeom>
          <a:solidFill>
            <a:schemeClr val="tx2"/>
          </a:solidFill>
          <a:ln w="9525" cap="sq" cmpd="sng" algn="ctr">
            <a:solidFill>
              <a:schemeClr val="bg1"/>
            </a:solidFill>
            <a:prstDash val="dash"/>
            <a:miter lim="800000"/>
            <a:tailEnd type="none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CCFD6D90-D15E-2169-9933-24E96D3126D4}"/>
              </a:ext>
            </a:extLst>
          </p:cNvPr>
          <p:cNvSpPr/>
          <p:nvPr>
            <p:custDataLst>
              <p:tags r:id="rId87"/>
            </p:custDataLst>
          </p:nvPr>
        </p:nvSpPr>
        <p:spPr bwMode="auto">
          <a:xfrm>
            <a:off x="4818063" y="3228975"/>
            <a:ext cx="1200150" cy="79375"/>
          </a:xfrm>
          <a:prstGeom prst="rect">
            <a:avLst/>
          </a:prstGeom>
          <a:solidFill>
            <a:schemeClr val="bg2"/>
          </a:solidFill>
          <a:ln w="9525" cap="sq" cmpd="sng" algn="ctr">
            <a:solidFill>
              <a:schemeClr val="tx2"/>
            </a:solidFill>
            <a:prstDash val="dash"/>
            <a:miter lim="800000"/>
            <a:tailEnd type="none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</a:endParaRP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FF97C5EC-F78D-7F30-08FD-FAA57E8555D6}"/>
              </a:ext>
            </a:extLst>
          </p:cNvPr>
          <p:cNvSpPr/>
          <p:nvPr>
            <p:custDataLst>
              <p:tags r:id="rId88"/>
            </p:custDataLst>
          </p:nvPr>
        </p:nvSpPr>
        <p:spPr bwMode="auto">
          <a:xfrm>
            <a:off x="4516438" y="3076575"/>
            <a:ext cx="1501775" cy="79375"/>
          </a:xfrm>
          <a:prstGeom prst="rect">
            <a:avLst/>
          </a:prstGeom>
          <a:solidFill>
            <a:schemeClr val="bg2"/>
          </a:solidFill>
          <a:ln w="9525" cap="sq" cmpd="sng" algn="ctr">
            <a:solidFill>
              <a:schemeClr val="tx2"/>
            </a:solidFill>
            <a:prstDash val="dash"/>
            <a:miter lim="800000"/>
            <a:tailEnd type="none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</a:endParaRP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BAB91A09-1477-708D-E908-2DA62531FE76}"/>
              </a:ext>
            </a:extLst>
          </p:cNvPr>
          <p:cNvSpPr/>
          <p:nvPr>
            <p:custDataLst>
              <p:tags r:id="rId89"/>
            </p:custDataLst>
          </p:nvPr>
        </p:nvSpPr>
        <p:spPr bwMode="auto">
          <a:xfrm>
            <a:off x="4216400" y="2924175"/>
            <a:ext cx="1201738" cy="79375"/>
          </a:xfrm>
          <a:prstGeom prst="rect">
            <a:avLst/>
          </a:prstGeom>
          <a:solidFill>
            <a:schemeClr val="bg2"/>
          </a:solidFill>
          <a:ln w="9525" cap="sq" cmpd="sng" algn="ctr">
            <a:solidFill>
              <a:schemeClr val="tx2"/>
            </a:solidFill>
            <a:prstDash val="dash"/>
            <a:miter lim="800000"/>
            <a:tailEnd type="none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</a:endParaRPr>
          </a:p>
        </p:txBody>
      </p:sp>
      <p:sp>
        <p:nvSpPr>
          <p:cNvPr id="96" name="Text Placeholder 2">
            <a:extLst>
              <a:ext uri="{FF2B5EF4-FFF2-40B4-BE49-F238E27FC236}">
                <a16:creationId xmlns:a16="http://schemas.microsoft.com/office/drawing/2014/main" id="{71527923-485D-F597-0F02-C6B70BF0353E}"/>
              </a:ext>
            </a:extLst>
          </p:cNvPr>
          <p:cNvSpPr>
            <a:spLocks noGrp="1"/>
          </p:cNvSpPr>
          <p:nvPr>
            <p:custDataLst>
              <p:tags r:id="rId90"/>
            </p:custDataLst>
          </p:nvPr>
        </p:nvSpPr>
        <p:spPr bwMode="auto">
          <a:xfrm>
            <a:off x="8901113" y="2386013"/>
            <a:ext cx="1577975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b="1" noProof="0" dirty="0">
                <a:latin typeface="+mn-lt"/>
              </a:rPr>
              <a:t>Kathrin / Antonina / Tim / </a:t>
            </a: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b="1" noProof="0" dirty="0">
                <a:latin typeface="+mn-lt"/>
              </a:rPr>
              <a:t>Hannah / Raluca</a:t>
            </a:r>
          </a:p>
        </p:txBody>
      </p:sp>
      <p:sp>
        <p:nvSpPr>
          <p:cNvPr id="97" name="Text Placeholder 2">
            <a:extLst>
              <a:ext uri="{FF2B5EF4-FFF2-40B4-BE49-F238E27FC236}">
                <a16:creationId xmlns:a16="http://schemas.microsoft.com/office/drawing/2014/main" id="{722EC9CA-98D4-0D9A-4B26-BFB997EFB082}"/>
              </a:ext>
            </a:extLst>
          </p:cNvPr>
          <p:cNvSpPr>
            <a:spLocks noGrp="1"/>
          </p:cNvSpPr>
          <p:nvPr>
            <p:custDataLst>
              <p:tags r:id="rId91"/>
            </p:custDataLst>
          </p:nvPr>
        </p:nvSpPr>
        <p:spPr bwMode="auto">
          <a:xfrm>
            <a:off x="10550525" y="2386013"/>
            <a:ext cx="800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>
                <a:latin typeface="+mn-lt"/>
              </a:rPr>
              <a:t>Lynn / Junior</a:t>
            </a:r>
            <a:endParaRPr lang="en-US" sz="1000" b="1" noProof="0" dirty="0">
              <a:latin typeface="+mn-lt"/>
            </a:endParaRPr>
          </a:p>
        </p:txBody>
      </p:sp>
      <p:sp>
        <p:nvSpPr>
          <p:cNvPr id="98" name="Text Placeholder 2">
            <a:extLst>
              <a:ext uri="{FF2B5EF4-FFF2-40B4-BE49-F238E27FC236}">
                <a16:creationId xmlns:a16="http://schemas.microsoft.com/office/drawing/2014/main" id="{2BC5DA5C-962A-BFD8-BE7A-C6E650BE2B7E}"/>
              </a:ext>
            </a:extLst>
          </p:cNvPr>
          <p:cNvSpPr>
            <a:spLocks noGrp="1"/>
          </p:cNvSpPr>
          <p:nvPr>
            <p:custDataLst>
              <p:tags r:id="rId92"/>
            </p:custDataLst>
          </p:nvPr>
        </p:nvSpPr>
        <p:spPr bwMode="auto">
          <a:xfrm>
            <a:off x="688975" y="2709863"/>
            <a:ext cx="16017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b="1" noProof="0" dirty="0">
                <a:latin typeface="+mn-lt"/>
              </a:rPr>
              <a:t>Information Extraction</a:t>
            </a:r>
          </a:p>
        </p:txBody>
      </p:sp>
      <p:sp>
        <p:nvSpPr>
          <p:cNvPr id="99" name="Text Placeholder 2">
            <a:extLst>
              <a:ext uri="{FF2B5EF4-FFF2-40B4-BE49-F238E27FC236}">
                <a16:creationId xmlns:a16="http://schemas.microsoft.com/office/drawing/2014/main" id="{5E177211-D8D3-6134-C6EA-251C64016AE1}"/>
              </a:ext>
            </a:extLst>
          </p:cNvPr>
          <p:cNvSpPr>
            <a:spLocks noGrp="1"/>
          </p:cNvSpPr>
          <p:nvPr>
            <p:custDataLst>
              <p:tags r:id="rId93"/>
            </p:custDataLst>
          </p:nvPr>
        </p:nvSpPr>
        <p:spPr bwMode="auto">
          <a:xfrm>
            <a:off x="688975" y="4300538"/>
            <a:ext cx="14176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b="1" noProof="0" dirty="0">
                <a:latin typeface="+mn-lt"/>
              </a:rPr>
              <a:t>Attribute Prediction</a:t>
            </a:r>
          </a:p>
        </p:txBody>
      </p:sp>
      <p:sp>
        <p:nvSpPr>
          <p:cNvPr id="100" name="Text Placeholder 2">
            <a:extLst>
              <a:ext uri="{FF2B5EF4-FFF2-40B4-BE49-F238E27FC236}">
                <a16:creationId xmlns:a16="http://schemas.microsoft.com/office/drawing/2014/main" id="{E2AE9A8C-0D0A-06F5-DF3E-3172E03A0FF5}"/>
              </a:ext>
            </a:extLst>
          </p:cNvPr>
          <p:cNvSpPr>
            <a:spLocks noGrp="1"/>
          </p:cNvSpPr>
          <p:nvPr>
            <p:custDataLst>
              <p:tags r:id="rId94"/>
            </p:custDataLst>
          </p:nvPr>
        </p:nvSpPr>
        <p:spPr bwMode="auto">
          <a:xfrm>
            <a:off x="8901113" y="4300538"/>
            <a:ext cx="9985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b="1" noProof="0" dirty="0">
                <a:latin typeface="+mn-lt"/>
              </a:rPr>
              <a:t>Hannah / Manuel</a:t>
            </a:r>
          </a:p>
        </p:txBody>
      </p:sp>
      <p:sp>
        <p:nvSpPr>
          <p:cNvPr id="101" name="Text Placeholder 2">
            <a:extLst>
              <a:ext uri="{FF2B5EF4-FFF2-40B4-BE49-F238E27FC236}">
                <a16:creationId xmlns:a16="http://schemas.microsoft.com/office/drawing/2014/main" id="{C3C0ACCB-1A28-2549-2856-FEA00D09A413}"/>
              </a:ext>
            </a:extLst>
          </p:cNvPr>
          <p:cNvSpPr>
            <a:spLocks noGrp="1"/>
          </p:cNvSpPr>
          <p:nvPr>
            <p:custDataLst>
              <p:tags r:id="rId95"/>
            </p:custDataLst>
          </p:nvPr>
        </p:nvSpPr>
        <p:spPr bwMode="auto">
          <a:xfrm>
            <a:off x="10550525" y="4300538"/>
            <a:ext cx="728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>
                <a:latin typeface="+mn-lt"/>
              </a:rPr>
              <a:t>Lynn / Hugo</a:t>
            </a:r>
            <a:endParaRPr lang="en-US" sz="1000" b="1" noProof="0" dirty="0">
              <a:latin typeface="+mn-lt"/>
            </a:endParaRPr>
          </a:p>
        </p:txBody>
      </p:sp>
      <p:sp>
        <p:nvSpPr>
          <p:cNvPr id="102" name="Text Placeholder 2">
            <a:extLst>
              <a:ext uri="{FF2B5EF4-FFF2-40B4-BE49-F238E27FC236}">
                <a16:creationId xmlns:a16="http://schemas.microsoft.com/office/drawing/2014/main" id="{B22F0016-CAA6-6186-0700-04D2EE32A43E}"/>
              </a:ext>
            </a:extLst>
          </p:cNvPr>
          <p:cNvSpPr>
            <a:spLocks noGrp="1"/>
          </p:cNvSpPr>
          <p:nvPr>
            <p:custDataLst>
              <p:tags r:id="rId96"/>
            </p:custDataLst>
          </p:nvPr>
        </p:nvSpPr>
        <p:spPr bwMode="auto">
          <a:xfrm>
            <a:off x="10550525" y="4098925"/>
            <a:ext cx="6873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>
                <a:latin typeface="+mn-lt"/>
              </a:rPr>
              <a:t>COE / Hugo</a:t>
            </a:r>
            <a:endParaRPr lang="en-US" sz="1000" b="1" noProof="0" dirty="0">
              <a:latin typeface="+mn-lt"/>
            </a:endParaRPr>
          </a:p>
        </p:txBody>
      </p:sp>
      <p:sp>
        <p:nvSpPr>
          <p:cNvPr id="103" name="Text Placeholder 2">
            <a:extLst>
              <a:ext uri="{FF2B5EF4-FFF2-40B4-BE49-F238E27FC236}">
                <a16:creationId xmlns:a16="http://schemas.microsoft.com/office/drawing/2014/main" id="{ECD0390B-0A6B-53DD-7F28-C562AA318772}"/>
              </a:ext>
            </a:extLst>
          </p:cNvPr>
          <p:cNvSpPr>
            <a:spLocks noGrp="1"/>
          </p:cNvSpPr>
          <p:nvPr>
            <p:custDataLst>
              <p:tags r:id="rId97"/>
            </p:custDataLst>
          </p:nvPr>
        </p:nvSpPr>
        <p:spPr bwMode="auto">
          <a:xfrm>
            <a:off x="688975" y="4483100"/>
            <a:ext cx="14509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56437" lvl="1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b="1" noProof="0" dirty="0">
                <a:latin typeface="+mn-lt"/>
              </a:rPr>
              <a:t>Pre-Set Prediction</a:t>
            </a:r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7699CD20-CAC9-C888-DEF1-3F865873CCBA}"/>
              </a:ext>
            </a:extLst>
          </p:cNvPr>
          <p:cNvSpPr>
            <a:spLocks noGrp="1"/>
          </p:cNvSpPr>
          <p:nvPr>
            <p:custDataLst>
              <p:tags r:id="rId98"/>
            </p:custDataLst>
          </p:nvPr>
        </p:nvSpPr>
        <p:spPr bwMode="auto">
          <a:xfrm>
            <a:off x="8901113" y="4483100"/>
            <a:ext cx="9985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b="1" noProof="0" dirty="0">
                <a:latin typeface="+mn-lt"/>
              </a:rPr>
              <a:t>Hannah / Manuel</a:t>
            </a:r>
          </a:p>
        </p:txBody>
      </p:sp>
      <p:sp>
        <p:nvSpPr>
          <p:cNvPr id="105" name="Text Placeholder 2">
            <a:extLst>
              <a:ext uri="{FF2B5EF4-FFF2-40B4-BE49-F238E27FC236}">
                <a16:creationId xmlns:a16="http://schemas.microsoft.com/office/drawing/2014/main" id="{9869025A-5A8F-D0E0-6BAB-3975AC55BE68}"/>
              </a:ext>
            </a:extLst>
          </p:cNvPr>
          <p:cNvSpPr>
            <a:spLocks noGrp="1"/>
          </p:cNvSpPr>
          <p:nvPr>
            <p:custDataLst>
              <p:tags r:id="rId99"/>
            </p:custDataLst>
          </p:nvPr>
        </p:nvSpPr>
        <p:spPr bwMode="auto">
          <a:xfrm>
            <a:off x="10550525" y="4483100"/>
            <a:ext cx="728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b="1" noProof="0" dirty="0">
                <a:latin typeface="+mn-lt"/>
              </a:rPr>
              <a:t>Lynn / Hugo</a:t>
            </a:r>
          </a:p>
        </p:txBody>
      </p:sp>
      <p:sp>
        <p:nvSpPr>
          <p:cNvPr id="106" name="Text Placeholder 2">
            <a:extLst>
              <a:ext uri="{FF2B5EF4-FFF2-40B4-BE49-F238E27FC236}">
                <a16:creationId xmlns:a16="http://schemas.microsoft.com/office/drawing/2014/main" id="{ECD1211F-BB88-8E47-D3CC-23254E5B6E25}"/>
              </a:ext>
            </a:extLst>
          </p:cNvPr>
          <p:cNvSpPr>
            <a:spLocks noGrp="1"/>
          </p:cNvSpPr>
          <p:nvPr>
            <p:custDataLst>
              <p:tags r:id="rId100"/>
            </p:custDataLst>
          </p:nvPr>
        </p:nvSpPr>
        <p:spPr bwMode="auto">
          <a:xfrm>
            <a:off x="688975" y="4635500"/>
            <a:ext cx="17573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56437" lvl="1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b="1" noProof="0" dirty="0">
                <a:latin typeface="+mn-lt"/>
              </a:rPr>
              <a:t>Optimization Prediction</a:t>
            </a:r>
          </a:p>
        </p:txBody>
      </p:sp>
      <p:sp>
        <p:nvSpPr>
          <p:cNvPr id="107" name="Text Placeholder 2">
            <a:extLst>
              <a:ext uri="{FF2B5EF4-FFF2-40B4-BE49-F238E27FC236}">
                <a16:creationId xmlns:a16="http://schemas.microsoft.com/office/drawing/2014/main" id="{ADEFE1E7-107A-A5FE-ABE1-7EFA17766BCD}"/>
              </a:ext>
            </a:extLst>
          </p:cNvPr>
          <p:cNvSpPr>
            <a:spLocks noGrp="1"/>
          </p:cNvSpPr>
          <p:nvPr>
            <p:custDataLst>
              <p:tags r:id="rId101"/>
            </p:custDataLst>
          </p:nvPr>
        </p:nvSpPr>
        <p:spPr bwMode="auto">
          <a:xfrm>
            <a:off x="8901113" y="4635500"/>
            <a:ext cx="9985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b="1" noProof="0" dirty="0">
                <a:latin typeface="+mn-lt"/>
              </a:rPr>
              <a:t>Hannah / Manuel</a:t>
            </a:r>
          </a:p>
        </p:txBody>
      </p:sp>
      <p:sp>
        <p:nvSpPr>
          <p:cNvPr id="108" name="Text Placeholder 2">
            <a:extLst>
              <a:ext uri="{FF2B5EF4-FFF2-40B4-BE49-F238E27FC236}">
                <a16:creationId xmlns:a16="http://schemas.microsoft.com/office/drawing/2014/main" id="{642D226D-85A1-FC24-8188-97DD1F2B4885}"/>
              </a:ext>
            </a:extLst>
          </p:cNvPr>
          <p:cNvSpPr>
            <a:spLocks noGrp="1"/>
          </p:cNvSpPr>
          <p:nvPr>
            <p:custDataLst>
              <p:tags r:id="rId102"/>
            </p:custDataLst>
          </p:nvPr>
        </p:nvSpPr>
        <p:spPr bwMode="auto">
          <a:xfrm>
            <a:off x="10550525" y="4635500"/>
            <a:ext cx="800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>
                <a:latin typeface="+mn-lt"/>
              </a:rPr>
              <a:t>Lynn / Junior</a:t>
            </a:r>
            <a:endParaRPr lang="en-US" sz="1000" b="1" noProof="0" dirty="0">
              <a:latin typeface="+mn-lt"/>
            </a:endParaRPr>
          </a:p>
        </p:txBody>
      </p:sp>
      <p:sp>
        <p:nvSpPr>
          <p:cNvPr id="109" name="Text Placeholder 2">
            <a:extLst>
              <a:ext uri="{FF2B5EF4-FFF2-40B4-BE49-F238E27FC236}">
                <a16:creationId xmlns:a16="http://schemas.microsoft.com/office/drawing/2014/main" id="{53F8D906-CBCE-4BA3-81AF-C4FE5DB8ED13}"/>
              </a:ext>
            </a:extLst>
          </p:cNvPr>
          <p:cNvSpPr>
            <a:spLocks noGrp="1"/>
          </p:cNvSpPr>
          <p:nvPr>
            <p:custDataLst>
              <p:tags r:id="rId103"/>
            </p:custDataLst>
          </p:nvPr>
        </p:nvSpPr>
        <p:spPr bwMode="auto">
          <a:xfrm>
            <a:off x="688975" y="4806950"/>
            <a:ext cx="10731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b="1" noProof="0" dirty="0">
                <a:latin typeface="+mn-lt"/>
              </a:rPr>
              <a:t>SAP Connector</a:t>
            </a:r>
          </a:p>
        </p:txBody>
      </p:sp>
      <p:sp>
        <p:nvSpPr>
          <p:cNvPr id="110" name="Text Placeholder 2">
            <a:extLst>
              <a:ext uri="{FF2B5EF4-FFF2-40B4-BE49-F238E27FC236}">
                <a16:creationId xmlns:a16="http://schemas.microsoft.com/office/drawing/2014/main" id="{686B6423-645D-E3E2-1A5C-8B4CC4D9C3FE}"/>
              </a:ext>
            </a:extLst>
          </p:cNvPr>
          <p:cNvSpPr>
            <a:spLocks noGrp="1"/>
          </p:cNvSpPr>
          <p:nvPr>
            <p:custDataLst>
              <p:tags r:id="rId104"/>
            </p:custDataLst>
          </p:nvPr>
        </p:nvSpPr>
        <p:spPr bwMode="auto">
          <a:xfrm>
            <a:off x="8901113" y="4806950"/>
            <a:ext cx="4222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b="1" noProof="0" dirty="0">
                <a:latin typeface="+mn-lt"/>
              </a:rPr>
              <a:t>Manuel</a:t>
            </a:r>
          </a:p>
        </p:txBody>
      </p:sp>
      <p:sp>
        <p:nvSpPr>
          <p:cNvPr id="111" name="Text Placeholder 2">
            <a:extLst>
              <a:ext uri="{FF2B5EF4-FFF2-40B4-BE49-F238E27FC236}">
                <a16:creationId xmlns:a16="http://schemas.microsoft.com/office/drawing/2014/main" id="{221BE4A3-A605-6B49-F56D-C2D74E9432C4}"/>
              </a:ext>
            </a:extLst>
          </p:cNvPr>
          <p:cNvSpPr>
            <a:spLocks noGrp="1"/>
          </p:cNvSpPr>
          <p:nvPr>
            <p:custDataLst>
              <p:tags r:id="rId105"/>
            </p:custDataLst>
          </p:nvPr>
        </p:nvSpPr>
        <p:spPr bwMode="auto">
          <a:xfrm>
            <a:off x="10550525" y="4806950"/>
            <a:ext cx="3254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>
                <a:latin typeface="+mn-lt"/>
              </a:rPr>
              <a:t>Denis</a:t>
            </a:r>
            <a:endParaRPr lang="en-US" sz="1000" b="1" noProof="0" dirty="0">
              <a:latin typeface="+mn-lt"/>
            </a:endParaRPr>
          </a:p>
        </p:txBody>
      </p:sp>
      <p:sp>
        <p:nvSpPr>
          <p:cNvPr id="112" name="Text Placeholder 2">
            <a:extLst>
              <a:ext uri="{FF2B5EF4-FFF2-40B4-BE49-F238E27FC236}">
                <a16:creationId xmlns:a16="http://schemas.microsoft.com/office/drawing/2014/main" id="{C2B62E91-6C1A-3404-3179-86C9C0D8F0B5}"/>
              </a:ext>
            </a:extLst>
          </p:cNvPr>
          <p:cNvSpPr>
            <a:spLocks noGrp="1"/>
          </p:cNvSpPr>
          <p:nvPr>
            <p:custDataLst>
              <p:tags r:id="rId106"/>
            </p:custDataLst>
          </p:nvPr>
        </p:nvSpPr>
        <p:spPr bwMode="auto">
          <a:xfrm>
            <a:off x="8901113" y="4098925"/>
            <a:ext cx="4492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b="1" noProof="0" dirty="0">
                <a:latin typeface="+mn-lt"/>
              </a:rPr>
              <a:t>Hannah</a:t>
            </a:r>
          </a:p>
        </p:txBody>
      </p:sp>
      <p:sp>
        <p:nvSpPr>
          <p:cNvPr id="113" name="Text Placeholder 2">
            <a:extLst>
              <a:ext uri="{FF2B5EF4-FFF2-40B4-BE49-F238E27FC236}">
                <a16:creationId xmlns:a16="http://schemas.microsoft.com/office/drawing/2014/main" id="{51DBE763-EBF1-0B08-FBBF-6D2821FCE70A}"/>
              </a:ext>
            </a:extLst>
          </p:cNvPr>
          <p:cNvSpPr>
            <a:spLocks noGrp="1"/>
          </p:cNvSpPr>
          <p:nvPr>
            <p:custDataLst>
              <p:tags r:id="rId107"/>
            </p:custDataLst>
          </p:nvPr>
        </p:nvSpPr>
        <p:spPr bwMode="auto">
          <a:xfrm>
            <a:off x="8901113" y="5008563"/>
            <a:ext cx="4222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b="1" dirty="0">
                <a:latin typeface="+mn-lt"/>
              </a:rPr>
              <a:t>Manuel</a:t>
            </a:r>
            <a:endParaRPr lang="en-US" sz="1000" b="1" noProof="0" dirty="0">
              <a:latin typeface="+mn-lt"/>
            </a:endParaRPr>
          </a:p>
        </p:txBody>
      </p:sp>
      <p:sp>
        <p:nvSpPr>
          <p:cNvPr id="114" name="Text Placeholder 2">
            <a:extLst>
              <a:ext uri="{FF2B5EF4-FFF2-40B4-BE49-F238E27FC236}">
                <a16:creationId xmlns:a16="http://schemas.microsoft.com/office/drawing/2014/main" id="{1EA237F1-1C12-2201-CF96-459CBBED0FDF}"/>
              </a:ext>
            </a:extLst>
          </p:cNvPr>
          <p:cNvSpPr>
            <a:spLocks noGrp="1"/>
          </p:cNvSpPr>
          <p:nvPr>
            <p:custDataLst>
              <p:tags r:id="rId108"/>
            </p:custDataLst>
          </p:nvPr>
        </p:nvSpPr>
        <p:spPr bwMode="auto">
          <a:xfrm>
            <a:off x="10550525" y="5008563"/>
            <a:ext cx="800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>
                <a:latin typeface="+mn-lt"/>
              </a:rPr>
              <a:t>Lynn / Junior</a:t>
            </a:r>
            <a:endParaRPr lang="en-US" sz="1000" b="1" noProof="0" dirty="0">
              <a:latin typeface="+mn-lt"/>
            </a:endParaRPr>
          </a:p>
        </p:txBody>
      </p:sp>
      <p:sp>
        <p:nvSpPr>
          <p:cNvPr id="115" name="Text Placeholder 2">
            <a:extLst>
              <a:ext uri="{FF2B5EF4-FFF2-40B4-BE49-F238E27FC236}">
                <a16:creationId xmlns:a16="http://schemas.microsoft.com/office/drawing/2014/main" id="{8438ABF2-EC28-7C8C-BAD6-BC12AD765F97}"/>
              </a:ext>
            </a:extLst>
          </p:cNvPr>
          <p:cNvSpPr>
            <a:spLocks noGrp="1"/>
          </p:cNvSpPr>
          <p:nvPr>
            <p:custDataLst>
              <p:tags r:id="rId109"/>
            </p:custDataLst>
          </p:nvPr>
        </p:nvSpPr>
        <p:spPr bwMode="auto">
          <a:xfrm>
            <a:off x="688975" y="4098925"/>
            <a:ext cx="24701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b="1" noProof="0" dirty="0">
                <a:latin typeface="+mn-lt"/>
              </a:rPr>
              <a:t>Master Data Enrichment (line item)</a:t>
            </a:r>
          </a:p>
        </p:txBody>
      </p:sp>
      <p:sp>
        <p:nvSpPr>
          <p:cNvPr id="116" name="Text Placeholder 2">
            <a:extLst>
              <a:ext uri="{FF2B5EF4-FFF2-40B4-BE49-F238E27FC236}">
                <a16:creationId xmlns:a16="http://schemas.microsoft.com/office/drawing/2014/main" id="{548CD2C4-10C2-1408-D69B-6223B99B69F9}"/>
              </a:ext>
            </a:extLst>
          </p:cNvPr>
          <p:cNvSpPr>
            <a:spLocks noGrp="1"/>
          </p:cNvSpPr>
          <p:nvPr>
            <p:custDataLst>
              <p:tags r:id="rId110"/>
            </p:custDataLst>
          </p:nvPr>
        </p:nvSpPr>
        <p:spPr bwMode="auto">
          <a:xfrm>
            <a:off x="688975" y="5191125"/>
            <a:ext cx="10382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56437" lvl="1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b="1" noProof="0" dirty="0">
                <a:latin typeface="+mn-lt"/>
              </a:rPr>
              <a:t>Test Cases </a:t>
            </a:r>
          </a:p>
        </p:txBody>
      </p:sp>
      <p:sp>
        <p:nvSpPr>
          <p:cNvPr id="117" name="Text Placeholder 2">
            <a:extLst>
              <a:ext uri="{FF2B5EF4-FFF2-40B4-BE49-F238E27FC236}">
                <a16:creationId xmlns:a16="http://schemas.microsoft.com/office/drawing/2014/main" id="{045A5DC6-7CFA-A8E2-5166-091758F7A18E}"/>
              </a:ext>
            </a:extLst>
          </p:cNvPr>
          <p:cNvSpPr>
            <a:spLocks noGrp="1"/>
          </p:cNvSpPr>
          <p:nvPr>
            <p:custDataLst>
              <p:tags r:id="rId111"/>
            </p:custDataLst>
          </p:nvPr>
        </p:nvSpPr>
        <p:spPr bwMode="auto">
          <a:xfrm>
            <a:off x="8901113" y="5191125"/>
            <a:ext cx="4222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b="1" noProof="0" dirty="0">
                <a:latin typeface="+mn-lt"/>
              </a:rPr>
              <a:t>Manuel</a:t>
            </a:r>
          </a:p>
        </p:txBody>
      </p:sp>
      <p:sp>
        <p:nvSpPr>
          <p:cNvPr id="118" name="Text Placeholder 2">
            <a:extLst>
              <a:ext uri="{FF2B5EF4-FFF2-40B4-BE49-F238E27FC236}">
                <a16:creationId xmlns:a16="http://schemas.microsoft.com/office/drawing/2014/main" id="{64B8D4FD-B093-A812-4F86-B79C8DA1A5F4}"/>
              </a:ext>
            </a:extLst>
          </p:cNvPr>
          <p:cNvSpPr>
            <a:spLocks noGrp="1"/>
          </p:cNvSpPr>
          <p:nvPr>
            <p:custDataLst>
              <p:tags r:id="rId112"/>
            </p:custDataLst>
          </p:nvPr>
        </p:nvSpPr>
        <p:spPr bwMode="auto">
          <a:xfrm>
            <a:off x="10550525" y="5191125"/>
            <a:ext cx="800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>
                <a:latin typeface="+mn-lt"/>
              </a:rPr>
              <a:t>Lynn / Junior</a:t>
            </a:r>
            <a:endParaRPr lang="en-US" sz="1000" b="1" noProof="0" dirty="0">
              <a:latin typeface="+mn-lt"/>
            </a:endParaRPr>
          </a:p>
        </p:txBody>
      </p:sp>
      <p:sp>
        <p:nvSpPr>
          <p:cNvPr id="119" name="Text Placeholder 2">
            <a:extLst>
              <a:ext uri="{FF2B5EF4-FFF2-40B4-BE49-F238E27FC236}">
                <a16:creationId xmlns:a16="http://schemas.microsoft.com/office/drawing/2014/main" id="{A8BB370B-6149-69F2-C7D1-DC852AD4D486}"/>
              </a:ext>
            </a:extLst>
          </p:cNvPr>
          <p:cNvSpPr>
            <a:spLocks noGrp="1"/>
          </p:cNvSpPr>
          <p:nvPr>
            <p:custDataLst>
              <p:tags r:id="rId113"/>
            </p:custDataLst>
          </p:nvPr>
        </p:nvSpPr>
        <p:spPr bwMode="auto">
          <a:xfrm>
            <a:off x="688975" y="5343525"/>
            <a:ext cx="1238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56437" lvl="1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b="1" noProof="0" dirty="0">
                <a:latin typeface="+mn-lt"/>
              </a:rPr>
              <a:t>Test Execution</a:t>
            </a:r>
          </a:p>
        </p:txBody>
      </p:sp>
      <p:sp>
        <p:nvSpPr>
          <p:cNvPr id="120" name="Text Placeholder 2">
            <a:extLst>
              <a:ext uri="{FF2B5EF4-FFF2-40B4-BE49-F238E27FC236}">
                <a16:creationId xmlns:a16="http://schemas.microsoft.com/office/drawing/2014/main" id="{89D86B93-F5D4-AF08-F6C9-82C950936C10}"/>
              </a:ext>
            </a:extLst>
          </p:cNvPr>
          <p:cNvSpPr>
            <a:spLocks noGrp="1"/>
          </p:cNvSpPr>
          <p:nvPr>
            <p:custDataLst>
              <p:tags r:id="rId114"/>
            </p:custDataLst>
          </p:nvPr>
        </p:nvSpPr>
        <p:spPr bwMode="auto">
          <a:xfrm>
            <a:off x="8901113" y="5343525"/>
            <a:ext cx="4222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b="1" noProof="0" dirty="0">
                <a:latin typeface="+mn-lt"/>
              </a:rPr>
              <a:t>Manuel</a:t>
            </a:r>
          </a:p>
        </p:txBody>
      </p:sp>
      <p:sp>
        <p:nvSpPr>
          <p:cNvPr id="121" name="Text Placeholder 2">
            <a:extLst>
              <a:ext uri="{FF2B5EF4-FFF2-40B4-BE49-F238E27FC236}">
                <a16:creationId xmlns:a16="http://schemas.microsoft.com/office/drawing/2014/main" id="{39A47121-6771-4259-315B-4DCECBEBD239}"/>
              </a:ext>
            </a:extLst>
          </p:cNvPr>
          <p:cNvSpPr>
            <a:spLocks noGrp="1"/>
          </p:cNvSpPr>
          <p:nvPr>
            <p:custDataLst>
              <p:tags r:id="rId115"/>
            </p:custDataLst>
          </p:nvPr>
        </p:nvSpPr>
        <p:spPr bwMode="auto">
          <a:xfrm>
            <a:off x="10550525" y="5343525"/>
            <a:ext cx="800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>
                <a:latin typeface="+mn-lt"/>
              </a:rPr>
              <a:t>Lynn / Junior</a:t>
            </a:r>
            <a:endParaRPr lang="en-US" sz="1000" b="1" noProof="0" dirty="0">
              <a:latin typeface="+mn-lt"/>
            </a:endParaRPr>
          </a:p>
        </p:txBody>
      </p:sp>
      <p:sp>
        <p:nvSpPr>
          <p:cNvPr id="122" name="Text Placeholder 2">
            <a:extLst>
              <a:ext uri="{FF2B5EF4-FFF2-40B4-BE49-F238E27FC236}">
                <a16:creationId xmlns:a16="http://schemas.microsoft.com/office/drawing/2014/main" id="{BB12492D-F6E6-6D78-0972-BB58539D11CE}"/>
              </a:ext>
            </a:extLst>
          </p:cNvPr>
          <p:cNvSpPr>
            <a:spLocks noGrp="1"/>
          </p:cNvSpPr>
          <p:nvPr>
            <p:custDataLst>
              <p:tags r:id="rId116"/>
            </p:custDataLst>
          </p:nvPr>
        </p:nvSpPr>
        <p:spPr bwMode="auto">
          <a:xfrm>
            <a:off x="688975" y="5008563"/>
            <a:ext cx="549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b="1" noProof="0" dirty="0">
                <a:effectLst/>
                <a:latin typeface="+mn-lt"/>
              </a:rPr>
              <a:t>Testing </a:t>
            </a:r>
            <a:endParaRPr lang="en-US" sz="1200" b="1" noProof="0" dirty="0">
              <a:latin typeface="+mn-lt"/>
            </a:endParaRPr>
          </a:p>
        </p:txBody>
      </p:sp>
      <p:sp>
        <p:nvSpPr>
          <p:cNvPr id="123" name="Text Placeholder 2">
            <a:extLst>
              <a:ext uri="{FF2B5EF4-FFF2-40B4-BE49-F238E27FC236}">
                <a16:creationId xmlns:a16="http://schemas.microsoft.com/office/drawing/2014/main" id="{171F9F37-EB49-7700-F7E7-99ECB27D10E9}"/>
              </a:ext>
            </a:extLst>
          </p:cNvPr>
          <p:cNvSpPr>
            <a:spLocks noGrp="1"/>
          </p:cNvSpPr>
          <p:nvPr>
            <p:custDataLst>
              <p:tags r:id="rId117"/>
            </p:custDataLst>
          </p:nvPr>
        </p:nvSpPr>
        <p:spPr bwMode="auto">
          <a:xfrm>
            <a:off x="688975" y="5514975"/>
            <a:ext cx="16510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b="1" noProof="0" dirty="0">
                <a:latin typeface="+mn-lt"/>
              </a:rPr>
              <a:t>Reporting &amp; Monitoring</a:t>
            </a:r>
          </a:p>
        </p:txBody>
      </p:sp>
      <p:sp>
        <p:nvSpPr>
          <p:cNvPr id="124" name="Text Placeholder 2">
            <a:extLst>
              <a:ext uri="{FF2B5EF4-FFF2-40B4-BE49-F238E27FC236}">
                <a16:creationId xmlns:a16="http://schemas.microsoft.com/office/drawing/2014/main" id="{2384F042-6B85-32FC-973C-285874A87021}"/>
              </a:ext>
            </a:extLst>
          </p:cNvPr>
          <p:cNvSpPr>
            <a:spLocks noGrp="1"/>
          </p:cNvSpPr>
          <p:nvPr>
            <p:custDataLst>
              <p:tags r:id="rId118"/>
            </p:custDataLst>
          </p:nvPr>
        </p:nvSpPr>
        <p:spPr bwMode="auto">
          <a:xfrm>
            <a:off x="8901113" y="5514975"/>
            <a:ext cx="220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b="1" noProof="0" dirty="0">
                <a:latin typeface="+mn-lt"/>
              </a:rPr>
              <a:t>Tim</a:t>
            </a:r>
          </a:p>
        </p:txBody>
      </p:sp>
      <p:sp>
        <p:nvSpPr>
          <p:cNvPr id="125" name="Text Placeholder 2">
            <a:extLst>
              <a:ext uri="{FF2B5EF4-FFF2-40B4-BE49-F238E27FC236}">
                <a16:creationId xmlns:a16="http://schemas.microsoft.com/office/drawing/2014/main" id="{FDBBA928-A8EC-ECE1-6F9A-872E3D341080}"/>
              </a:ext>
            </a:extLst>
          </p:cNvPr>
          <p:cNvSpPr>
            <a:spLocks noGrp="1"/>
          </p:cNvSpPr>
          <p:nvPr>
            <p:custDataLst>
              <p:tags r:id="rId119"/>
            </p:custDataLst>
          </p:nvPr>
        </p:nvSpPr>
        <p:spPr bwMode="auto">
          <a:xfrm>
            <a:off x="10550525" y="5514975"/>
            <a:ext cx="9144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>
                <a:latin typeface="+mn-lt"/>
              </a:rPr>
              <a:t>Michael / CSRV</a:t>
            </a:r>
            <a:endParaRPr lang="en-US" sz="1000" b="1" noProof="0" dirty="0">
              <a:latin typeface="+mn-lt"/>
            </a:endParaRPr>
          </a:p>
        </p:txBody>
      </p:sp>
      <p:sp>
        <p:nvSpPr>
          <p:cNvPr id="126" name="Text Placeholder 2">
            <a:extLst>
              <a:ext uri="{FF2B5EF4-FFF2-40B4-BE49-F238E27FC236}">
                <a16:creationId xmlns:a16="http://schemas.microsoft.com/office/drawing/2014/main" id="{B105A30D-CD74-503A-E06C-8CE412D36072}"/>
              </a:ext>
            </a:extLst>
          </p:cNvPr>
          <p:cNvSpPr>
            <a:spLocks noGrp="1"/>
          </p:cNvSpPr>
          <p:nvPr>
            <p:custDataLst>
              <p:tags r:id="rId120"/>
            </p:custDataLst>
          </p:nvPr>
        </p:nvSpPr>
        <p:spPr bwMode="auto">
          <a:xfrm>
            <a:off x="688975" y="1636713"/>
            <a:ext cx="9096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b="1" noProof="0" dirty="0">
                <a:effectLst/>
                <a:latin typeface="+mn-lt"/>
              </a:rPr>
              <a:t>PMO-Service</a:t>
            </a:r>
            <a:endParaRPr lang="en-US" sz="1200" b="1" noProof="0" dirty="0">
              <a:latin typeface="+mn-lt"/>
            </a:endParaRPr>
          </a:p>
        </p:txBody>
      </p:sp>
      <p:sp>
        <p:nvSpPr>
          <p:cNvPr id="127" name="Text Placeholder 2">
            <a:extLst>
              <a:ext uri="{FF2B5EF4-FFF2-40B4-BE49-F238E27FC236}">
                <a16:creationId xmlns:a16="http://schemas.microsoft.com/office/drawing/2014/main" id="{750E7EBA-CF96-AAFD-0412-9F9DA46A6F1B}"/>
              </a:ext>
            </a:extLst>
          </p:cNvPr>
          <p:cNvSpPr>
            <a:spLocks noGrp="1"/>
          </p:cNvSpPr>
          <p:nvPr>
            <p:custDataLst>
              <p:tags r:id="rId121"/>
            </p:custDataLst>
          </p:nvPr>
        </p:nvSpPr>
        <p:spPr bwMode="auto">
          <a:xfrm>
            <a:off x="8901113" y="1636713"/>
            <a:ext cx="4222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>
                <a:latin typeface="+mn-lt"/>
              </a:rPr>
              <a:t>Manuel</a:t>
            </a:r>
            <a:endParaRPr lang="en-US" sz="1000" b="1" noProof="0" dirty="0">
              <a:latin typeface="+mn-lt"/>
            </a:endParaRPr>
          </a:p>
        </p:txBody>
      </p:sp>
      <p:sp>
        <p:nvSpPr>
          <p:cNvPr id="128" name="Text Placeholder 2">
            <a:extLst>
              <a:ext uri="{FF2B5EF4-FFF2-40B4-BE49-F238E27FC236}">
                <a16:creationId xmlns:a16="http://schemas.microsoft.com/office/drawing/2014/main" id="{1AC11F67-3896-7D30-E366-ED75C0D270DB}"/>
              </a:ext>
            </a:extLst>
          </p:cNvPr>
          <p:cNvSpPr>
            <a:spLocks noGrp="1"/>
          </p:cNvSpPr>
          <p:nvPr>
            <p:custDataLst>
              <p:tags r:id="rId122"/>
            </p:custDataLst>
          </p:nvPr>
        </p:nvSpPr>
        <p:spPr bwMode="auto">
          <a:xfrm>
            <a:off x="688975" y="5697538"/>
            <a:ext cx="730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b="1" noProof="0" dirty="0">
                <a:latin typeface="+mn-lt"/>
              </a:rPr>
              <a:t>Hypercare</a:t>
            </a:r>
          </a:p>
        </p:txBody>
      </p:sp>
      <p:sp>
        <p:nvSpPr>
          <p:cNvPr id="129" name="Text Placeholder 2">
            <a:extLst>
              <a:ext uri="{FF2B5EF4-FFF2-40B4-BE49-F238E27FC236}">
                <a16:creationId xmlns:a16="http://schemas.microsoft.com/office/drawing/2014/main" id="{BF6B38BC-B6DC-2D6E-C16D-7B91AF43DE8F}"/>
              </a:ext>
            </a:extLst>
          </p:cNvPr>
          <p:cNvSpPr>
            <a:spLocks noGrp="1"/>
          </p:cNvSpPr>
          <p:nvPr>
            <p:custDataLst>
              <p:tags r:id="rId123"/>
            </p:custDataLst>
          </p:nvPr>
        </p:nvSpPr>
        <p:spPr bwMode="auto">
          <a:xfrm>
            <a:off x="8901113" y="5697538"/>
            <a:ext cx="4222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b="1" dirty="0">
                <a:latin typeface="+mn-lt"/>
              </a:rPr>
              <a:t>Manuel</a:t>
            </a:r>
            <a:endParaRPr lang="en-US" sz="1000" b="1" noProof="0" dirty="0">
              <a:latin typeface="+mn-lt"/>
            </a:endParaRPr>
          </a:p>
        </p:txBody>
      </p:sp>
      <p:sp>
        <p:nvSpPr>
          <p:cNvPr id="130" name="Text Placeholder 2">
            <a:extLst>
              <a:ext uri="{FF2B5EF4-FFF2-40B4-BE49-F238E27FC236}">
                <a16:creationId xmlns:a16="http://schemas.microsoft.com/office/drawing/2014/main" id="{048411F3-75E4-A058-A406-EF5FDD137130}"/>
              </a:ext>
            </a:extLst>
          </p:cNvPr>
          <p:cNvSpPr>
            <a:spLocks noGrp="1"/>
          </p:cNvSpPr>
          <p:nvPr>
            <p:custDataLst>
              <p:tags r:id="rId124"/>
            </p:custDataLst>
          </p:nvPr>
        </p:nvSpPr>
        <p:spPr bwMode="auto">
          <a:xfrm>
            <a:off x="10550525" y="5697538"/>
            <a:ext cx="800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>
                <a:latin typeface="+mn-lt"/>
              </a:rPr>
              <a:t>Lynn / Junior</a:t>
            </a:r>
            <a:endParaRPr lang="en-US" sz="1000" b="1" noProof="0" dirty="0">
              <a:latin typeface="+mn-lt"/>
            </a:endParaRPr>
          </a:p>
        </p:txBody>
      </p:sp>
      <p:sp>
        <p:nvSpPr>
          <p:cNvPr id="131" name="Text Placeholder 2">
            <a:extLst>
              <a:ext uri="{FF2B5EF4-FFF2-40B4-BE49-F238E27FC236}">
                <a16:creationId xmlns:a16="http://schemas.microsoft.com/office/drawing/2014/main" id="{B1C94EA7-E674-CEF9-4CAE-A1F38BBECE49}"/>
              </a:ext>
            </a:extLst>
          </p:cNvPr>
          <p:cNvSpPr>
            <a:spLocks noGrp="1"/>
          </p:cNvSpPr>
          <p:nvPr>
            <p:custDataLst>
              <p:tags r:id="rId125"/>
            </p:custDataLst>
          </p:nvPr>
        </p:nvSpPr>
        <p:spPr bwMode="auto">
          <a:xfrm>
            <a:off x="10550525" y="1636713"/>
            <a:ext cx="8413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b="1" noProof="0" dirty="0">
                <a:latin typeface="+mn-lt"/>
              </a:rPr>
              <a:t>Sefa / Michael</a:t>
            </a:r>
          </a:p>
        </p:txBody>
      </p:sp>
      <p:sp>
        <p:nvSpPr>
          <p:cNvPr id="132" name="Text Placeholder 2">
            <a:extLst>
              <a:ext uri="{FF2B5EF4-FFF2-40B4-BE49-F238E27FC236}">
                <a16:creationId xmlns:a16="http://schemas.microsoft.com/office/drawing/2014/main" id="{0CE0B142-1DB1-38C6-094B-B62F56705DD1}"/>
              </a:ext>
            </a:extLst>
          </p:cNvPr>
          <p:cNvSpPr>
            <a:spLocks noGrp="1"/>
          </p:cNvSpPr>
          <p:nvPr>
            <p:custDataLst>
              <p:tags r:id="rId126"/>
            </p:custDataLst>
          </p:nvPr>
        </p:nvSpPr>
        <p:spPr bwMode="auto">
          <a:xfrm>
            <a:off x="688975" y="1819275"/>
            <a:ext cx="12858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b="1" noProof="0" dirty="0">
                <a:effectLst/>
                <a:latin typeface="+mn-lt"/>
              </a:rPr>
              <a:t>Design Workshops</a:t>
            </a:r>
            <a:endParaRPr lang="en-US" sz="1200" b="1" noProof="0" dirty="0">
              <a:latin typeface="+mn-lt"/>
            </a:endParaRPr>
          </a:p>
        </p:txBody>
      </p:sp>
      <p:sp>
        <p:nvSpPr>
          <p:cNvPr id="133" name="Text Placeholder 2">
            <a:extLst>
              <a:ext uri="{FF2B5EF4-FFF2-40B4-BE49-F238E27FC236}">
                <a16:creationId xmlns:a16="http://schemas.microsoft.com/office/drawing/2014/main" id="{0420FB06-5158-05E6-12EB-36E65E2DBC33}"/>
              </a:ext>
            </a:extLst>
          </p:cNvPr>
          <p:cNvSpPr>
            <a:spLocks noGrp="1"/>
          </p:cNvSpPr>
          <p:nvPr>
            <p:custDataLst>
              <p:tags r:id="rId127"/>
            </p:custDataLst>
          </p:nvPr>
        </p:nvSpPr>
        <p:spPr bwMode="auto">
          <a:xfrm>
            <a:off x="10550525" y="3916363"/>
            <a:ext cx="6873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>
                <a:latin typeface="+mn-lt"/>
              </a:rPr>
              <a:t>COE / Hugo</a:t>
            </a:r>
            <a:endParaRPr lang="en-US" sz="1000" b="1" noProof="0" dirty="0">
              <a:latin typeface="+mn-lt"/>
            </a:endParaRPr>
          </a:p>
        </p:txBody>
      </p:sp>
      <p:sp>
        <p:nvSpPr>
          <p:cNvPr id="134" name="Text Placeholder 2">
            <a:extLst>
              <a:ext uri="{FF2B5EF4-FFF2-40B4-BE49-F238E27FC236}">
                <a16:creationId xmlns:a16="http://schemas.microsoft.com/office/drawing/2014/main" id="{6BC96188-6B8B-4656-D86D-6C3A6BC8E7CF}"/>
              </a:ext>
            </a:extLst>
          </p:cNvPr>
          <p:cNvSpPr>
            <a:spLocks noGrp="1"/>
          </p:cNvSpPr>
          <p:nvPr>
            <p:custDataLst>
              <p:tags r:id="rId128"/>
            </p:custDataLst>
          </p:nvPr>
        </p:nvSpPr>
        <p:spPr bwMode="auto">
          <a:xfrm>
            <a:off x="688975" y="5880100"/>
            <a:ext cx="5603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b="1" noProof="0" dirty="0">
                <a:effectLst/>
                <a:latin typeface="+mn-lt"/>
              </a:rPr>
              <a:t>Training</a:t>
            </a:r>
            <a:endParaRPr lang="en-US" sz="1200" b="1" noProof="0" dirty="0">
              <a:latin typeface="+mn-lt"/>
            </a:endParaRPr>
          </a:p>
        </p:txBody>
      </p:sp>
      <p:sp>
        <p:nvSpPr>
          <p:cNvPr id="135" name="Text Placeholder 2">
            <a:extLst>
              <a:ext uri="{FF2B5EF4-FFF2-40B4-BE49-F238E27FC236}">
                <a16:creationId xmlns:a16="http://schemas.microsoft.com/office/drawing/2014/main" id="{941874E9-B596-0CE5-3843-65679F1CB8C5}"/>
              </a:ext>
            </a:extLst>
          </p:cNvPr>
          <p:cNvSpPr>
            <a:spLocks noGrp="1"/>
          </p:cNvSpPr>
          <p:nvPr>
            <p:custDataLst>
              <p:tags r:id="rId129"/>
            </p:custDataLst>
          </p:nvPr>
        </p:nvSpPr>
        <p:spPr bwMode="auto">
          <a:xfrm>
            <a:off x="8901113" y="5880100"/>
            <a:ext cx="5365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b="1" noProof="0" dirty="0">
                <a:latin typeface="+mn-lt"/>
              </a:rPr>
              <a:t>Antonina</a:t>
            </a:r>
          </a:p>
        </p:txBody>
      </p:sp>
      <p:sp>
        <p:nvSpPr>
          <p:cNvPr id="136" name="Text Placeholder 2">
            <a:extLst>
              <a:ext uri="{FF2B5EF4-FFF2-40B4-BE49-F238E27FC236}">
                <a16:creationId xmlns:a16="http://schemas.microsoft.com/office/drawing/2014/main" id="{49EFB313-2D6E-C858-9410-B1B65E82A685}"/>
              </a:ext>
            </a:extLst>
          </p:cNvPr>
          <p:cNvSpPr>
            <a:spLocks noGrp="1"/>
          </p:cNvSpPr>
          <p:nvPr>
            <p:custDataLst>
              <p:tags r:id="rId130"/>
            </p:custDataLst>
          </p:nvPr>
        </p:nvSpPr>
        <p:spPr bwMode="auto">
          <a:xfrm>
            <a:off x="10550525" y="5880100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>
                <a:latin typeface="+mn-lt"/>
              </a:rPr>
              <a:t>Lynn</a:t>
            </a:r>
            <a:endParaRPr lang="en-US" sz="1000" b="1" noProof="0" dirty="0">
              <a:latin typeface="+mn-lt"/>
            </a:endParaRPr>
          </a:p>
        </p:txBody>
      </p:sp>
      <p:sp>
        <p:nvSpPr>
          <p:cNvPr id="137" name="Text Placeholder 2">
            <a:extLst>
              <a:ext uri="{FF2B5EF4-FFF2-40B4-BE49-F238E27FC236}">
                <a16:creationId xmlns:a16="http://schemas.microsoft.com/office/drawing/2014/main" id="{DA5B9799-7641-3862-61C8-D523C011996E}"/>
              </a:ext>
            </a:extLst>
          </p:cNvPr>
          <p:cNvSpPr>
            <a:spLocks noGrp="1"/>
          </p:cNvSpPr>
          <p:nvPr>
            <p:custDataLst>
              <p:tags r:id="rId131"/>
            </p:custDataLst>
          </p:nvPr>
        </p:nvSpPr>
        <p:spPr bwMode="auto">
          <a:xfrm>
            <a:off x="688975" y="1395413"/>
            <a:ext cx="10080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b="1" noProof="0" dirty="0">
                <a:effectLst/>
                <a:latin typeface="+mn-lt"/>
              </a:rPr>
              <a:t>Deliverables</a:t>
            </a:r>
            <a:endParaRPr lang="en-US" sz="1400" b="1" noProof="0" dirty="0">
              <a:latin typeface="+mn-lt"/>
            </a:endParaRPr>
          </a:p>
        </p:txBody>
      </p:sp>
      <p:sp>
        <p:nvSpPr>
          <p:cNvPr id="138" name="Text Placeholder 2">
            <a:extLst>
              <a:ext uri="{FF2B5EF4-FFF2-40B4-BE49-F238E27FC236}">
                <a16:creationId xmlns:a16="http://schemas.microsoft.com/office/drawing/2014/main" id="{6950112A-05EF-7A1A-E106-E7C792DD77D6}"/>
              </a:ext>
            </a:extLst>
          </p:cNvPr>
          <p:cNvSpPr>
            <a:spLocks noGrp="1"/>
          </p:cNvSpPr>
          <p:nvPr>
            <p:custDataLst>
              <p:tags r:id="rId132"/>
            </p:custDataLst>
          </p:nvPr>
        </p:nvSpPr>
        <p:spPr bwMode="auto">
          <a:xfrm>
            <a:off x="8901113" y="1395413"/>
            <a:ext cx="8223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b="1" noProof="0" dirty="0">
                <a:effectLst/>
                <a:latin typeface="+mn-lt"/>
              </a:rPr>
              <a:t>KAR Lead</a:t>
            </a:r>
            <a:endParaRPr lang="en-US" sz="1400" b="1" noProof="0" dirty="0">
              <a:latin typeface="+mn-lt"/>
            </a:endParaRPr>
          </a:p>
        </p:txBody>
      </p:sp>
      <p:sp>
        <p:nvSpPr>
          <p:cNvPr id="139" name="Text Placeholder 2">
            <a:extLst>
              <a:ext uri="{FF2B5EF4-FFF2-40B4-BE49-F238E27FC236}">
                <a16:creationId xmlns:a16="http://schemas.microsoft.com/office/drawing/2014/main" id="{FE582CAE-0AD1-9C23-6BD4-DC59BD17124D}"/>
              </a:ext>
            </a:extLst>
          </p:cNvPr>
          <p:cNvSpPr>
            <a:spLocks noGrp="1"/>
          </p:cNvSpPr>
          <p:nvPr>
            <p:custDataLst>
              <p:tags r:id="rId133"/>
            </p:custDataLst>
          </p:nvPr>
        </p:nvSpPr>
        <p:spPr bwMode="auto">
          <a:xfrm>
            <a:off x="10550525" y="1395413"/>
            <a:ext cx="1100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b="1" dirty="0">
                <a:latin typeface="+mn-lt"/>
              </a:rPr>
              <a:t>EY / HY Lead</a:t>
            </a:r>
            <a:endParaRPr lang="en-US" sz="1400" b="1" noProof="0" dirty="0">
              <a:latin typeface="+mn-lt"/>
            </a:endParaRPr>
          </a:p>
        </p:txBody>
      </p:sp>
      <p:sp>
        <p:nvSpPr>
          <p:cNvPr id="140" name="Text Placeholder 2">
            <a:extLst>
              <a:ext uri="{FF2B5EF4-FFF2-40B4-BE49-F238E27FC236}">
                <a16:creationId xmlns:a16="http://schemas.microsoft.com/office/drawing/2014/main" id="{08AAB479-4DDC-9F81-CC3E-C56200EB9E92}"/>
              </a:ext>
            </a:extLst>
          </p:cNvPr>
          <p:cNvSpPr>
            <a:spLocks noGrp="1"/>
          </p:cNvSpPr>
          <p:nvPr>
            <p:custDataLst>
              <p:tags r:id="rId134"/>
            </p:custDataLst>
          </p:nvPr>
        </p:nvSpPr>
        <p:spPr bwMode="auto">
          <a:xfrm>
            <a:off x="8901113" y="3916363"/>
            <a:ext cx="4492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b="1" noProof="0" dirty="0">
                <a:latin typeface="+mn-lt"/>
              </a:rPr>
              <a:t>Hannah</a:t>
            </a:r>
          </a:p>
        </p:txBody>
      </p:sp>
      <p:sp>
        <p:nvSpPr>
          <p:cNvPr id="141" name="Text Placeholder 2">
            <a:extLst>
              <a:ext uri="{FF2B5EF4-FFF2-40B4-BE49-F238E27FC236}">
                <a16:creationId xmlns:a16="http://schemas.microsoft.com/office/drawing/2014/main" id="{71180BB3-B33A-7FA9-A5F4-732A57ED961D}"/>
              </a:ext>
            </a:extLst>
          </p:cNvPr>
          <p:cNvSpPr>
            <a:spLocks noGrp="1"/>
          </p:cNvSpPr>
          <p:nvPr>
            <p:custDataLst>
              <p:tags r:id="rId135"/>
            </p:custDataLst>
          </p:nvPr>
        </p:nvSpPr>
        <p:spPr bwMode="auto">
          <a:xfrm>
            <a:off x="688975" y="3916363"/>
            <a:ext cx="23510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b="1" noProof="0" dirty="0">
                <a:latin typeface="+mn-lt"/>
              </a:rPr>
              <a:t>Master Data Enrichment (header)</a:t>
            </a:r>
          </a:p>
        </p:txBody>
      </p:sp>
      <p:sp>
        <p:nvSpPr>
          <p:cNvPr id="142" name="Text Placeholder 2">
            <a:extLst>
              <a:ext uri="{FF2B5EF4-FFF2-40B4-BE49-F238E27FC236}">
                <a16:creationId xmlns:a16="http://schemas.microsoft.com/office/drawing/2014/main" id="{2908578F-C9FB-DDE2-9063-BA70EBBCD74F}"/>
              </a:ext>
            </a:extLst>
          </p:cNvPr>
          <p:cNvSpPr>
            <a:spLocks noGrp="1"/>
          </p:cNvSpPr>
          <p:nvPr>
            <p:custDataLst>
              <p:tags r:id="rId136"/>
            </p:custDataLst>
          </p:nvPr>
        </p:nvSpPr>
        <p:spPr bwMode="auto">
          <a:xfrm>
            <a:off x="8901113" y="1819275"/>
            <a:ext cx="10160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b="1" noProof="0" dirty="0">
                <a:latin typeface="+mn-lt"/>
              </a:rPr>
              <a:t>Kathrin / Hannah</a:t>
            </a:r>
          </a:p>
        </p:txBody>
      </p:sp>
      <p:sp>
        <p:nvSpPr>
          <p:cNvPr id="143" name="Text Placeholder 2">
            <a:extLst>
              <a:ext uri="{FF2B5EF4-FFF2-40B4-BE49-F238E27FC236}">
                <a16:creationId xmlns:a16="http://schemas.microsoft.com/office/drawing/2014/main" id="{0BDF1F57-990B-C822-BC0A-4C0D669B358E}"/>
              </a:ext>
            </a:extLst>
          </p:cNvPr>
          <p:cNvSpPr>
            <a:spLocks noGrp="1"/>
          </p:cNvSpPr>
          <p:nvPr>
            <p:custDataLst>
              <p:tags r:id="rId137"/>
            </p:custDataLst>
          </p:nvPr>
        </p:nvSpPr>
        <p:spPr bwMode="auto">
          <a:xfrm>
            <a:off x="10550525" y="3733800"/>
            <a:ext cx="800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>
                <a:latin typeface="+mn-lt"/>
              </a:rPr>
              <a:t>Lynn / Junior</a:t>
            </a:r>
            <a:endParaRPr lang="en-US" sz="1000" b="1" noProof="0" dirty="0">
              <a:latin typeface="+mn-lt"/>
            </a:endParaRPr>
          </a:p>
        </p:txBody>
      </p:sp>
      <p:sp>
        <p:nvSpPr>
          <p:cNvPr id="144" name="Text Placeholder 2">
            <a:extLst>
              <a:ext uri="{FF2B5EF4-FFF2-40B4-BE49-F238E27FC236}">
                <a16:creationId xmlns:a16="http://schemas.microsoft.com/office/drawing/2014/main" id="{08EECBFD-BCDF-E2FD-F445-F71049EB56D4}"/>
              </a:ext>
            </a:extLst>
          </p:cNvPr>
          <p:cNvSpPr>
            <a:spLocks noGrp="1"/>
          </p:cNvSpPr>
          <p:nvPr>
            <p:custDataLst>
              <p:tags r:id="rId138"/>
            </p:custDataLst>
          </p:nvPr>
        </p:nvSpPr>
        <p:spPr bwMode="auto">
          <a:xfrm>
            <a:off x="8901113" y="3733800"/>
            <a:ext cx="9985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b="1" noProof="0" dirty="0">
                <a:latin typeface="+mn-lt"/>
              </a:rPr>
              <a:t>Hannah / Manuel</a:t>
            </a:r>
          </a:p>
        </p:txBody>
      </p:sp>
      <p:sp>
        <p:nvSpPr>
          <p:cNvPr id="145" name="Text Placeholder 2">
            <a:extLst>
              <a:ext uri="{FF2B5EF4-FFF2-40B4-BE49-F238E27FC236}">
                <a16:creationId xmlns:a16="http://schemas.microsoft.com/office/drawing/2014/main" id="{9BFABFF4-D924-7183-5AEE-6CF410E5EE95}"/>
              </a:ext>
            </a:extLst>
          </p:cNvPr>
          <p:cNvSpPr>
            <a:spLocks noGrp="1"/>
          </p:cNvSpPr>
          <p:nvPr>
            <p:custDataLst>
              <p:tags r:id="rId139"/>
            </p:custDataLst>
          </p:nvPr>
        </p:nvSpPr>
        <p:spPr bwMode="auto">
          <a:xfrm>
            <a:off x="688975" y="3733800"/>
            <a:ext cx="16891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b="1" noProof="0" dirty="0">
                <a:latin typeface="+mn-lt"/>
              </a:rPr>
              <a:t>Field – Level Translation</a:t>
            </a:r>
          </a:p>
        </p:txBody>
      </p:sp>
      <p:sp>
        <p:nvSpPr>
          <p:cNvPr id="146" name="Text Placeholder 2">
            <a:extLst>
              <a:ext uri="{FF2B5EF4-FFF2-40B4-BE49-F238E27FC236}">
                <a16:creationId xmlns:a16="http://schemas.microsoft.com/office/drawing/2014/main" id="{5BB85686-9F7A-8AE8-5F35-ACF6625FC8F8}"/>
              </a:ext>
            </a:extLst>
          </p:cNvPr>
          <p:cNvSpPr>
            <a:spLocks noGrp="1"/>
          </p:cNvSpPr>
          <p:nvPr>
            <p:custDataLst>
              <p:tags r:id="rId140"/>
            </p:custDataLst>
          </p:nvPr>
        </p:nvSpPr>
        <p:spPr bwMode="auto">
          <a:xfrm>
            <a:off x="10550525" y="1819275"/>
            <a:ext cx="8683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>
                <a:latin typeface="+mn-lt"/>
              </a:rPr>
              <a:t>Michael / Lynn</a:t>
            </a:r>
            <a:endParaRPr lang="en-US" sz="1000" b="1" noProof="0" dirty="0">
              <a:latin typeface="+mn-lt"/>
            </a:endParaRPr>
          </a:p>
        </p:txBody>
      </p:sp>
      <p:sp>
        <p:nvSpPr>
          <p:cNvPr id="147" name="Text Placeholder 2">
            <a:extLst>
              <a:ext uri="{FF2B5EF4-FFF2-40B4-BE49-F238E27FC236}">
                <a16:creationId xmlns:a16="http://schemas.microsoft.com/office/drawing/2014/main" id="{242BE998-A58A-FDB1-0A86-34F9C75C5369}"/>
              </a:ext>
            </a:extLst>
          </p:cNvPr>
          <p:cNvSpPr>
            <a:spLocks noGrp="1"/>
          </p:cNvSpPr>
          <p:nvPr>
            <p:custDataLst>
              <p:tags r:id="rId141"/>
            </p:custDataLst>
          </p:nvPr>
        </p:nvSpPr>
        <p:spPr bwMode="auto">
          <a:xfrm>
            <a:off x="10550525" y="3551238"/>
            <a:ext cx="7429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>
                <a:latin typeface="+mn-lt"/>
              </a:rPr>
              <a:t>Lynn / Elena</a:t>
            </a:r>
            <a:endParaRPr lang="en-US" sz="1000" b="1" noProof="0" dirty="0">
              <a:latin typeface="+mn-lt"/>
            </a:endParaRPr>
          </a:p>
        </p:txBody>
      </p:sp>
      <p:sp>
        <p:nvSpPr>
          <p:cNvPr id="148" name="Text Placeholder 2">
            <a:extLst>
              <a:ext uri="{FF2B5EF4-FFF2-40B4-BE49-F238E27FC236}">
                <a16:creationId xmlns:a16="http://schemas.microsoft.com/office/drawing/2014/main" id="{C90B3165-80EE-FEE7-75F0-0B262E3EDD85}"/>
              </a:ext>
            </a:extLst>
          </p:cNvPr>
          <p:cNvSpPr>
            <a:spLocks noGrp="1"/>
          </p:cNvSpPr>
          <p:nvPr>
            <p:custDataLst>
              <p:tags r:id="rId142"/>
            </p:custDataLst>
          </p:nvPr>
        </p:nvSpPr>
        <p:spPr bwMode="auto">
          <a:xfrm>
            <a:off x="8901113" y="3551238"/>
            <a:ext cx="9890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b="1" noProof="0" dirty="0">
                <a:latin typeface="+mn-lt"/>
              </a:rPr>
              <a:t>Manuel / Kathrin</a:t>
            </a:r>
          </a:p>
        </p:txBody>
      </p:sp>
      <p:sp>
        <p:nvSpPr>
          <p:cNvPr id="149" name="Text Placeholder 2">
            <a:extLst>
              <a:ext uri="{FF2B5EF4-FFF2-40B4-BE49-F238E27FC236}">
                <a16:creationId xmlns:a16="http://schemas.microsoft.com/office/drawing/2014/main" id="{17BF3339-3305-DE4C-3FF9-2E9DB01FBFEE}"/>
              </a:ext>
            </a:extLst>
          </p:cNvPr>
          <p:cNvSpPr>
            <a:spLocks noGrp="1"/>
          </p:cNvSpPr>
          <p:nvPr>
            <p:custDataLst>
              <p:tags r:id="rId143"/>
            </p:custDataLst>
          </p:nvPr>
        </p:nvSpPr>
        <p:spPr bwMode="auto">
          <a:xfrm>
            <a:off x="688975" y="2001838"/>
            <a:ext cx="11636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b="1" noProof="0" dirty="0">
                <a:latin typeface="+mn-lt"/>
              </a:rPr>
              <a:t>Data Acquisition</a:t>
            </a:r>
          </a:p>
        </p:txBody>
      </p:sp>
      <p:sp>
        <p:nvSpPr>
          <p:cNvPr id="150" name="Text Placeholder 2">
            <a:extLst>
              <a:ext uri="{FF2B5EF4-FFF2-40B4-BE49-F238E27FC236}">
                <a16:creationId xmlns:a16="http://schemas.microsoft.com/office/drawing/2014/main" id="{9963AAB4-470F-6B80-32DB-3184047283D2}"/>
              </a:ext>
            </a:extLst>
          </p:cNvPr>
          <p:cNvSpPr>
            <a:spLocks noGrp="1"/>
          </p:cNvSpPr>
          <p:nvPr>
            <p:custDataLst>
              <p:tags r:id="rId144"/>
            </p:custDataLst>
          </p:nvPr>
        </p:nvSpPr>
        <p:spPr bwMode="auto">
          <a:xfrm>
            <a:off x="8901113" y="2001838"/>
            <a:ext cx="10191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b="1" noProof="0" dirty="0">
                <a:effectLst/>
                <a:latin typeface="+mn-lt"/>
              </a:rPr>
              <a:t>Manuel / Yannick</a:t>
            </a:r>
            <a:endParaRPr lang="en-US" sz="1000" b="1" noProof="0" dirty="0">
              <a:latin typeface="+mn-lt"/>
            </a:endParaRPr>
          </a:p>
        </p:txBody>
      </p:sp>
      <p:sp>
        <p:nvSpPr>
          <p:cNvPr id="151" name="Text Placeholder 2">
            <a:extLst>
              <a:ext uri="{FF2B5EF4-FFF2-40B4-BE49-F238E27FC236}">
                <a16:creationId xmlns:a16="http://schemas.microsoft.com/office/drawing/2014/main" id="{D4BB0980-7D12-AAAD-CA44-6B7FCAE2AA7B}"/>
              </a:ext>
            </a:extLst>
          </p:cNvPr>
          <p:cNvSpPr>
            <a:spLocks noGrp="1"/>
          </p:cNvSpPr>
          <p:nvPr>
            <p:custDataLst>
              <p:tags r:id="rId145"/>
            </p:custDataLst>
          </p:nvPr>
        </p:nvSpPr>
        <p:spPr bwMode="auto">
          <a:xfrm>
            <a:off x="10550525" y="3368675"/>
            <a:ext cx="800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>
                <a:latin typeface="+mn-lt"/>
              </a:rPr>
              <a:t>Lynn / Junior</a:t>
            </a:r>
            <a:endParaRPr lang="en-US" sz="1000" b="1" noProof="0" dirty="0">
              <a:latin typeface="+mn-lt"/>
            </a:endParaRPr>
          </a:p>
        </p:txBody>
      </p:sp>
      <p:sp>
        <p:nvSpPr>
          <p:cNvPr id="152" name="Text Placeholder 2">
            <a:extLst>
              <a:ext uri="{FF2B5EF4-FFF2-40B4-BE49-F238E27FC236}">
                <a16:creationId xmlns:a16="http://schemas.microsoft.com/office/drawing/2014/main" id="{71339583-FE6E-B498-102A-0E43C08D265E}"/>
              </a:ext>
            </a:extLst>
          </p:cNvPr>
          <p:cNvSpPr>
            <a:spLocks noGrp="1"/>
          </p:cNvSpPr>
          <p:nvPr>
            <p:custDataLst>
              <p:tags r:id="rId146"/>
            </p:custDataLst>
          </p:nvPr>
        </p:nvSpPr>
        <p:spPr bwMode="auto">
          <a:xfrm>
            <a:off x="8901113" y="3368675"/>
            <a:ext cx="9985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b="1" noProof="0" dirty="0">
                <a:latin typeface="+mn-lt"/>
              </a:rPr>
              <a:t>Hannah / Manuel</a:t>
            </a:r>
          </a:p>
        </p:txBody>
      </p:sp>
      <p:sp>
        <p:nvSpPr>
          <p:cNvPr id="153" name="Text Placeholder 2">
            <a:extLst>
              <a:ext uri="{FF2B5EF4-FFF2-40B4-BE49-F238E27FC236}">
                <a16:creationId xmlns:a16="http://schemas.microsoft.com/office/drawing/2014/main" id="{71EC3979-1015-FB98-1417-FA2D44C42F4C}"/>
              </a:ext>
            </a:extLst>
          </p:cNvPr>
          <p:cNvSpPr>
            <a:spLocks noGrp="1"/>
          </p:cNvSpPr>
          <p:nvPr>
            <p:custDataLst>
              <p:tags r:id="rId147"/>
            </p:custDataLst>
          </p:nvPr>
        </p:nvSpPr>
        <p:spPr bwMode="auto">
          <a:xfrm>
            <a:off x="688975" y="3368675"/>
            <a:ext cx="14652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b="1" noProof="0" dirty="0">
                <a:latin typeface="+mn-lt"/>
              </a:rPr>
              <a:t>Document Validation</a:t>
            </a:r>
          </a:p>
        </p:txBody>
      </p:sp>
      <p:sp>
        <p:nvSpPr>
          <p:cNvPr id="154" name="Text Placeholder 2">
            <a:extLst>
              <a:ext uri="{FF2B5EF4-FFF2-40B4-BE49-F238E27FC236}">
                <a16:creationId xmlns:a16="http://schemas.microsoft.com/office/drawing/2014/main" id="{211333DA-41B5-DA76-4241-7CCCEB9B495C}"/>
              </a:ext>
            </a:extLst>
          </p:cNvPr>
          <p:cNvSpPr>
            <a:spLocks noGrp="1"/>
          </p:cNvSpPr>
          <p:nvPr>
            <p:custDataLst>
              <p:tags r:id="rId148"/>
            </p:custDataLst>
          </p:nvPr>
        </p:nvSpPr>
        <p:spPr bwMode="auto">
          <a:xfrm>
            <a:off x="10550525" y="2001838"/>
            <a:ext cx="3254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>
                <a:latin typeface="+mn-lt"/>
              </a:rPr>
              <a:t>Denis</a:t>
            </a:r>
            <a:endParaRPr lang="en-US" sz="1000" b="1" noProof="0" dirty="0">
              <a:latin typeface="+mn-lt"/>
            </a:endParaRPr>
          </a:p>
        </p:txBody>
      </p:sp>
      <p:sp>
        <p:nvSpPr>
          <p:cNvPr id="155" name="Text Placeholder 2">
            <a:extLst>
              <a:ext uri="{FF2B5EF4-FFF2-40B4-BE49-F238E27FC236}">
                <a16:creationId xmlns:a16="http://schemas.microsoft.com/office/drawing/2014/main" id="{EEB51477-1F33-E6CA-22A3-2C523D9A57F0}"/>
              </a:ext>
            </a:extLst>
          </p:cNvPr>
          <p:cNvSpPr>
            <a:spLocks noGrp="1"/>
          </p:cNvSpPr>
          <p:nvPr>
            <p:custDataLst>
              <p:tags r:id="rId149"/>
            </p:custDataLst>
          </p:nvPr>
        </p:nvSpPr>
        <p:spPr bwMode="auto">
          <a:xfrm>
            <a:off x="688975" y="2203450"/>
            <a:ext cx="9667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b="1" noProof="0" dirty="0">
                <a:effectLst/>
                <a:latin typeface="+mn-lt"/>
              </a:rPr>
              <a:t>Email-Service</a:t>
            </a:r>
            <a:endParaRPr lang="en-US" sz="1200" b="1" noProof="0" dirty="0">
              <a:latin typeface="+mn-lt"/>
            </a:endParaRPr>
          </a:p>
        </p:txBody>
      </p:sp>
      <p:sp>
        <p:nvSpPr>
          <p:cNvPr id="156" name="Text Placeholder 2">
            <a:extLst>
              <a:ext uri="{FF2B5EF4-FFF2-40B4-BE49-F238E27FC236}">
                <a16:creationId xmlns:a16="http://schemas.microsoft.com/office/drawing/2014/main" id="{510FE05F-9B42-AF46-3602-95616F9D69BE}"/>
              </a:ext>
            </a:extLst>
          </p:cNvPr>
          <p:cNvSpPr>
            <a:spLocks noGrp="1"/>
          </p:cNvSpPr>
          <p:nvPr>
            <p:custDataLst>
              <p:tags r:id="rId150"/>
            </p:custDataLst>
          </p:nvPr>
        </p:nvSpPr>
        <p:spPr bwMode="auto">
          <a:xfrm>
            <a:off x="10550525" y="3197225"/>
            <a:ext cx="800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>
                <a:latin typeface="+mn-lt"/>
              </a:rPr>
              <a:t>Lynn / Junior</a:t>
            </a:r>
            <a:endParaRPr lang="en-US" sz="1000" b="1" noProof="0" dirty="0">
              <a:latin typeface="+mn-lt"/>
            </a:endParaRPr>
          </a:p>
        </p:txBody>
      </p:sp>
      <p:sp>
        <p:nvSpPr>
          <p:cNvPr id="157" name="Text Placeholder 2">
            <a:extLst>
              <a:ext uri="{FF2B5EF4-FFF2-40B4-BE49-F238E27FC236}">
                <a16:creationId xmlns:a16="http://schemas.microsoft.com/office/drawing/2014/main" id="{77335E12-8E83-DB7D-E33A-A7B8853BDA81}"/>
              </a:ext>
            </a:extLst>
          </p:cNvPr>
          <p:cNvSpPr>
            <a:spLocks noGrp="1"/>
          </p:cNvSpPr>
          <p:nvPr>
            <p:custDataLst>
              <p:tags r:id="rId151"/>
            </p:custDataLst>
          </p:nvPr>
        </p:nvSpPr>
        <p:spPr bwMode="auto">
          <a:xfrm>
            <a:off x="8901113" y="3197225"/>
            <a:ext cx="11128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b="1" noProof="0" dirty="0">
                <a:latin typeface="+mn-lt"/>
              </a:rPr>
              <a:t>Hannah / Antonina</a:t>
            </a:r>
          </a:p>
        </p:txBody>
      </p:sp>
      <p:sp>
        <p:nvSpPr>
          <p:cNvPr id="158" name="Text Placeholder 2">
            <a:extLst>
              <a:ext uri="{FF2B5EF4-FFF2-40B4-BE49-F238E27FC236}">
                <a16:creationId xmlns:a16="http://schemas.microsoft.com/office/drawing/2014/main" id="{52A29D6E-EE1D-D0DC-D9CC-8F0DD473D86F}"/>
              </a:ext>
            </a:extLst>
          </p:cNvPr>
          <p:cNvSpPr>
            <a:spLocks noGrp="1"/>
          </p:cNvSpPr>
          <p:nvPr>
            <p:custDataLst>
              <p:tags r:id="rId152"/>
            </p:custDataLst>
          </p:nvPr>
        </p:nvSpPr>
        <p:spPr bwMode="auto">
          <a:xfrm>
            <a:off x="688975" y="3197225"/>
            <a:ext cx="15065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56437" lvl="1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b="1" noProof="0" dirty="0">
                <a:latin typeface="+mn-lt"/>
              </a:rPr>
              <a:t>Optimization Agent</a:t>
            </a:r>
          </a:p>
        </p:txBody>
      </p:sp>
      <p:sp>
        <p:nvSpPr>
          <p:cNvPr id="159" name="Text Placeholder 2">
            <a:extLst>
              <a:ext uri="{FF2B5EF4-FFF2-40B4-BE49-F238E27FC236}">
                <a16:creationId xmlns:a16="http://schemas.microsoft.com/office/drawing/2014/main" id="{A04BA2E3-9CA7-3CD1-AEB3-D2A8B946452D}"/>
              </a:ext>
            </a:extLst>
          </p:cNvPr>
          <p:cNvSpPr>
            <a:spLocks noGrp="1"/>
          </p:cNvSpPr>
          <p:nvPr>
            <p:custDataLst>
              <p:tags r:id="rId153"/>
            </p:custDataLst>
          </p:nvPr>
        </p:nvSpPr>
        <p:spPr bwMode="auto">
          <a:xfrm>
            <a:off x="8901113" y="2203450"/>
            <a:ext cx="4222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b="1" noProof="0" dirty="0">
                <a:latin typeface="+mn-lt"/>
              </a:rPr>
              <a:t>Manuel</a:t>
            </a:r>
          </a:p>
        </p:txBody>
      </p:sp>
      <p:sp>
        <p:nvSpPr>
          <p:cNvPr id="160" name="Text Placeholder 2">
            <a:extLst>
              <a:ext uri="{FF2B5EF4-FFF2-40B4-BE49-F238E27FC236}">
                <a16:creationId xmlns:a16="http://schemas.microsoft.com/office/drawing/2014/main" id="{7B4C37F3-5C0D-6864-0BF7-64C0B4C516A8}"/>
              </a:ext>
            </a:extLst>
          </p:cNvPr>
          <p:cNvSpPr>
            <a:spLocks noGrp="1"/>
          </p:cNvSpPr>
          <p:nvPr>
            <p:custDataLst>
              <p:tags r:id="rId154"/>
            </p:custDataLst>
          </p:nvPr>
        </p:nvSpPr>
        <p:spPr bwMode="auto">
          <a:xfrm>
            <a:off x="10550525" y="3044825"/>
            <a:ext cx="800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>
                <a:latin typeface="+mn-lt"/>
              </a:rPr>
              <a:t>Lynn / Junior</a:t>
            </a:r>
            <a:endParaRPr lang="en-US" sz="1000" b="1" noProof="0" dirty="0">
              <a:latin typeface="+mn-lt"/>
            </a:endParaRPr>
          </a:p>
        </p:txBody>
      </p:sp>
      <p:sp>
        <p:nvSpPr>
          <p:cNvPr id="161" name="Text Placeholder 2">
            <a:extLst>
              <a:ext uri="{FF2B5EF4-FFF2-40B4-BE49-F238E27FC236}">
                <a16:creationId xmlns:a16="http://schemas.microsoft.com/office/drawing/2014/main" id="{EB9CBEE2-FA32-C7CE-7C03-030E474423A2}"/>
              </a:ext>
            </a:extLst>
          </p:cNvPr>
          <p:cNvSpPr>
            <a:spLocks noGrp="1"/>
          </p:cNvSpPr>
          <p:nvPr>
            <p:custDataLst>
              <p:tags r:id="rId155"/>
            </p:custDataLst>
          </p:nvPr>
        </p:nvSpPr>
        <p:spPr bwMode="auto">
          <a:xfrm>
            <a:off x="688975" y="3551238"/>
            <a:ext cx="14287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b="1" noProof="0" dirty="0">
                <a:latin typeface="+mn-lt"/>
              </a:rPr>
              <a:t>Document Rejection</a:t>
            </a:r>
          </a:p>
        </p:txBody>
      </p:sp>
      <p:sp>
        <p:nvSpPr>
          <p:cNvPr id="162" name="Text Placeholder 2">
            <a:extLst>
              <a:ext uri="{FF2B5EF4-FFF2-40B4-BE49-F238E27FC236}">
                <a16:creationId xmlns:a16="http://schemas.microsoft.com/office/drawing/2014/main" id="{B1ACD0AB-F4F8-42E0-4757-CB101F5DDAEA}"/>
              </a:ext>
            </a:extLst>
          </p:cNvPr>
          <p:cNvSpPr>
            <a:spLocks noGrp="1"/>
          </p:cNvSpPr>
          <p:nvPr>
            <p:custDataLst>
              <p:tags r:id="rId156"/>
            </p:custDataLst>
          </p:nvPr>
        </p:nvSpPr>
        <p:spPr bwMode="auto">
          <a:xfrm>
            <a:off x="688975" y="3044825"/>
            <a:ext cx="16017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56437" lvl="1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b="1" noProof="0" dirty="0">
                <a:latin typeface="+mn-lt"/>
              </a:rPr>
              <a:t>Customization Agent</a:t>
            </a:r>
          </a:p>
        </p:txBody>
      </p:sp>
      <p:sp>
        <p:nvSpPr>
          <p:cNvPr id="163" name="Text Placeholder 2">
            <a:extLst>
              <a:ext uri="{FF2B5EF4-FFF2-40B4-BE49-F238E27FC236}">
                <a16:creationId xmlns:a16="http://schemas.microsoft.com/office/drawing/2014/main" id="{8FC86CB9-BBCC-2727-83F1-670A3FBFB2B4}"/>
              </a:ext>
            </a:extLst>
          </p:cNvPr>
          <p:cNvSpPr>
            <a:spLocks noGrp="1"/>
          </p:cNvSpPr>
          <p:nvPr>
            <p:custDataLst>
              <p:tags r:id="rId157"/>
            </p:custDataLst>
          </p:nvPr>
        </p:nvSpPr>
        <p:spPr bwMode="auto">
          <a:xfrm>
            <a:off x="10550525" y="2203450"/>
            <a:ext cx="3238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>
                <a:latin typeface="+mn-lt"/>
              </a:rPr>
              <a:t>Elena</a:t>
            </a:r>
            <a:endParaRPr lang="en-US" sz="1000" b="1" noProof="0" dirty="0">
              <a:latin typeface="+mn-lt"/>
            </a:endParaRPr>
          </a:p>
        </p:txBody>
      </p:sp>
      <p:sp>
        <p:nvSpPr>
          <p:cNvPr id="164" name="Text Placeholder 2">
            <a:extLst>
              <a:ext uri="{FF2B5EF4-FFF2-40B4-BE49-F238E27FC236}">
                <a16:creationId xmlns:a16="http://schemas.microsoft.com/office/drawing/2014/main" id="{F3D10722-7505-DFD9-844A-99B9833A8340}"/>
              </a:ext>
            </a:extLst>
          </p:cNvPr>
          <p:cNvSpPr>
            <a:spLocks noGrp="1"/>
          </p:cNvSpPr>
          <p:nvPr>
            <p:custDataLst>
              <p:tags r:id="rId158"/>
            </p:custDataLst>
          </p:nvPr>
        </p:nvSpPr>
        <p:spPr bwMode="auto">
          <a:xfrm>
            <a:off x="10550525" y="2892425"/>
            <a:ext cx="800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>
                <a:latin typeface="+mn-lt"/>
              </a:rPr>
              <a:t>Lynn / Junior</a:t>
            </a:r>
            <a:endParaRPr lang="en-US" sz="1000" b="1" noProof="0" dirty="0">
              <a:latin typeface="+mn-lt"/>
            </a:endParaRPr>
          </a:p>
        </p:txBody>
      </p:sp>
      <p:sp>
        <p:nvSpPr>
          <p:cNvPr id="165" name="Text Placeholder 2">
            <a:extLst>
              <a:ext uri="{FF2B5EF4-FFF2-40B4-BE49-F238E27FC236}">
                <a16:creationId xmlns:a16="http://schemas.microsoft.com/office/drawing/2014/main" id="{86B7E080-06D6-4F22-5B15-B26F74E35458}"/>
              </a:ext>
            </a:extLst>
          </p:cNvPr>
          <p:cNvSpPr>
            <a:spLocks noGrp="1"/>
          </p:cNvSpPr>
          <p:nvPr>
            <p:custDataLst>
              <p:tags r:id="rId159"/>
            </p:custDataLst>
          </p:nvPr>
        </p:nvSpPr>
        <p:spPr bwMode="auto">
          <a:xfrm>
            <a:off x="8901113" y="2892425"/>
            <a:ext cx="11128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b="1" noProof="0" dirty="0">
                <a:latin typeface="+mn-lt"/>
              </a:rPr>
              <a:t>Hannah / Antonina</a:t>
            </a:r>
          </a:p>
        </p:txBody>
      </p:sp>
      <p:sp>
        <p:nvSpPr>
          <p:cNvPr id="166" name="Text Placeholder 2">
            <a:extLst>
              <a:ext uri="{FF2B5EF4-FFF2-40B4-BE49-F238E27FC236}">
                <a16:creationId xmlns:a16="http://schemas.microsoft.com/office/drawing/2014/main" id="{2F8B7C35-4D58-724E-1A83-EA15E83C2F3C}"/>
              </a:ext>
            </a:extLst>
          </p:cNvPr>
          <p:cNvSpPr>
            <a:spLocks noGrp="1"/>
          </p:cNvSpPr>
          <p:nvPr>
            <p:custDataLst>
              <p:tags r:id="rId160"/>
            </p:custDataLst>
          </p:nvPr>
        </p:nvSpPr>
        <p:spPr bwMode="auto">
          <a:xfrm>
            <a:off x="688975" y="2892425"/>
            <a:ext cx="12001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56437" lvl="1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b="1" noProof="0" dirty="0">
                <a:latin typeface="+mn-lt"/>
              </a:rPr>
              <a:t>Pre-Set Agent</a:t>
            </a:r>
          </a:p>
        </p:txBody>
      </p:sp>
      <p:sp>
        <p:nvSpPr>
          <p:cNvPr id="167" name="Text Placeholder 2">
            <a:extLst>
              <a:ext uri="{FF2B5EF4-FFF2-40B4-BE49-F238E27FC236}">
                <a16:creationId xmlns:a16="http://schemas.microsoft.com/office/drawing/2014/main" id="{2A0F1213-EFEC-4F4C-3B29-5B0D988D5E96}"/>
              </a:ext>
            </a:extLst>
          </p:cNvPr>
          <p:cNvSpPr>
            <a:spLocks noGrp="1"/>
          </p:cNvSpPr>
          <p:nvPr>
            <p:custDataLst>
              <p:tags r:id="rId161"/>
            </p:custDataLst>
          </p:nvPr>
        </p:nvSpPr>
        <p:spPr bwMode="auto">
          <a:xfrm>
            <a:off x="688975" y="2386013"/>
            <a:ext cx="17081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b="1" noProof="0" dirty="0">
                <a:effectLst/>
                <a:latin typeface="+mn-lt"/>
              </a:rPr>
              <a:t>Document Classification</a:t>
            </a:r>
            <a:endParaRPr lang="en-US" sz="1200" b="1" noProof="0" dirty="0">
              <a:latin typeface="+mn-lt"/>
            </a:endParaRPr>
          </a:p>
        </p:txBody>
      </p:sp>
      <p:sp>
        <p:nvSpPr>
          <p:cNvPr id="168" name="Text Placeholder 2">
            <a:extLst>
              <a:ext uri="{FF2B5EF4-FFF2-40B4-BE49-F238E27FC236}">
                <a16:creationId xmlns:a16="http://schemas.microsoft.com/office/drawing/2014/main" id="{E88C0D5F-A5E6-F3BE-7A48-5FD1AB3AEC21}"/>
              </a:ext>
            </a:extLst>
          </p:cNvPr>
          <p:cNvSpPr>
            <a:spLocks noGrp="1"/>
          </p:cNvSpPr>
          <p:nvPr>
            <p:custDataLst>
              <p:tags r:id="rId162"/>
            </p:custDataLst>
          </p:nvPr>
        </p:nvSpPr>
        <p:spPr bwMode="auto">
          <a:xfrm>
            <a:off x="10550525" y="2709863"/>
            <a:ext cx="800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>
                <a:latin typeface="+mn-lt"/>
              </a:rPr>
              <a:t>Lynn / Junior</a:t>
            </a:r>
            <a:endParaRPr lang="en-US" sz="1000" b="1" noProof="0" dirty="0">
              <a:latin typeface="+mn-lt"/>
            </a:endParaRPr>
          </a:p>
        </p:txBody>
      </p:sp>
      <p:sp>
        <p:nvSpPr>
          <p:cNvPr id="169" name="Text Placeholder 2">
            <a:extLst>
              <a:ext uri="{FF2B5EF4-FFF2-40B4-BE49-F238E27FC236}">
                <a16:creationId xmlns:a16="http://schemas.microsoft.com/office/drawing/2014/main" id="{1F7A5CDA-E64A-E85B-47E5-5E00FA8D4DF0}"/>
              </a:ext>
            </a:extLst>
          </p:cNvPr>
          <p:cNvSpPr>
            <a:spLocks noGrp="1"/>
          </p:cNvSpPr>
          <p:nvPr>
            <p:custDataLst>
              <p:tags r:id="rId163"/>
            </p:custDataLst>
          </p:nvPr>
        </p:nvSpPr>
        <p:spPr bwMode="auto">
          <a:xfrm>
            <a:off x="688975" y="6081713"/>
            <a:ext cx="12160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b="1" dirty="0">
                <a:latin typeface="+mn-lt"/>
              </a:rPr>
              <a:t>Roll-out Planning</a:t>
            </a:r>
            <a:endParaRPr lang="en-US" sz="1200" b="1" noProof="0" dirty="0">
              <a:latin typeface="+mn-lt"/>
            </a:endParaRPr>
          </a:p>
        </p:txBody>
      </p:sp>
      <p:sp>
        <p:nvSpPr>
          <p:cNvPr id="170" name="Text Placeholder 2">
            <a:extLst>
              <a:ext uri="{FF2B5EF4-FFF2-40B4-BE49-F238E27FC236}">
                <a16:creationId xmlns:a16="http://schemas.microsoft.com/office/drawing/2014/main" id="{9D857E6A-865E-A70D-3E76-AFEBF53F3D88}"/>
              </a:ext>
            </a:extLst>
          </p:cNvPr>
          <p:cNvSpPr>
            <a:spLocks noGrp="1"/>
          </p:cNvSpPr>
          <p:nvPr>
            <p:custDataLst>
              <p:tags r:id="rId164"/>
            </p:custDataLst>
          </p:nvPr>
        </p:nvSpPr>
        <p:spPr bwMode="auto">
          <a:xfrm>
            <a:off x="8901113" y="6081713"/>
            <a:ext cx="9890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>
                <a:latin typeface="+mn-lt"/>
              </a:rPr>
              <a:t>Kathrin / Manuel</a:t>
            </a:r>
            <a:endParaRPr lang="en-US" sz="1000" b="1" noProof="0" dirty="0">
              <a:latin typeface="+mn-lt"/>
            </a:endParaRPr>
          </a:p>
        </p:txBody>
      </p:sp>
      <p:sp>
        <p:nvSpPr>
          <p:cNvPr id="171" name="Text Placeholder 2">
            <a:extLst>
              <a:ext uri="{FF2B5EF4-FFF2-40B4-BE49-F238E27FC236}">
                <a16:creationId xmlns:a16="http://schemas.microsoft.com/office/drawing/2014/main" id="{BC526351-A3E6-CB4F-9B8E-B6584AC8AE86}"/>
              </a:ext>
            </a:extLst>
          </p:cNvPr>
          <p:cNvSpPr>
            <a:spLocks noGrp="1"/>
          </p:cNvSpPr>
          <p:nvPr>
            <p:custDataLst>
              <p:tags r:id="rId165"/>
            </p:custDataLst>
          </p:nvPr>
        </p:nvSpPr>
        <p:spPr bwMode="auto">
          <a:xfrm>
            <a:off x="10550525" y="6081713"/>
            <a:ext cx="8683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>
                <a:latin typeface="+mn-lt"/>
              </a:rPr>
              <a:t>Lynn / Michael</a:t>
            </a:r>
            <a:endParaRPr lang="en-US" sz="1000" b="1" noProof="0" dirty="0">
              <a:latin typeface="+mn-lt"/>
            </a:endParaRPr>
          </a:p>
        </p:txBody>
      </p:sp>
      <p:sp>
        <p:nvSpPr>
          <p:cNvPr id="172" name="Text Placeholder 2">
            <a:extLst>
              <a:ext uri="{FF2B5EF4-FFF2-40B4-BE49-F238E27FC236}">
                <a16:creationId xmlns:a16="http://schemas.microsoft.com/office/drawing/2014/main" id="{936D65B9-B63D-2A51-4F21-3C5A2DDEA491}"/>
              </a:ext>
            </a:extLst>
          </p:cNvPr>
          <p:cNvSpPr>
            <a:spLocks noGrp="1"/>
          </p:cNvSpPr>
          <p:nvPr>
            <p:custDataLst>
              <p:tags r:id="rId166"/>
            </p:custDataLst>
          </p:nvPr>
        </p:nvSpPr>
        <p:spPr bwMode="auto">
          <a:xfrm>
            <a:off x="8901113" y="2709863"/>
            <a:ext cx="11128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b="1" noProof="0" dirty="0">
                <a:latin typeface="+mn-lt"/>
              </a:rPr>
              <a:t>Hannah / Antonina</a:t>
            </a:r>
          </a:p>
        </p:txBody>
      </p:sp>
      <p:sp>
        <p:nvSpPr>
          <p:cNvPr id="173" name="Text Placeholder 2">
            <a:extLst>
              <a:ext uri="{FF2B5EF4-FFF2-40B4-BE49-F238E27FC236}">
                <a16:creationId xmlns:a16="http://schemas.microsoft.com/office/drawing/2014/main" id="{09A6D4A6-59C5-135C-E0B5-A71ABD9EEE52}"/>
              </a:ext>
            </a:extLst>
          </p:cNvPr>
          <p:cNvSpPr>
            <a:spLocks noGrp="1"/>
          </p:cNvSpPr>
          <p:nvPr>
            <p:custDataLst>
              <p:tags r:id="rId167"/>
            </p:custDataLst>
          </p:nvPr>
        </p:nvSpPr>
        <p:spPr bwMode="auto">
          <a:xfrm>
            <a:off x="8901113" y="3044825"/>
            <a:ext cx="11128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b="1" noProof="0" dirty="0">
                <a:latin typeface="+mn-lt"/>
              </a:rPr>
              <a:t>Hannah / Antonina</a:t>
            </a:r>
          </a:p>
        </p:txBody>
      </p:sp>
      <p:sp>
        <p:nvSpPr>
          <p:cNvPr id="175" name="Text Placeholder 2">
            <a:extLst>
              <a:ext uri="{FF2B5EF4-FFF2-40B4-BE49-F238E27FC236}">
                <a16:creationId xmlns:a16="http://schemas.microsoft.com/office/drawing/2014/main" id="{527FA4EC-2C1F-ADBE-4E76-DE84C3A8D61F}"/>
              </a:ext>
            </a:extLst>
          </p:cNvPr>
          <p:cNvSpPr>
            <a:spLocks noGrp="1"/>
          </p:cNvSpPr>
          <p:nvPr>
            <p:custDataLst>
              <p:tags r:id="rId168"/>
            </p:custDataLst>
          </p:nvPr>
        </p:nvSpPr>
        <p:spPr bwMode="auto">
          <a:xfrm>
            <a:off x="10634663" y="690563"/>
            <a:ext cx="703263" cy="244475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 w="9525" cmpd="sng" algn="ctr">
            <a:solidFill>
              <a:srgbClr val="747480"/>
            </a:solidFill>
          </a:ln>
          <a:effectLst/>
        </p:spPr>
        <p:txBody>
          <a:bodyPr vert="horz" wrap="none" lIns="14288" tIns="9525" rIns="0" bIns="9525" rtlCol="0" anchor="ctr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>
                <a:solidFill>
                  <a:schemeClr val="tx1"/>
                </a:solidFill>
                <a:latin typeface="+mn-lt"/>
              </a:rPr>
              <a:t>HY</a:t>
            </a:r>
            <a:endParaRPr lang="en-US" sz="10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76" name="Text Placeholder 2">
            <a:extLst>
              <a:ext uri="{FF2B5EF4-FFF2-40B4-BE49-F238E27FC236}">
                <a16:creationId xmlns:a16="http://schemas.microsoft.com/office/drawing/2014/main" id="{5FD1273E-D495-9ECC-BF86-BA5F875DC484}"/>
              </a:ext>
            </a:extLst>
          </p:cNvPr>
          <p:cNvSpPr>
            <a:spLocks noGrp="1"/>
          </p:cNvSpPr>
          <p:nvPr>
            <p:custDataLst>
              <p:tags r:id="rId169"/>
            </p:custDataLst>
          </p:nvPr>
        </p:nvSpPr>
        <p:spPr bwMode="auto">
          <a:xfrm>
            <a:off x="9605963" y="690563"/>
            <a:ext cx="703263" cy="244475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 cmpd="sng" algn="ctr">
            <a:solidFill>
              <a:srgbClr val="747480"/>
            </a:solidFill>
          </a:ln>
          <a:effectLst/>
        </p:spPr>
        <p:txBody>
          <a:bodyPr vert="horz" wrap="none" lIns="14288" tIns="9525" rIns="0" bIns="9525" rtlCol="0" anchor="ctr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noProof="0" dirty="0">
                <a:solidFill>
                  <a:schemeClr val="tx1"/>
                </a:solidFill>
                <a:latin typeface="+mn-lt"/>
              </a:rPr>
              <a:t>EY</a:t>
            </a:r>
          </a:p>
        </p:txBody>
      </p:sp>
      <p:sp>
        <p:nvSpPr>
          <p:cNvPr id="177" name="Text Placeholder 2">
            <a:extLst>
              <a:ext uri="{FF2B5EF4-FFF2-40B4-BE49-F238E27FC236}">
                <a16:creationId xmlns:a16="http://schemas.microsoft.com/office/drawing/2014/main" id="{F0B854BD-2DAA-FBB8-8415-F88C2A0664E1}"/>
              </a:ext>
            </a:extLst>
          </p:cNvPr>
          <p:cNvSpPr>
            <a:spLocks noGrp="1"/>
          </p:cNvSpPr>
          <p:nvPr>
            <p:custDataLst>
              <p:tags r:id="rId170"/>
            </p:custDataLst>
          </p:nvPr>
        </p:nvSpPr>
        <p:spPr bwMode="auto">
          <a:xfrm>
            <a:off x="8589963" y="690563"/>
            <a:ext cx="703263" cy="244475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 w="9525" cmpd="sng" algn="ctr">
            <a:solidFill>
              <a:srgbClr val="747480"/>
            </a:solidFill>
          </a:ln>
          <a:effectLst/>
        </p:spPr>
        <p:txBody>
          <a:bodyPr vert="horz" wrap="none" lIns="14288" tIns="9525" rIns="0" bIns="9525" rtlCol="0" anchor="ctr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noProof="0" dirty="0">
                <a:latin typeface="+mn-lt"/>
              </a:rPr>
              <a:t>KAR</a:t>
            </a:r>
          </a:p>
        </p:txBody>
      </p:sp>
      <p:sp>
        <p:nvSpPr>
          <p:cNvPr id="178" name="Text Placeholder 2">
            <a:extLst>
              <a:ext uri="{FF2B5EF4-FFF2-40B4-BE49-F238E27FC236}">
                <a16:creationId xmlns:a16="http://schemas.microsoft.com/office/drawing/2014/main" id="{8B4BF012-DA07-E1C0-1365-DA3D851570BE}"/>
              </a:ext>
            </a:extLst>
          </p:cNvPr>
          <p:cNvSpPr>
            <a:spLocks noGrp="1"/>
          </p:cNvSpPr>
          <p:nvPr>
            <p:custDataLst>
              <p:tags r:id="rId171"/>
            </p:custDataLst>
          </p:nvPr>
        </p:nvSpPr>
        <p:spPr bwMode="auto">
          <a:xfrm>
            <a:off x="9375775" y="346075"/>
            <a:ext cx="12588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30163" rtlCol="0" anchor="t" anchorCtr="0">
            <a:noAutofit/>
          </a:bodyPr>
          <a:lstStyle>
            <a:lvl1pPr marL="356438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9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7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5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3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697776" indent="-271327" algn="l" defTabSz="91394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99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>
                <a:effectLst/>
                <a:latin typeface="+mn-lt"/>
              </a:rPr>
              <a:t>Workstream Lead:</a:t>
            </a:r>
            <a:endParaRPr lang="en-US" sz="1200" noProof="0" dirty="0">
              <a:latin typeface="+mn-lt"/>
            </a:endParaRPr>
          </a:p>
        </p:txBody>
      </p:sp>
      <p:sp>
        <p:nvSpPr>
          <p:cNvPr id="180" name="Title 1">
            <a:extLst>
              <a:ext uri="{FF2B5EF4-FFF2-40B4-BE49-F238E27FC236}">
                <a16:creationId xmlns:a16="http://schemas.microsoft.com/office/drawing/2014/main" id="{B1801761-2619-712F-3217-531AFD668651}"/>
              </a:ext>
            </a:extLst>
          </p:cNvPr>
          <p:cNvSpPr txBox="1">
            <a:spLocks/>
          </p:cNvSpPr>
          <p:nvPr/>
        </p:nvSpPr>
        <p:spPr>
          <a:xfrm>
            <a:off x="609601" y="294200"/>
            <a:ext cx="10972800" cy="590400"/>
          </a:xfrm>
          <a:prstGeom prst="rect">
            <a:avLst/>
          </a:prstGeom>
        </p:spPr>
        <p:txBody>
          <a:bodyPr vert="horz"/>
          <a:lstStyle>
            <a:lvl1pPr algn="l" defTabSz="913943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399" b="0" kern="1200">
                <a:solidFill>
                  <a:schemeClr val="bg1"/>
                </a:solidFill>
                <a:latin typeface="EYInterstate Light" panose="02000506000000020004" pitchFamily="2" charset="0"/>
                <a:ea typeface="+mj-ea"/>
                <a:cs typeface="Arial" pitchFamily="34" charset="0"/>
              </a:defRPr>
            </a:lvl1pPr>
          </a:lstStyle>
          <a:p>
            <a:r>
              <a:rPr lang="en-US"/>
              <a:t>Kärcher – Interim Phase Pla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03341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255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&quot;&gt;&lt;elem m_fUsage=&quot;1.00000000000000000000E+00&quot;&gt;&lt;m_msothmcolidx val=&quot;0&quot;/&gt;&lt;m_rgb r=&quot;71&quot; g=&quot;97&quot; b=&quot;FF&quot;/&gt;&lt;/elem&gt;&lt;/m_vecMRU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Om0heFzNuFHf3j6Gqj1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sheZM0OOad5iY8mJpMH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_Km6KQJKJyILywyK3QC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SJV.YimVX__CFNZwif1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8kRSoMu6kYblXGIY4a_9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j8VgBmDrlKGT3FAvh.1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pHKi5wAbN8tALwoelan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gudo9nI3xiivTGZT0gE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.ZwCVv13YypXNMDQdqE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AMdgCeGnl8vaByUA4nf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Tia7dIOdBhlhb.PsOg1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j2nMt.29a3aLF1zH2W3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_pjtd0zMpTwJ1b9dKtt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ZRtLbvH6XwXkp1NNSHH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AX9cS0qNvBddeR98KGyf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kzkCUzbfduQQzBXfGFu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mgul_dXNIV8d5PbCLOB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AsRhAnne9ufmDQHWq.H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tRMyjzGZSkFRHuM6xq2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k1b7X_ihgR2r8jeNbUM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0ePUVzFPbANH7EBXqyB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T8.nDTMxQiS.yttRjIu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.YRb66oMF6dG94rxPyT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1j2Qe5uskfxk8ufI8e9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NQlrJWZ5eM2vnJrxISe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LQz1fJjlUciR20_QLdGs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oppv0dhwEvprsuSZR3b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PUQDQojzoHrv948Ji3nd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EIJHC7VnJH8csr5zSNh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mwG1D5n9DuFbJlc86hK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o7RRU7Tm6D1hF3WmgB8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ybXbQBo65M5etAEZ_uW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9E.c6tO_fTIiSBwMk0_1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j3.IaoTnOncjJs8gIuU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TUJr2QjUvDpc00d2_hQ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XxW7al.6NBXT3GtrCI.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.Fn3yLaBawK6EpM9Sez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0RZGpWO28fZQQEFCnFQ0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0Egi9OkV_cbfwqpyy.or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h5z_sBKrTTPkihZ7OfD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abRuUQDk089DUDF9J1k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GfaSHialPiqrKGvlhse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2NjLSKEtFj0kyM0WQLQ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p10gKYpAZl2GNGWb7SO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T_W2chSkOFVWddBlZ_E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Vx4StQmZj5s3hS7I5XP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9wKSZucdt4argCPNPZ8o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Fjl7DpEQx2UOSVApB3Y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1_45t3vsXNS.lLf995m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6m0crUV2V7TicvLx6hUq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eIVfvGilAoW7NIzh3LW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2.oWnhHrQLNDFiaGJ0js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vHhblY4QYZmv79MRIMa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DHJXKiXhzz5Cy2FJ.1as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Nr047tRL5xcELAoEvJ6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r1PVugDwjkfkvPGDIUK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b6P3z9CUBA8D1VXimcSm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4SD54j0g2AP2.xajO2x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09iJQ2XqhRO0K2ny3JrC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ujzJQy7WMGhbAtfmgTs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2fp4T3u7XzkJLxfUx.YB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Rs_5le44keyEiOYnI6hT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8UBJ8q7dim05qbn3t.sx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IxOTyWI76YqrN0qEzj0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HJlYtT0Om3yrNbOQBJkO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fce4bNqOZnGrQ.VKozE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fhC0NqXYv1HqwjASAZE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6bVjvHJcYDAlIhr8BhIw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6x6WE2FHrAcrAKDbSI9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0rrBuId5rPezQp.tMLH9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QNwBcS1YuPfgz62Izm7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_Lwu8UfMBxZhVj40or4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EvVRNlAJMBpfP10tlBJ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9LrvriAsZmFHXzRhOqi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ZqEgRpnNPPHvA8ejgu2gg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T6hP1gnnXZjGeVh9uEQ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.ryQIryZwCdlHSalx2n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H7xC0Z0V3dI8B9dcO0F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bfJ.BHYf0MYvgIIYKpJQ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l0bGBTmv.bSXo0jk5wN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dfgi9DFMtTSuF3qSgMi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T8f0LZQBF73t8ytjVnl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1fPPbSpC1PWyFmfB_Mfg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v9BVB_A6M0cDmnDSIr4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_LVq50OThTOGbrzmsI7f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lCIOXcF1t07qmz4LkIqd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XmyfxWGPD9O56Sg72YUw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5kmNzqvql_5bWO24VYmw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HzEgczKciWozLn0XZ3s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rWM14ZQCKSyD16csj5b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B4ymLmtkNJxPtPsrqz.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I8cF0SrrO3fuPPZE5oe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4KNKx4_lFLFlMotplcZm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hUPhvRSrqxq8jfr1N6eF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7u3yM0WfDeif8u5DYyS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xY0eRvm3NbzuuWDR7mh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9sF8eOb9gy78wVwDoyph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Lai6jGWQ0bHn4ldpJs5D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x3BRDGf3BVySmyFevi5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Tq746U8FSLYAXYHONYp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3Vf77iLrwgOU4ContnFi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.1zOXbbP2EzB1Z.WgTs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TzGkaGUm1ePuSrgTwz_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WuT3ihSZ5xrmaDxksOE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y_2VyOAOR7yBplOKX6h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DsDytNb6HC2hPf1cy75z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0hS8NJcJkUR00m08Fxsq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Y0oD6dhnmROyaL0p2nN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DlnEJdCVBgbTUeRTY.Ou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.GT_GOr1Cgd6LppI54b3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jWwhKWuRZA4K2LNA3CA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THXaJJnf4mTzCNxkiBm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iDg2ngHbTBInw_al0X4S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3AbUn6l37GOJ65lnRzgc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K9gecZh58GR2ItqZsOy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WX5Ciefofh8r7Wsa5QV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xhU75PYqcSMrmLNIkuA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5YTMCHTYtIxfJ9plvtv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_uG67jv_aAcjmbERKqnx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FgrwRjj1dAmFcNf3em.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40zRB.CZt8C.STMsFbD5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6xyuls5_vJLU7R.uj4l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4262jToqRIKO78jxvxZ9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3Nqy7LldkrtC8TXEe9tK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8tQKI0qXxFaxYR2lSbj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sj79TzEYMabQUScSGVF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3ZfTtqhL7fXRby1DPMaV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Lwy2a0Ce.gdx6sy5W6z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nHUi0KT3gb3A_Ce_yV5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3Vw9aXjAuP3Hig7BUGS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.wUkGfB._eLn0jMe1gr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xnHskjEJynOlwmhzsSI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40sx4bsM25xpOPGVa9mk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CD0IDNMO962r1ns6WPU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e50r5WCpC3YYlK4ZmbO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shi78vVK.IxwNGhptXN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jAsLGPIeh8tRN..5JJY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y74bOPPNQOHir2ae4wH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Fv2XUD_dDVat1rk6jrX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FP4En5p7YSvsAcEebmM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Tsj.Eo3xnl8sh0Ksh3Z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t_wihU_u_7XUE83WHxC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9ejcgeCZ_2oaECBJvpU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pme7xReheW2GywUiinL6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VqeraxXqBnCyTnowUreq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e91eqKKNK2Q4tTZCmR_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f19bCK7xnCHd4kRm2UI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I7nIZkp18AEy_nd62Gna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2MzLwUhbp9s4vGgPxk_B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OHrMqg_A12_7Hf7wHce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Kp82HemX6qaGRR2UeyK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8V8e1muYMFTiHViS5S.h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oXUUluCOnflmjlviB8.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fXBdKlywov57LQkFyKZI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p_scGFJ0xZIcFups7ni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0saVCO9hc9zmTmm3Dh0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REB_T5gNxwS57Y5OQbp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_dkswcAwWT4IeJpyNrU6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dz5JC1MpeN73RmbN7R2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lmuRTmkp.geFXZP2WKz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dTvt5Ih_qNFBLzeVa43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dtwt.EI8SYjP46llfen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9xrmN8DVpIQoOpRqaazv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9ejcgeCZ_2oaECBJvpU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r39NPgVBjwnxXB7lgtZ.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.owsIcpeYW0WLB0159q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iJQXZR0bi74SyqHp1.p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MgdGUkLh3r0XaYvlOHL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T35MUVycbsbD6YFwPZl2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bdQzsz_rQA.xugWBfU3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ZEzGGGNSsr1w447OioQD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mJf_5d2.mnxaG9Dr7N5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q2uSy3ZoS4.SvLLtajd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zqNvSyrtmuy3JWt3MPWw"/>
</p:tagLst>
</file>

<file path=ppt/theme/theme1.xml><?xml version="1.0" encoding="utf-8"?>
<a:theme xmlns:a="http://schemas.openxmlformats.org/drawingml/2006/main" name="EY light background">
  <a:themeElements>
    <a:clrScheme name="Custom 8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D2D2DA"/>
        </a:solidFill>
        <a:ln w="12700" cap="sq" cmpd="sng" algn="ctr">
          <a:noFill/>
          <a:prstDash val="solid"/>
          <a:miter lim="800000"/>
          <a:tailEnd type="none"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smtClean="0">
            <a:ln>
              <a:noFill/>
            </a:ln>
            <a:solidFill>
              <a:srgbClr val="2E2E38"/>
            </a:solidFill>
            <a:effectLst/>
            <a:uLnTx/>
            <a:uFillTx/>
          </a:defRPr>
        </a:defPPr>
      </a:lstStyle>
    </a:spDef>
    <a:lnDef>
      <a:spPr>
        <a:noFill/>
        <a:ln w="12700" cap="sq" cmpd="sng" algn="ctr">
          <a:solidFill>
            <a:srgbClr val="D2D2DA"/>
          </a:solidFill>
          <a:prstDash val="solid"/>
          <a:miter lim="800000"/>
          <a:tailEnd type="none"/>
        </a:ln>
        <a:effectLst/>
      </a:spPr>
      <a:bodyPr/>
      <a:lstStyle/>
    </a:lnDef>
    <a:txDef>
      <a:spPr>
        <a:noFill/>
        <a:ln w="12700" cap="sq">
          <a:noFill/>
          <a:miter lim="800000"/>
        </a:ln>
      </a:spPr>
      <a:bodyPr wrap="square" lIns="61200" tIns="36576" rIns="0" bIns="0" rtlCol="0">
        <a:noAutofit/>
      </a:bodyPr>
      <a:lstStyle>
        <a:defPPr marL="219075" marR="0" indent="-219075" defTabSz="685434" eaLnBrk="1" fontAlgn="auto" latinLnBrk="0" hangingPunct="1">
          <a:lnSpc>
            <a:spcPct val="100000"/>
          </a:lnSpc>
          <a:spcBef>
            <a:spcPct val="20000"/>
          </a:spcBef>
          <a:spcAft>
            <a:spcPts val="0"/>
          </a:spcAft>
          <a:buClr>
            <a:srgbClr val="FFE600"/>
          </a:buClr>
          <a:buSzPct val="80000"/>
          <a:buFont typeface="Arial" pitchFamily="34" charset="0"/>
          <a:buChar char="►"/>
          <a:tabLst/>
          <a:defRPr kumimoji="0" sz="1400" b="0" i="0" u="none" strike="noStrike" kern="0" cap="none" spc="0" normalizeH="0" baseline="0" noProof="0" dirty="0" err="1" smtClean="0">
            <a:ln>
              <a:noFill/>
            </a:ln>
            <a:solidFill>
              <a:schemeClr val="bg1"/>
            </a:solidFill>
            <a:effectLst/>
            <a:uLnTx/>
            <a:uFillTx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EY_DE_presentation_widescreen_2019.pptx" id="{7468BC7D-C9A9-42B1-8230-65E31CF4A356}" vid="{BA837309-82CC-43C3-9644-B9E919730407}"/>
    </a:ext>
  </a:extLst>
</a:theme>
</file>

<file path=ppt/theme/theme2.xml><?xml version="1.0" encoding="utf-8"?>
<a:theme xmlns:a="http://schemas.openxmlformats.org/drawingml/2006/main" name="1_EY light background">
  <a:themeElements>
    <a:clrScheme name="Custom 8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D2D2DA"/>
        </a:solidFill>
        <a:ln w="12700" cap="sq" cmpd="sng" algn="ctr">
          <a:noFill/>
          <a:prstDash val="solid"/>
          <a:miter lim="800000"/>
          <a:tailEnd type="none"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smtClean="0">
            <a:ln>
              <a:noFill/>
            </a:ln>
            <a:solidFill>
              <a:srgbClr val="2E2E38"/>
            </a:solidFill>
            <a:effectLst/>
            <a:uLnTx/>
            <a:uFillTx/>
          </a:defRPr>
        </a:defPPr>
      </a:lstStyle>
    </a:spDef>
    <a:lnDef>
      <a:spPr>
        <a:noFill/>
        <a:ln w="12700" cap="sq" cmpd="sng" algn="ctr">
          <a:solidFill>
            <a:srgbClr val="D2D2DA"/>
          </a:solidFill>
          <a:prstDash val="solid"/>
          <a:miter lim="800000"/>
          <a:tailEnd type="none"/>
        </a:ln>
        <a:effectLst/>
      </a:spPr>
      <a:bodyPr/>
      <a:lstStyle/>
    </a:lnDef>
    <a:txDef>
      <a:spPr>
        <a:noFill/>
        <a:ln w="12700" cap="sq">
          <a:noFill/>
          <a:miter lim="800000"/>
        </a:ln>
      </a:spPr>
      <a:bodyPr wrap="square" lIns="61200" tIns="36576" rIns="0" bIns="0" rtlCol="0">
        <a:noAutofit/>
      </a:bodyPr>
      <a:lstStyle>
        <a:defPPr marL="219075" marR="0" indent="-219075" defTabSz="685434" eaLnBrk="1" fontAlgn="auto" latinLnBrk="0" hangingPunct="1">
          <a:lnSpc>
            <a:spcPct val="100000"/>
          </a:lnSpc>
          <a:spcBef>
            <a:spcPct val="20000"/>
          </a:spcBef>
          <a:spcAft>
            <a:spcPts val="0"/>
          </a:spcAft>
          <a:buClr>
            <a:srgbClr val="FFE600"/>
          </a:buClr>
          <a:buSzPct val="80000"/>
          <a:buFont typeface="Arial" pitchFamily="34" charset="0"/>
          <a:buChar char="►"/>
          <a:tabLst/>
          <a:defRPr kumimoji="0" sz="1400" b="0" i="0" u="none" strike="noStrike" kern="0" cap="none" spc="0" normalizeH="0" baseline="0" noProof="0" dirty="0" err="1" smtClean="0">
            <a:ln>
              <a:noFill/>
            </a:ln>
            <a:solidFill>
              <a:schemeClr val="bg1"/>
            </a:solidFill>
            <a:effectLst/>
            <a:uLnTx/>
            <a:uFillTx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53" id="{BD8157A2-9C87-47F0-8D15-7C1F9537FD6D}" vid="{493CE1D2-9A52-4D31-855C-606E8F53117B}"/>
    </a:ext>
  </a:extLst>
</a:theme>
</file>

<file path=ppt/theme/theme3.xml><?xml version="1.0" encoding="utf-8"?>
<a:theme xmlns:a="http://schemas.openxmlformats.org/drawingml/2006/main" name="EY Core Slides">
  <a:themeElements>
    <a:clrScheme name="Custom 88">
      <a:dk1>
        <a:srgbClr val="FFFFFF"/>
      </a:dk1>
      <a:lt1>
        <a:srgbClr val="1A1A24"/>
      </a:lt1>
      <a:dk2>
        <a:srgbClr val="FFE600"/>
      </a:dk2>
      <a:lt2>
        <a:srgbClr val="2E2E38"/>
      </a:lt2>
      <a:accent1>
        <a:srgbClr val="2DB757"/>
      </a:accent1>
      <a:accent2>
        <a:srgbClr val="27ACAA"/>
      </a:accent2>
      <a:accent3>
        <a:srgbClr val="188CE5"/>
      </a:accent3>
      <a:accent4>
        <a:srgbClr val="750E5C"/>
      </a:accent4>
      <a:accent5>
        <a:srgbClr val="FF4136"/>
      </a:accent5>
      <a:accent6>
        <a:srgbClr val="FF6D00"/>
      </a:accent6>
      <a:hlink>
        <a:srgbClr val="0F69AE"/>
      </a:hlink>
      <a:folHlink>
        <a:srgbClr val="0F69AE"/>
      </a:folHlink>
    </a:clrScheme>
    <a:fontScheme name="EY">
      <a:majorFont>
        <a:latin typeface="EYInterstate Regular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 cap="flat" cmpd="sng" algn="ctr">
          <a:solidFill>
            <a:srgbClr val="747480"/>
          </a:solidFill>
          <a:prstDash val="solid"/>
          <a:miter lim="800000"/>
          <a:headEnd type="none" w="med" len="med"/>
          <a:tailEnd type="none" w="med" len="med"/>
        </a:ln>
        <a:effectLst/>
      </a:spPr>
      <a:bodyPr lIns="108000" tIns="108000" rIns="108000" bIns="108000" rtlCol="0" anchor="t" anchorCtr="0"/>
      <a:lstStyle>
        <a:defPPr marL="252000" marR="0" indent="-252000" algn="l" defTabSz="914400" eaLnBrk="1" fontAlgn="auto" latinLnBrk="0" hangingPunct="1">
          <a:lnSpc>
            <a:spcPct val="90000"/>
          </a:lnSpc>
          <a:spcBef>
            <a:spcPts val="400"/>
          </a:spcBef>
          <a:spcAft>
            <a:spcPts val="400"/>
          </a:spcAft>
          <a:buClr>
            <a:srgbClr val="FFE600"/>
          </a:buClr>
          <a:buSzTx/>
          <a:buFont typeface="Wingdings" pitchFamily="2" charset="2"/>
          <a:buChar char="§"/>
          <a:tabLst/>
          <a:defRPr kumimoji="0" sz="2000" b="0" i="0" u="none" strike="noStrike" kern="0" cap="none" spc="0" normalizeH="0" baseline="0" noProof="0" dirty="0" err="1" smtClean="0">
            <a:ln>
              <a:noFill/>
            </a:ln>
            <a:solidFill>
              <a:srgbClr val="1A1A24"/>
            </a:solidFill>
            <a:effectLst/>
            <a:uLnTx/>
            <a:uFillTx/>
          </a:defRPr>
        </a:defPPr>
      </a:lstStyle>
    </a:spDef>
    <a:lnDef>
      <a:spPr>
        <a:ln w="3175">
          <a:solidFill>
            <a:schemeClr val="bg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36576" rIns="0" bIns="0" rtlCol="0" anchor="t">
        <a:spAutoFit/>
      </a:bodyPr>
      <a:lstStyle>
        <a:defPPr marL="252000" indent="-252000" algn="l">
          <a:lnSpc>
            <a:spcPct val="90000"/>
          </a:lnSpc>
          <a:spcBef>
            <a:spcPts val="400"/>
          </a:spcBef>
          <a:spcAft>
            <a:spcPts val="400"/>
          </a:spcAft>
          <a:buClr>
            <a:schemeClr val="tx2"/>
          </a:buClr>
          <a:buSzPct val="100000"/>
          <a:buFont typeface="Wingdings" pitchFamily="2" charset="2"/>
          <a:buChar char="§"/>
          <a:defRPr sz="2000" dirty="0" err="1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Light-global-widescreen-presentation-template-v2.4.potx" id="{8D52020E-1F74-4A3A-A7BF-097117B618C7}" vid="{1DE5722C-E3D8-4F76-BF09-E69958B0ADC8}"/>
    </a:ext>
  </a:extLst>
</a:theme>
</file>

<file path=ppt/theme/theme4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C63FBBF93ABDB488A475228715B7CB4" ma:contentTypeVersion="9" ma:contentTypeDescription="Create a new document." ma:contentTypeScope="" ma:versionID="adb394504e8ca957b5142bb1c5a86bb1">
  <xsd:schema xmlns:xsd="http://www.w3.org/2001/XMLSchema" xmlns:xs="http://www.w3.org/2001/XMLSchema" xmlns:p="http://schemas.microsoft.com/office/2006/metadata/properties" xmlns:ns3="4d2e23f4-2d23-4ed5-9e32-58796c515829" targetNamespace="http://schemas.microsoft.com/office/2006/metadata/properties" ma:root="true" ma:fieldsID="31cca23e348acfeedaaa18acad758839" ns3:_="">
    <xsd:import namespace="4d2e23f4-2d23-4ed5-9e32-58796c515829"/>
    <xsd:element name="properties">
      <xsd:complexType>
        <xsd:sequence>
          <xsd:element name="documentManagement">
            <xsd:complexType>
              <xsd:all>
                <xsd:element ref="ns3:MediaServiceDateTaken" minOccurs="0"/>
                <xsd:element ref="ns3:MediaServiceMetadata" minOccurs="0"/>
                <xsd:element ref="ns3:MediaServiceFastMetadata" minOccurs="0"/>
                <xsd:element ref="ns3:MediaServiceSearchProperties" minOccurs="0"/>
                <xsd:element ref="ns3:MediaServiceSystem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_activity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d2e23f4-2d23-4ed5-9e32-58796c515829" elementFormDefault="qualified">
    <xsd:import namespace="http://schemas.microsoft.com/office/2006/documentManagement/types"/>
    <xsd:import namespace="http://schemas.microsoft.com/office/infopath/2007/PartnerControls"/>
    <xsd:element name="MediaServiceDateTaken" ma:index="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SystemTags" ma:index="12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_activity" ma:index="16" nillable="true" ma:displayName="_activity" ma:hidden="true" ma:internalName="_activity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4d2e23f4-2d23-4ed5-9e32-58796c515829" xsi:nil="true"/>
  </documentManagement>
</p:properties>
</file>

<file path=customXml/itemProps1.xml><?xml version="1.0" encoding="utf-8"?>
<ds:datastoreItem xmlns:ds="http://schemas.openxmlformats.org/officeDocument/2006/customXml" ds:itemID="{E60DF840-4173-4901-A2E1-83646DFB155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d2e23f4-2d23-4ed5-9e32-58796c51582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3C0FC9C-3F7D-41A3-9A88-5048D447D37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AD2F3AC-88EC-420A-9944-99471C836986}">
  <ds:schemaRefs>
    <ds:schemaRef ds:uri="http://schemas.microsoft.com/office/2006/metadata/properties"/>
    <ds:schemaRef ds:uri="http://schemas.microsoft.com/office/infopath/2007/PartnerControls"/>
    <ds:schemaRef ds:uri="http://schemas.microsoft.com/office/2006/documentManagement/types"/>
    <ds:schemaRef ds:uri="http://purl.org/dc/terms/"/>
    <ds:schemaRef ds:uri="4d2e23f4-2d23-4ed5-9e32-58796c515829"/>
    <ds:schemaRef ds:uri="http://purl.org/dc/dcmitype/"/>
    <ds:schemaRef ds:uri="http://www.w3.org/XML/1998/namespace"/>
    <ds:schemaRef ds:uri="http://purl.org/dc/elements/1.1/"/>
    <ds:schemaRef ds:uri="http://schemas.openxmlformats.org/package/2006/metadata/core-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ntegral</Template>
  <TotalTime>5</TotalTime>
  <Words>502</Words>
  <Application>Microsoft Macintosh PowerPoint</Application>
  <PresentationFormat>Widescreen</PresentationFormat>
  <Paragraphs>192</Paragraphs>
  <Slides>1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2" baseType="lpstr">
      <vt:lpstr>Arial</vt:lpstr>
      <vt:lpstr>Calibri</vt:lpstr>
      <vt:lpstr>EYInterstate</vt:lpstr>
      <vt:lpstr>EYInterstate Light</vt:lpstr>
      <vt:lpstr>Georgia Pro</vt:lpstr>
      <vt:lpstr>Open Sauce One</vt:lpstr>
      <vt:lpstr>Wingdings</vt:lpstr>
      <vt:lpstr>EY light background</vt:lpstr>
      <vt:lpstr>1_EY light background</vt:lpstr>
      <vt:lpstr>EY Core Slides</vt:lpstr>
      <vt:lpstr>think-cell Slide</vt:lpstr>
      <vt:lpstr>Next Generation AI for Document Automation – Accounts Payable</vt:lpstr>
      <vt:lpstr>PowerPoint Presentation</vt:lpstr>
      <vt:lpstr>PowerPoint Presentation</vt:lpstr>
      <vt:lpstr>Risks – Focus on Open / In Response</vt:lpstr>
      <vt:lpstr>Issues</vt:lpstr>
      <vt:lpstr>Decisions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unke x Hypatos Pilot Kick-off</dc:title>
  <dc:creator>Microsoft Office User</dc:creator>
  <cp:lastModifiedBy>Stephan Kuche</cp:lastModifiedBy>
  <cp:revision>18</cp:revision>
  <dcterms:created xsi:type="dcterms:W3CDTF">2023-03-02T14:07:47Z</dcterms:created>
  <dcterms:modified xsi:type="dcterms:W3CDTF">2025-03-27T12:45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C63FBBF93ABDB488A475228715B7CB4</vt:lpwstr>
  </property>
  <property fmtid="{D5CDD505-2E9C-101B-9397-08002B2CF9AE}" pid="3" name="MediaServiceImageTags">
    <vt:lpwstr/>
  </property>
</Properties>
</file>